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817" r:id="rId4"/>
  </p:sldMasterIdLst>
  <p:notesMasterIdLst>
    <p:notesMasterId r:id="rId19"/>
  </p:notesMasterIdLst>
  <p:handoutMasterIdLst>
    <p:handoutMasterId r:id="rId20"/>
  </p:handoutMasterIdLst>
  <p:sldIdLst>
    <p:sldId id="2147473182" r:id="rId5"/>
    <p:sldId id="2147473129" r:id="rId6"/>
    <p:sldId id="2147473130" r:id="rId7"/>
    <p:sldId id="2147473175" r:id="rId8"/>
    <p:sldId id="2147473181" r:id="rId9"/>
    <p:sldId id="2147473166" r:id="rId10"/>
    <p:sldId id="2147473167" r:id="rId11"/>
    <p:sldId id="2147473168" r:id="rId12"/>
    <p:sldId id="2147473169" r:id="rId13"/>
    <p:sldId id="2147473158" r:id="rId14"/>
    <p:sldId id="2147473176" r:id="rId15"/>
    <p:sldId id="2147473177" r:id="rId16"/>
    <p:sldId id="2147473179" r:id="rId17"/>
    <p:sldId id="2147473180" r:id="rId18"/>
  </p:sldIdLst>
  <p:sldSz cx="9144000" cy="5143500" type="screen16x9"/>
  <p:notesSz cx="6858000" cy="9144000"/>
  <p:embeddedFontLst>
    <p:embeddedFont>
      <p:font typeface="Calibri Light" panose="020F0302020204030204" pitchFamily="34" charset="0"/>
      <p:regular r:id="rId21"/>
      <p:italic r:id="rId22"/>
    </p:embeddedFont>
    <p:embeddedFont>
      <p:font typeface="Roboto Light" panose="02000000000000000000" pitchFamily="2" charset="0"/>
      <p:regular r:id="rId23"/>
      <p:italic r:id="rId24"/>
    </p:embeddedFont>
  </p:embeddedFontLst>
  <p:custDataLst>
    <p:tags r:id="rId25"/>
  </p:custDataLst>
  <p:defaultTextStyle>
    <a:defPPr>
      <a:defRPr lang="en-US"/>
    </a:defPPr>
    <a:lvl1pPr marL="0" algn="l" defTabSz="457171" rtl="0" eaLnBrk="1" latinLnBrk="0" hangingPunct="1">
      <a:defRPr sz="1800" kern="1200">
        <a:solidFill>
          <a:schemeClr val="tx1"/>
        </a:solidFill>
        <a:latin typeface="+mn-lt"/>
        <a:ea typeface="+mn-ea"/>
        <a:cs typeface="+mn-cs"/>
      </a:defRPr>
    </a:lvl1pPr>
    <a:lvl2pPr marL="457171" algn="l" defTabSz="457171" rtl="0" eaLnBrk="1" latinLnBrk="0" hangingPunct="1">
      <a:defRPr sz="1800" kern="1200">
        <a:solidFill>
          <a:schemeClr val="tx1"/>
        </a:solidFill>
        <a:latin typeface="+mn-lt"/>
        <a:ea typeface="+mn-ea"/>
        <a:cs typeface="+mn-cs"/>
      </a:defRPr>
    </a:lvl2pPr>
    <a:lvl3pPr marL="914343" algn="l" defTabSz="457171" rtl="0" eaLnBrk="1" latinLnBrk="0" hangingPunct="1">
      <a:defRPr sz="1800" kern="1200">
        <a:solidFill>
          <a:schemeClr val="tx1"/>
        </a:solidFill>
        <a:latin typeface="+mn-lt"/>
        <a:ea typeface="+mn-ea"/>
        <a:cs typeface="+mn-cs"/>
      </a:defRPr>
    </a:lvl3pPr>
    <a:lvl4pPr marL="1371514" algn="l" defTabSz="457171" rtl="0" eaLnBrk="1" latinLnBrk="0" hangingPunct="1">
      <a:defRPr sz="1800" kern="1200">
        <a:solidFill>
          <a:schemeClr val="tx1"/>
        </a:solidFill>
        <a:latin typeface="+mn-lt"/>
        <a:ea typeface="+mn-ea"/>
        <a:cs typeface="+mn-cs"/>
      </a:defRPr>
    </a:lvl4pPr>
    <a:lvl5pPr marL="1828686" algn="l" defTabSz="457171" rtl="0" eaLnBrk="1" latinLnBrk="0" hangingPunct="1">
      <a:defRPr sz="1800" kern="1200">
        <a:solidFill>
          <a:schemeClr val="tx1"/>
        </a:solidFill>
        <a:latin typeface="+mn-lt"/>
        <a:ea typeface="+mn-ea"/>
        <a:cs typeface="+mn-cs"/>
      </a:defRPr>
    </a:lvl5pPr>
    <a:lvl6pPr marL="2285857" algn="l" defTabSz="457171" rtl="0" eaLnBrk="1" latinLnBrk="0" hangingPunct="1">
      <a:defRPr sz="1800" kern="1200">
        <a:solidFill>
          <a:schemeClr val="tx1"/>
        </a:solidFill>
        <a:latin typeface="+mn-lt"/>
        <a:ea typeface="+mn-ea"/>
        <a:cs typeface="+mn-cs"/>
      </a:defRPr>
    </a:lvl6pPr>
    <a:lvl7pPr marL="2743029" algn="l" defTabSz="457171" rtl="0" eaLnBrk="1" latinLnBrk="0" hangingPunct="1">
      <a:defRPr sz="1800" kern="1200">
        <a:solidFill>
          <a:schemeClr val="tx1"/>
        </a:solidFill>
        <a:latin typeface="+mn-lt"/>
        <a:ea typeface="+mn-ea"/>
        <a:cs typeface="+mn-cs"/>
      </a:defRPr>
    </a:lvl7pPr>
    <a:lvl8pPr marL="3200200" algn="l" defTabSz="457171" rtl="0" eaLnBrk="1" latinLnBrk="0" hangingPunct="1">
      <a:defRPr sz="1800" kern="1200">
        <a:solidFill>
          <a:schemeClr val="tx1"/>
        </a:solidFill>
        <a:latin typeface="+mn-lt"/>
        <a:ea typeface="+mn-ea"/>
        <a:cs typeface="+mn-cs"/>
      </a:defRPr>
    </a:lvl8pPr>
    <a:lvl9pPr marL="3657371" algn="l" defTabSz="457171"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114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57E113-6A43-4D22-3226-A30C092C0F79}" name="Michael Goettlicher" initials="MG" userId="S::michael.goettlicher@p3-group.com::ab2aae39-eb35-48c3-823b-a5ced1d9db37" providerId="AD"/>
  <p188:author id="{1D3FA920-9291-5907-FC25-1ACF22617E26}" name="Jan Roßa" initials="JR" userId="S::Jan.Rossa@p3-group.com::cad7feca-ff71-46b2-bbbe-cdc4a4c5cfcb" providerId="AD"/>
  <p188:author id="{D3E3AE95-5FC4-D19B-84E7-B5663A8C5C31}" name="Benjamin Grussdorf" initials="BG" userId="S::Benjamin.Grussdorf@p3-group.com::33ca9ac4-a473-4911-95cd-d3df91a30cd6" providerId="AD"/>
  <p188:author id="{44336296-EB3C-55B9-6C0A-C188A991C3BD}" name="Christian Daake" initials="CD" userId="S::Christian.Daake@p3-group.com::32ee2a3b-2829-4be0-9b26-082b125af89c" providerId="AD"/>
  <p188:author id="{C4FC4CA0-9BFC-8469-C7AD-0282D678C9B3}" name="Adrian Angermann" initials="AA" userId="S::Adrian.Angermann@p3-group.com::8ca91c08-1da2-4feb-acea-6f44c29c4e91" providerId="AD"/>
  <p188:author id="{2ED545B7-C7EB-5E03-7345-60F62E10836C}" name="Benjamin Grussdorf" initials="BG" userId="Benjamin Grussdorf" providerId="None"/>
  <p188:author id="{FA08A0F6-8866-D403-23E5-DB79570C5B07}" name="Lisa Bleydorn" initials="LB" userId="S::Lisa.Bleydorn@p3-group.com::8f76b645-9d6b-4217-a422-0cc574d8e84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16268"/>
    <a:srgbClr val="59595F"/>
    <a:srgbClr val="D1D2F2"/>
    <a:srgbClr val="DDE1F7"/>
    <a:srgbClr val="8D8402"/>
    <a:srgbClr val="EFDE03"/>
    <a:srgbClr val="ADD6FF"/>
    <a:srgbClr val="B8B9EA"/>
    <a:srgbClr val="D2D3F2"/>
    <a:srgbClr val="ADA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6D6936-96D0-42F6-B297-D692B627CB4A}" v="1439" dt="2024-01-24T08:43:38.3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autoAdjust="0"/>
    <p:restoredTop sz="94633" autoAdjust="0"/>
  </p:normalViewPr>
  <p:slideViewPr>
    <p:cSldViewPr snapToGrid="0">
      <p:cViewPr varScale="1">
        <p:scale>
          <a:sx n="107" d="100"/>
          <a:sy n="107" d="100"/>
        </p:scale>
        <p:origin x="754" y="82"/>
      </p:cViewPr>
      <p:guideLst>
        <p:guide pos="2880"/>
        <p:guide orient="horz" pos="1144"/>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av Barot" userId="2aabccd7-f410-4c9c-8764-2e3ea0dd7040" providerId="ADAL" clId="{6545EF83-34ED-4EBF-8118-20E7C988DC66}"/>
    <pc:docChg chg="undo redo custSel addSld delSld modSld sldOrd modMainMaster modNotesMaster">
      <pc:chgData name="Arav Barot" userId="2aabccd7-f410-4c9c-8764-2e3ea0dd7040" providerId="ADAL" clId="{6545EF83-34ED-4EBF-8118-20E7C988DC66}" dt="2023-11-14T09:07:01.361" v="29775" actId="729"/>
      <pc:docMkLst>
        <pc:docMk/>
      </pc:docMkLst>
      <pc:sldChg chg="addSp delSp modSp del mod">
        <pc:chgData name="Arav Barot" userId="2aabccd7-f410-4c9c-8764-2e3ea0dd7040" providerId="ADAL" clId="{6545EF83-34ED-4EBF-8118-20E7C988DC66}" dt="2023-10-28T12:40:10.273" v="1762" actId="47"/>
        <pc:sldMkLst>
          <pc:docMk/>
          <pc:sldMk cId="309941126" sldId="1283"/>
        </pc:sldMkLst>
        <pc:spChg chg="mod">
          <ac:chgData name="Arav Barot" userId="2aabccd7-f410-4c9c-8764-2e3ea0dd7040" providerId="ADAL" clId="{6545EF83-34ED-4EBF-8118-20E7C988DC66}" dt="2023-10-28T12:38:55.586" v="1752" actId="1076"/>
          <ac:spMkLst>
            <pc:docMk/>
            <pc:sldMk cId="309941126" sldId="1283"/>
            <ac:spMk id="2" creationId="{768C512F-03F8-B14D-9876-DC81C85B54D4}"/>
          </ac:spMkLst>
        </pc:spChg>
        <pc:spChg chg="add del mod">
          <ac:chgData name="Arav Barot" userId="2aabccd7-f410-4c9c-8764-2e3ea0dd7040" providerId="ADAL" clId="{6545EF83-34ED-4EBF-8118-20E7C988DC66}" dt="2023-10-28T12:39:22.381" v="1760"/>
          <ac:spMkLst>
            <pc:docMk/>
            <pc:sldMk cId="309941126" sldId="1283"/>
            <ac:spMk id="3" creationId="{5184FDCF-A58A-E6CD-C7A0-60B2D7563674}"/>
          </ac:spMkLst>
        </pc:spChg>
        <pc:spChg chg="mod">
          <ac:chgData name="Arav Barot" userId="2aabccd7-f410-4c9c-8764-2e3ea0dd7040" providerId="ADAL" clId="{6545EF83-34ED-4EBF-8118-20E7C988DC66}" dt="2023-10-28T12:39:07.671" v="1753" actId="1076"/>
          <ac:spMkLst>
            <pc:docMk/>
            <pc:sldMk cId="309941126" sldId="1283"/>
            <ac:spMk id="6" creationId="{18360BEF-433E-C84D-BC4F-A5C6328D2433}"/>
          </ac:spMkLst>
        </pc:spChg>
        <pc:spChg chg="mod">
          <ac:chgData name="Arav Barot" userId="2aabccd7-f410-4c9c-8764-2e3ea0dd7040" providerId="ADAL" clId="{6545EF83-34ED-4EBF-8118-20E7C988DC66}" dt="2023-10-28T12:39:07.671" v="1753" actId="1076"/>
          <ac:spMkLst>
            <pc:docMk/>
            <pc:sldMk cId="309941126" sldId="1283"/>
            <ac:spMk id="7" creationId="{0B539C50-BE7A-2C42-B09A-D1A13C908937}"/>
          </ac:spMkLst>
        </pc:spChg>
      </pc:sldChg>
      <pc:sldChg chg="addSp delSp modSp del mod setBg">
        <pc:chgData name="Arav Barot" userId="2aabccd7-f410-4c9c-8764-2e3ea0dd7040" providerId="ADAL" clId="{6545EF83-34ED-4EBF-8118-20E7C988DC66}" dt="2023-10-30T09:17:05.605" v="4103" actId="47"/>
        <pc:sldMkLst>
          <pc:docMk/>
          <pc:sldMk cId="832467667" sldId="2147473127"/>
        </pc:sldMkLst>
        <pc:spChg chg="mod">
          <ac:chgData name="Arav Barot" userId="2aabccd7-f410-4c9c-8764-2e3ea0dd7040" providerId="ADAL" clId="{6545EF83-34ED-4EBF-8118-20E7C988DC66}" dt="2023-10-26T19:33:58.371" v="115" actId="20577"/>
          <ac:spMkLst>
            <pc:docMk/>
            <pc:sldMk cId="832467667" sldId="2147473127"/>
            <ac:spMk id="3" creationId="{7446B745-1CDD-83B3-5357-968F9E2471C2}"/>
          </ac:spMkLst>
        </pc:spChg>
        <pc:spChg chg="add mod">
          <ac:chgData name="Arav Barot" userId="2aabccd7-f410-4c9c-8764-2e3ea0dd7040" providerId="ADAL" clId="{6545EF83-34ED-4EBF-8118-20E7C988DC66}" dt="2023-10-26T20:34:51.699" v="422" actId="20577"/>
          <ac:spMkLst>
            <pc:docMk/>
            <pc:sldMk cId="832467667" sldId="2147473127"/>
            <ac:spMk id="7" creationId="{B6BFCD12-25E2-9478-EAF2-3A2307460EF0}"/>
          </ac:spMkLst>
        </pc:spChg>
        <pc:graphicFrameChg chg="del">
          <ac:chgData name="Arav Barot" userId="2aabccd7-f410-4c9c-8764-2e3ea0dd7040" providerId="ADAL" clId="{6545EF83-34ED-4EBF-8118-20E7C988DC66}" dt="2023-10-26T19:24:34.016" v="15" actId="478"/>
          <ac:graphicFrameMkLst>
            <pc:docMk/>
            <pc:sldMk cId="832467667" sldId="2147473127"/>
            <ac:graphicFrameMk id="5" creationId="{E259A4A3-E2B9-FF69-6541-25FB1D67116D}"/>
          </ac:graphicFrameMkLst>
        </pc:graphicFrameChg>
        <pc:graphicFrameChg chg="del">
          <ac:chgData name="Arav Barot" userId="2aabccd7-f410-4c9c-8764-2e3ea0dd7040" providerId="ADAL" clId="{6545EF83-34ED-4EBF-8118-20E7C988DC66}" dt="2023-10-26T19:24:15.289" v="10" actId="478"/>
          <ac:graphicFrameMkLst>
            <pc:docMk/>
            <pc:sldMk cId="832467667" sldId="2147473127"/>
            <ac:graphicFrameMk id="8" creationId="{89F3A395-08E6-8024-D897-D0F5EC53E1E7}"/>
          </ac:graphicFrameMkLst>
        </pc:graphicFrameChg>
        <pc:graphicFrameChg chg="del">
          <ac:chgData name="Arav Barot" userId="2aabccd7-f410-4c9c-8764-2e3ea0dd7040" providerId="ADAL" clId="{6545EF83-34ED-4EBF-8118-20E7C988DC66}" dt="2023-10-26T19:24:21.194" v="11" actId="478"/>
          <ac:graphicFrameMkLst>
            <pc:docMk/>
            <pc:sldMk cId="832467667" sldId="2147473127"/>
            <ac:graphicFrameMk id="9" creationId="{F3DD721F-5389-1144-5EB0-36845797802A}"/>
          </ac:graphicFrameMkLst>
        </pc:graphicFrameChg>
        <pc:graphicFrameChg chg="del">
          <ac:chgData name="Arav Barot" userId="2aabccd7-f410-4c9c-8764-2e3ea0dd7040" providerId="ADAL" clId="{6545EF83-34ED-4EBF-8118-20E7C988DC66}" dt="2023-10-26T19:24:24.352" v="12" actId="478"/>
          <ac:graphicFrameMkLst>
            <pc:docMk/>
            <pc:sldMk cId="832467667" sldId="2147473127"/>
            <ac:graphicFrameMk id="17" creationId="{D9286CE1-A6F1-D42F-204D-23C94849C313}"/>
          </ac:graphicFrameMkLst>
        </pc:graphicFrameChg>
        <pc:graphicFrameChg chg="del">
          <ac:chgData name="Arav Barot" userId="2aabccd7-f410-4c9c-8764-2e3ea0dd7040" providerId="ADAL" clId="{6545EF83-34ED-4EBF-8118-20E7C988DC66}" dt="2023-10-26T19:24:26.731" v="13" actId="478"/>
          <ac:graphicFrameMkLst>
            <pc:docMk/>
            <pc:sldMk cId="832467667" sldId="2147473127"/>
            <ac:graphicFrameMk id="19" creationId="{B072EEFA-2297-6C66-FAE8-76DB16081912}"/>
          </ac:graphicFrameMkLst>
        </pc:graphicFrameChg>
        <pc:graphicFrameChg chg="del">
          <ac:chgData name="Arav Barot" userId="2aabccd7-f410-4c9c-8764-2e3ea0dd7040" providerId="ADAL" clId="{6545EF83-34ED-4EBF-8118-20E7C988DC66}" dt="2023-10-26T19:24:29.586" v="14" actId="478"/>
          <ac:graphicFrameMkLst>
            <pc:docMk/>
            <pc:sldMk cId="832467667" sldId="2147473127"/>
            <ac:graphicFrameMk id="20" creationId="{36987CE2-27D6-8C88-2193-B498C55E6793}"/>
          </ac:graphicFrameMkLst>
        </pc:graphicFrameChg>
      </pc:sldChg>
      <pc:sldChg chg="del">
        <pc:chgData name="Arav Barot" userId="2aabccd7-f410-4c9c-8764-2e3ea0dd7040" providerId="ADAL" clId="{6545EF83-34ED-4EBF-8118-20E7C988DC66}" dt="2023-10-26T19:24:07.573" v="1" actId="47"/>
        <pc:sldMkLst>
          <pc:docMk/>
          <pc:sldMk cId="349995883" sldId="2147473128"/>
        </pc:sldMkLst>
      </pc:sldChg>
      <pc:sldChg chg="new del">
        <pc:chgData name="Arav Barot" userId="2aabccd7-f410-4c9c-8764-2e3ea0dd7040" providerId="ADAL" clId="{6545EF83-34ED-4EBF-8118-20E7C988DC66}" dt="2023-10-28T10:09:35.637" v="426" actId="47"/>
        <pc:sldMkLst>
          <pc:docMk/>
          <pc:sldMk cId="375169159" sldId="2147473128"/>
        </pc:sldMkLst>
      </pc:sldChg>
      <pc:sldChg chg="addSp delSp modSp new mod ord">
        <pc:chgData name="Arav Barot" userId="2aabccd7-f410-4c9c-8764-2e3ea0dd7040" providerId="ADAL" clId="{6545EF83-34ED-4EBF-8118-20E7C988DC66}" dt="2023-11-03T21:27:30.022" v="23804" actId="20577"/>
        <pc:sldMkLst>
          <pc:docMk/>
          <pc:sldMk cId="2128846026" sldId="2147473128"/>
        </pc:sldMkLst>
        <pc:spChg chg="mod">
          <ac:chgData name="Arav Barot" userId="2aabccd7-f410-4c9c-8764-2e3ea0dd7040" providerId="ADAL" clId="{6545EF83-34ED-4EBF-8118-20E7C988DC66}" dt="2023-11-03T21:27:30.022" v="23804" actId="20577"/>
          <ac:spMkLst>
            <pc:docMk/>
            <pc:sldMk cId="2128846026" sldId="2147473128"/>
            <ac:spMk id="2" creationId="{9015D0B6-D702-8A6B-EAC3-F545D24C29E1}"/>
          </ac:spMkLst>
        </pc:spChg>
        <pc:spChg chg="mod">
          <ac:chgData name="Arav Barot" userId="2aabccd7-f410-4c9c-8764-2e3ea0dd7040" providerId="ADAL" clId="{6545EF83-34ED-4EBF-8118-20E7C988DC66}" dt="2023-10-28T10:10:51.772" v="462" actId="20577"/>
          <ac:spMkLst>
            <pc:docMk/>
            <pc:sldMk cId="2128846026" sldId="2147473128"/>
            <ac:spMk id="3" creationId="{1C46F521-E0B4-43F9-297E-7C99C6F3F7ED}"/>
          </ac:spMkLst>
        </pc:spChg>
        <pc:spChg chg="add mod">
          <ac:chgData name="Arav Barot" userId="2aabccd7-f410-4c9c-8764-2e3ea0dd7040" providerId="ADAL" clId="{6545EF83-34ED-4EBF-8118-20E7C988DC66}" dt="2023-11-03T13:41:37.174" v="14762" actId="34135"/>
          <ac:spMkLst>
            <pc:docMk/>
            <pc:sldMk cId="2128846026" sldId="2147473128"/>
            <ac:spMk id="5" creationId="{07F0C6F0-A8D1-698C-8EC1-753F4001F5E5}"/>
          </ac:spMkLst>
        </pc:spChg>
        <pc:spChg chg="add mod">
          <ac:chgData name="Arav Barot" userId="2aabccd7-f410-4c9c-8764-2e3ea0dd7040" providerId="ADAL" clId="{6545EF83-34ED-4EBF-8118-20E7C988DC66}" dt="2023-11-03T21:23:03.385" v="23760" actId="1076"/>
          <ac:spMkLst>
            <pc:docMk/>
            <pc:sldMk cId="2128846026" sldId="2147473128"/>
            <ac:spMk id="7" creationId="{8BD277AA-73D9-C060-12CB-D22291453C89}"/>
          </ac:spMkLst>
        </pc:spChg>
        <pc:spChg chg="add del mod">
          <ac:chgData name="Arav Barot" userId="2aabccd7-f410-4c9c-8764-2e3ea0dd7040" providerId="ADAL" clId="{6545EF83-34ED-4EBF-8118-20E7C988DC66}" dt="2023-11-03T21:18:49.986" v="23724" actId="478"/>
          <ac:spMkLst>
            <pc:docMk/>
            <pc:sldMk cId="2128846026" sldId="2147473128"/>
            <ac:spMk id="8" creationId="{AD9B22DB-338E-96C2-BB5A-DDE8B4DC8598}"/>
          </ac:spMkLst>
        </pc:spChg>
        <pc:spChg chg="add del mod">
          <ac:chgData name="Arav Barot" userId="2aabccd7-f410-4c9c-8764-2e3ea0dd7040" providerId="ADAL" clId="{6545EF83-34ED-4EBF-8118-20E7C988DC66}" dt="2023-11-03T21:18:46.992" v="23719" actId="478"/>
          <ac:spMkLst>
            <pc:docMk/>
            <pc:sldMk cId="2128846026" sldId="2147473128"/>
            <ac:spMk id="9" creationId="{62B57D55-E438-10A9-70BD-D74D06B09857}"/>
          </ac:spMkLst>
        </pc:spChg>
        <pc:spChg chg="add del mod">
          <ac:chgData name="Arav Barot" userId="2aabccd7-f410-4c9c-8764-2e3ea0dd7040" providerId="ADAL" clId="{6545EF83-34ED-4EBF-8118-20E7C988DC66}" dt="2023-11-03T21:18:46.995" v="23721"/>
          <ac:spMkLst>
            <pc:docMk/>
            <pc:sldMk cId="2128846026" sldId="2147473128"/>
            <ac:spMk id="10" creationId="{58631D86-A6F6-AFFE-1B1F-F7F0A712C7EE}"/>
          </ac:spMkLst>
        </pc:spChg>
        <pc:spChg chg="add del mod">
          <ac:chgData name="Arav Barot" userId="2aabccd7-f410-4c9c-8764-2e3ea0dd7040" providerId="ADAL" clId="{6545EF83-34ED-4EBF-8118-20E7C988DC66}" dt="2023-11-03T21:18:46.999" v="23723"/>
          <ac:spMkLst>
            <pc:docMk/>
            <pc:sldMk cId="2128846026" sldId="2147473128"/>
            <ac:spMk id="11" creationId="{3E8E107A-6277-7D77-2571-B5A87DBC5976}"/>
          </ac:spMkLst>
        </pc:spChg>
        <pc:spChg chg="add mod">
          <ac:chgData name="Arav Barot" userId="2aabccd7-f410-4c9c-8764-2e3ea0dd7040" providerId="ADAL" clId="{6545EF83-34ED-4EBF-8118-20E7C988DC66}" dt="2023-11-03T21:25:46.689" v="23778" actId="164"/>
          <ac:spMkLst>
            <pc:docMk/>
            <pc:sldMk cId="2128846026" sldId="2147473128"/>
            <ac:spMk id="12" creationId="{9CC233F5-0C72-FA55-0723-55ECA975EDF4}"/>
          </ac:spMkLst>
        </pc:spChg>
        <pc:spChg chg="add mod">
          <ac:chgData name="Arav Barot" userId="2aabccd7-f410-4c9c-8764-2e3ea0dd7040" providerId="ADAL" clId="{6545EF83-34ED-4EBF-8118-20E7C988DC66}" dt="2023-11-03T21:25:46.689" v="23778" actId="164"/>
          <ac:spMkLst>
            <pc:docMk/>
            <pc:sldMk cId="2128846026" sldId="2147473128"/>
            <ac:spMk id="14" creationId="{C8B177C7-D986-D991-B00E-92F82FCB0483}"/>
          </ac:spMkLst>
        </pc:spChg>
        <pc:spChg chg="add mod">
          <ac:chgData name="Arav Barot" userId="2aabccd7-f410-4c9c-8764-2e3ea0dd7040" providerId="ADAL" clId="{6545EF83-34ED-4EBF-8118-20E7C988DC66}" dt="2023-11-03T21:25:46.689" v="23778" actId="164"/>
          <ac:spMkLst>
            <pc:docMk/>
            <pc:sldMk cId="2128846026" sldId="2147473128"/>
            <ac:spMk id="16" creationId="{BEF1585D-8869-8A16-8B04-E2E17F4E1602}"/>
          </ac:spMkLst>
        </pc:spChg>
        <pc:spChg chg="add mod">
          <ac:chgData name="Arav Barot" userId="2aabccd7-f410-4c9c-8764-2e3ea0dd7040" providerId="ADAL" clId="{6545EF83-34ED-4EBF-8118-20E7C988DC66}" dt="2023-11-03T21:25:46.689" v="23778" actId="164"/>
          <ac:spMkLst>
            <pc:docMk/>
            <pc:sldMk cId="2128846026" sldId="2147473128"/>
            <ac:spMk id="29" creationId="{D79D4941-215D-5181-4AF9-752061C990ED}"/>
          </ac:spMkLst>
        </pc:spChg>
        <pc:spChg chg="add mod ord">
          <ac:chgData name="Arav Barot" userId="2aabccd7-f410-4c9c-8764-2e3ea0dd7040" providerId="ADAL" clId="{6545EF83-34ED-4EBF-8118-20E7C988DC66}" dt="2023-11-03T21:20:52.848" v="23746" actId="164"/>
          <ac:spMkLst>
            <pc:docMk/>
            <pc:sldMk cId="2128846026" sldId="2147473128"/>
            <ac:spMk id="36" creationId="{593A39B4-2694-9CC6-5933-AC1891DF80A4}"/>
          </ac:spMkLst>
        </pc:spChg>
        <pc:spChg chg="mod ord topLvl">
          <ac:chgData name="Arav Barot" userId="2aabccd7-f410-4c9c-8764-2e3ea0dd7040" providerId="ADAL" clId="{6545EF83-34ED-4EBF-8118-20E7C988DC66}" dt="2023-11-03T21:21:53.087" v="23758" actId="167"/>
          <ac:spMkLst>
            <pc:docMk/>
            <pc:sldMk cId="2128846026" sldId="2147473128"/>
            <ac:spMk id="39" creationId="{2F2247BB-EF93-2B4D-A8A4-2CFBAACA8C83}"/>
          </ac:spMkLst>
        </pc:spChg>
        <pc:spChg chg="mod ord topLvl">
          <ac:chgData name="Arav Barot" userId="2aabccd7-f410-4c9c-8764-2e3ea0dd7040" providerId="ADAL" clId="{6545EF83-34ED-4EBF-8118-20E7C988DC66}" dt="2023-11-03T21:26:55.296" v="23790" actId="1076"/>
          <ac:spMkLst>
            <pc:docMk/>
            <pc:sldMk cId="2128846026" sldId="2147473128"/>
            <ac:spMk id="53" creationId="{DF3D3E54-800C-718B-78D9-09D711BE60D6}"/>
          </ac:spMkLst>
        </pc:spChg>
        <pc:spChg chg="add mod ord">
          <ac:chgData name="Arav Barot" userId="2aabccd7-f410-4c9c-8764-2e3ea0dd7040" providerId="ADAL" clId="{6545EF83-34ED-4EBF-8118-20E7C988DC66}" dt="2023-11-03T21:26:21.874" v="23784" actId="167"/>
          <ac:spMkLst>
            <pc:docMk/>
            <pc:sldMk cId="2128846026" sldId="2147473128"/>
            <ac:spMk id="59" creationId="{3BA85CE2-3B06-A863-517D-300A49FB9812}"/>
          </ac:spMkLst>
        </pc:spChg>
        <pc:grpChg chg="add mod">
          <ac:chgData name="Arav Barot" userId="2aabccd7-f410-4c9c-8764-2e3ea0dd7040" providerId="ADAL" clId="{6545EF83-34ED-4EBF-8118-20E7C988DC66}" dt="2023-11-03T21:25:46.689" v="23778" actId="164"/>
          <ac:grpSpMkLst>
            <pc:docMk/>
            <pc:sldMk cId="2128846026" sldId="2147473128"/>
            <ac:grpSpMk id="37" creationId="{FE5500D3-D675-7029-B073-456F7520A4B4}"/>
          </ac:grpSpMkLst>
        </pc:grpChg>
        <pc:grpChg chg="add del mod">
          <ac:chgData name="Arav Barot" userId="2aabccd7-f410-4c9c-8764-2e3ea0dd7040" providerId="ADAL" clId="{6545EF83-34ED-4EBF-8118-20E7C988DC66}" dt="2023-11-03T21:21:07.240" v="23751" actId="478"/>
          <ac:grpSpMkLst>
            <pc:docMk/>
            <pc:sldMk cId="2128846026" sldId="2147473128"/>
            <ac:grpSpMk id="38" creationId="{8E870C85-3E7E-C73A-B81B-E1FB03EC41A1}"/>
          </ac:grpSpMkLst>
        </pc:grpChg>
        <pc:grpChg chg="add mod">
          <ac:chgData name="Arav Barot" userId="2aabccd7-f410-4c9c-8764-2e3ea0dd7040" providerId="ADAL" clId="{6545EF83-34ED-4EBF-8118-20E7C988DC66}" dt="2023-11-03T21:25:46.689" v="23778" actId="164"/>
          <ac:grpSpMkLst>
            <pc:docMk/>
            <pc:sldMk cId="2128846026" sldId="2147473128"/>
            <ac:grpSpMk id="41" creationId="{F587DB91-BF8E-9473-13DB-28457D698B54}"/>
          </ac:grpSpMkLst>
        </pc:grpChg>
        <pc:grpChg chg="add del mod">
          <ac:chgData name="Arav Barot" userId="2aabccd7-f410-4c9c-8764-2e3ea0dd7040" providerId="ADAL" clId="{6545EF83-34ED-4EBF-8118-20E7C988DC66}" dt="2023-11-03T21:24:08.170" v="23772" actId="478"/>
          <ac:grpSpMkLst>
            <pc:docMk/>
            <pc:sldMk cId="2128846026" sldId="2147473128"/>
            <ac:grpSpMk id="52" creationId="{73FCC398-60C8-9091-B986-D49CFDBDA30E}"/>
          </ac:grpSpMkLst>
        </pc:grpChg>
        <pc:grpChg chg="add mod">
          <ac:chgData name="Arav Barot" userId="2aabccd7-f410-4c9c-8764-2e3ea0dd7040" providerId="ADAL" clId="{6545EF83-34ED-4EBF-8118-20E7C988DC66}" dt="2023-11-03T21:25:46.689" v="23778" actId="164"/>
          <ac:grpSpMkLst>
            <pc:docMk/>
            <pc:sldMk cId="2128846026" sldId="2147473128"/>
            <ac:grpSpMk id="55" creationId="{75E18E4F-7D4D-5ACE-58F0-196229141C8B}"/>
          </ac:grpSpMkLst>
        </pc:grpChg>
        <pc:grpChg chg="add mod">
          <ac:chgData name="Arav Barot" userId="2aabccd7-f410-4c9c-8764-2e3ea0dd7040" providerId="ADAL" clId="{6545EF83-34ED-4EBF-8118-20E7C988DC66}" dt="2023-11-03T21:25:55.906" v="23779" actId="1076"/>
          <ac:grpSpMkLst>
            <pc:docMk/>
            <pc:sldMk cId="2128846026" sldId="2147473128"/>
            <ac:grpSpMk id="58" creationId="{F08CE3A0-1412-43F7-6CB2-7052B8F8A44E}"/>
          </ac:grpSpMkLst>
        </pc:grpChg>
        <pc:picChg chg="add del mod">
          <ac:chgData name="Arav Barot" userId="2aabccd7-f410-4c9c-8764-2e3ea0dd7040" providerId="ADAL" clId="{6545EF83-34ED-4EBF-8118-20E7C988DC66}" dt="2023-10-31T15:27:59.100" v="11282" actId="478"/>
          <ac:picMkLst>
            <pc:docMk/>
            <pc:sldMk cId="2128846026" sldId="2147473128"/>
            <ac:picMk id="22" creationId="{65CF82D1-3BFE-CBB1-FFB7-057795A683BB}"/>
          </ac:picMkLst>
        </pc:picChg>
        <pc:picChg chg="add mod">
          <ac:chgData name="Arav Barot" userId="2aabccd7-f410-4c9c-8764-2e3ea0dd7040" providerId="ADAL" clId="{6545EF83-34ED-4EBF-8118-20E7C988DC66}" dt="2023-11-03T21:20:52.848" v="23746" actId="164"/>
          <ac:picMkLst>
            <pc:docMk/>
            <pc:sldMk cId="2128846026" sldId="2147473128"/>
            <ac:picMk id="24" creationId="{56A16CCE-824C-2014-B997-F85C036B3574}"/>
          </ac:picMkLst>
        </pc:picChg>
        <pc:picChg chg="add del mod">
          <ac:chgData name="Arav Barot" userId="2aabccd7-f410-4c9c-8764-2e3ea0dd7040" providerId="ADAL" clId="{6545EF83-34ED-4EBF-8118-20E7C988DC66}" dt="2023-11-03T21:21:33.797" v="23757" actId="164"/>
          <ac:picMkLst>
            <pc:docMk/>
            <pc:sldMk cId="2128846026" sldId="2147473128"/>
            <ac:picMk id="26" creationId="{4E173B87-B1D6-406B-A5ED-F01DC830C587}"/>
          </ac:picMkLst>
        </pc:picChg>
        <pc:picChg chg="add mod">
          <ac:chgData name="Arav Barot" userId="2aabccd7-f410-4c9c-8764-2e3ea0dd7040" providerId="ADAL" clId="{6545EF83-34ED-4EBF-8118-20E7C988DC66}" dt="2023-11-03T21:24:45.537" v="23775" actId="164"/>
          <ac:picMkLst>
            <pc:docMk/>
            <pc:sldMk cId="2128846026" sldId="2147473128"/>
            <ac:picMk id="28" creationId="{C686BABD-065D-F603-C461-F21A846737A5}"/>
          </ac:picMkLst>
        </pc:picChg>
        <pc:picChg chg="del mod topLvl">
          <ac:chgData name="Arav Barot" userId="2aabccd7-f410-4c9c-8764-2e3ea0dd7040" providerId="ADAL" clId="{6545EF83-34ED-4EBF-8118-20E7C988DC66}" dt="2023-11-03T21:21:07.240" v="23751" actId="478"/>
          <ac:picMkLst>
            <pc:docMk/>
            <pc:sldMk cId="2128846026" sldId="2147473128"/>
            <ac:picMk id="40" creationId="{A1BE3D57-71DE-2834-C5B8-569811633188}"/>
          </ac:picMkLst>
        </pc:picChg>
        <pc:picChg chg="del mod topLvl">
          <ac:chgData name="Arav Barot" userId="2aabccd7-f410-4c9c-8764-2e3ea0dd7040" providerId="ADAL" clId="{6545EF83-34ED-4EBF-8118-20E7C988DC66}" dt="2023-11-03T21:24:08.170" v="23772" actId="478"/>
          <ac:picMkLst>
            <pc:docMk/>
            <pc:sldMk cId="2128846026" sldId="2147473128"/>
            <ac:picMk id="54" creationId="{16DC8E55-CD15-5A4C-98F7-4C8F992C620E}"/>
          </ac:picMkLst>
        </pc:picChg>
        <pc:cxnChg chg="add mod">
          <ac:chgData name="Arav Barot" userId="2aabccd7-f410-4c9c-8764-2e3ea0dd7040" providerId="ADAL" clId="{6545EF83-34ED-4EBF-8118-20E7C988DC66}" dt="2023-11-03T21:25:46.689" v="23778" actId="164"/>
          <ac:cxnSpMkLst>
            <pc:docMk/>
            <pc:sldMk cId="2128846026" sldId="2147473128"/>
            <ac:cxnSpMk id="13" creationId="{09EAFA0A-A632-5A1F-3F48-FC8680C74704}"/>
          </ac:cxnSpMkLst>
        </pc:cxnChg>
        <pc:cxnChg chg="add mod">
          <ac:chgData name="Arav Barot" userId="2aabccd7-f410-4c9c-8764-2e3ea0dd7040" providerId="ADAL" clId="{6545EF83-34ED-4EBF-8118-20E7C988DC66}" dt="2023-11-03T21:25:46.689" v="23778" actId="164"/>
          <ac:cxnSpMkLst>
            <pc:docMk/>
            <pc:sldMk cId="2128846026" sldId="2147473128"/>
            <ac:cxnSpMk id="15" creationId="{5085BA7F-CB11-6220-9912-26108E177A25}"/>
          </ac:cxnSpMkLst>
        </pc:cxnChg>
        <pc:cxnChg chg="add mod">
          <ac:chgData name="Arav Barot" userId="2aabccd7-f410-4c9c-8764-2e3ea0dd7040" providerId="ADAL" clId="{6545EF83-34ED-4EBF-8118-20E7C988DC66}" dt="2023-11-03T21:25:46.689" v="23778" actId="164"/>
          <ac:cxnSpMkLst>
            <pc:docMk/>
            <pc:sldMk cId="2128846026" sldId="2147473128"/>
            <ac:cxnSpMk id="17" creationId="{28BF615C-AD7E-2A44-189D-0D811C6FB63F}"/>
          </ac:cxnSpMkLst>
        </pc:cxnChg>
      </pc:sldChg>
      <pc:sldChg chg="del">
        <pc:chgData name="Arav Barot" userId="2aabccd7-f410-4c9c-8764-2e3ea0dd7040" providerId="ADAL" clId="{6545EF83-34ED-4EBF-8118-20E7C988DC66}" dt="2023-10-26T19:24:07.019" v="0" actId="47"/>
        <pc:sldMkLst>
          <pc:docMk/>
          <pc:sldMk cId="794277576" sldId="2147473129"/>
        </pc:sldMkLst>
      </pc:sldChg>
      <pc:sldChg chg="addSp delSp modSp new mod ord setBg modNotesTx">
        <pc:chgData name="Arav Barot" userId="2aabccd7-f410-4c9c-8764-2e3ea0dd7040" providerId="ADAL" clId="{6545EF83-34ED-4EBF-8118-20E7C988DC66}" dt="2023-11-10T11:31:18.251" v="28873" actId="20577"/>
        <pc:sldMkLst>
          <pc:docMk/>
          <pc:sldMk cId="2501430157" sldId="2147473129"/>
        </pc:sldMkLst>
        <pc:spChg chg="add mod ord">
          <ac:chgData name="Arav Barot" userId="2aabccd7-f410-4c9c-8764-2e3ea0dd7040" providerId="ADAL" clId="{6545EF83-34ED-4EBF-8118-20E7C988DC66}" dt="2023-11-07T15:29:25.336" v="27443" actId="14100"/>
          <ac:spMkLst>
            <pc:docMk/>
            <pc:sldMk cId="2501430157" sldId="2147473129"/>
            <ac:spMk id="2" creationId="{14B6627A-7710-8AEC-D6A8-F2244AD4818B}"/>
          </ac:spMkLst>
        </pc:spChg>
        <pc:spChg chg="del">
          <ac:chgData name="Arav Barot" userId="2aabccd7-f410-4c9c-8764-2e3ea0dd7040" providerId="ADAL" clId="{6545EF83-34ED-4EBF-8118-20E7C988DC66}" dt="2023-10-28T12:37:20.611" v="1704" actId="478"/>
          <ac:spMkLst>
            <pc:docMk/>
            <pc:sldMk cId="2501430157" sldId="2147473129"/>
            <ac:spMk id="2" creationId="{2683A83B-B13F-A951-B53D-D6F5A9B2B099}"/>
          </ac:spMkLst>
        </pc:spChg>
        <pc:spChg chg="add del mod">
          <ac:chgData name="Arav Barot" userId="2aabccd7-f410-4c9c-8764-2e3ea0dd7040" providerId="ADAL" clId="{6545EF83-34ED-4EBF-8118-20E7C988DC66}" dt="2023-11-03T12:49:22.153" v="13889" actId="478"/>
          <ac:spMkLst>
            <pc:docMk/>
            <pc:sldMk cId="2501430157" sldId="2147473129"/>
            <ac:spMk id="2" creationId="{E8EE528F-27DF-63F4-8C96-782E6F01867E}"/>
          </ac:spMkLst>
        </pc:spChg>
        <pc:spChg chg="mod">
          <ac:chgData name="Arav Barot" userId="2aabccd7-f410-4c9c-8764-2e3ea0dd7040" providerId="ADAL" clId="{6545EF83-34ED-4EBF-8118-20E7C988DC66}" dt="2023-10-28T13:12:56.146" v="2129" actId="20577"/>
          <ac:spMkLst>
            <pc:docMk/>
            <pc:sldMk cId="2501430157" sldId="2147473129"/>
            <ac:spMk id="3" creationId="{24C4A190-1E27-9625-21B5-16E384B66649}"/>
          </ac:spMkLst>
        </pc:spChg>
        <pc:spChg chg="add mod">
          <ac:chgData name="Arav Barot" userId="2aabccd7-f410-4c9c-8764-2e3ea0dd7040" providerId="ADAL" clId="{6545EF83-34ED-4EBF-8118-20E7C988DC66}" dt="2023-11-03T12:49:35.381" v="13918" actId="20577"/>
          <ac:spMkLst>
            <pc:docMk/>
            <pc:sldMk cId="2501430157" sldId="2147473129"/>
            <ac:spMk id="7" creationId="{E3E66868-250F-C13C-ADA6-24866684A8B3}"/>
          </ac:spMkLst>
        </pc:spChg>
        <pc:spChg chg="add mod">
          <ac:chgData name="Arav Barot" userId="2aabccd7-f410-4c9c-8764-2e3ea0dd7040" providerId="ADAL" clId="{6545EF83-34ED-4EBF-8118-20E7C988DC66}" dt="2023-11-03T13:36:21.554" v="14714"/>
          <ac:spMkLst>
            <pc:docMk/>
            <pc:sldMk cId="2501430157" sldId="2147473129"/>
            <ac:spMk id="9" creationId="{85A075CE-B8F4-C220-0163-9F44CAC0AD2E}"/>
          </ac:spMkLst>
        </pc:spChg>
        <pc:spChg chg="add del mod">
          <ac:chgData name="Arav Barot" userId="2aabccd7-f410-4c9c-8764-2e3ea0dd7040" providerId="ADAL" clId="{6545EF83-34ED-4EBF-8118-20E7C988DC66}" dt="2023-11-03T13:38:45.498" v="14729"/>
          <ac:spMkLst>
            <pc:docMk/>
            <pc:sldMk cId="2501430157" sldId="2147473129"/>
            <ac:spMk id="10" creationId="{0354ADD5-F615-AE27-6B82-A6634A6E264D}"/>
          </ac:spMkLst>
        </pc:spChg>
        <pc:spChg chg="add mod">
          <ac:chgData name="Arav Barot" userId="2aabccd7-f410-4c9c-8764-2e3ea0dd7040" providerId="ADAL" clId="{6545EF83-34ED-4EBF-8118-20E7C988DC66}" dt="2023-11-03T13:36:21.554" v="14714"/>
          <ac:spMkLst>
            <pc:docMk/>
            <pc:sldMk cId="2501430157" sldId="2147473129"/>
            <ac:spMk id="12" creationId="{ECA1D28E-9FA8-1727-7899-6A7A95BDBBA5}"/>
          </ac:spMkLst>
        </pc:spChg>
        <pc:spChg chg="add mod">
          <ac:chgData name="Arav Barot" userId="2aabccd7-f410-4c9c-8764-2e3ea0dd7040" providerId="ADAL" clId="{6545EF83-34ED-4EBF-8118-20E7C988DC66}" dt="2023-11-03T13:39:29.190" v="14738" actId="34135"/>
          <ac:spMkLst>
            <pc:docMk/>
            <pc:sldMk cId="2501430157" sldId="2147473129"/>
            <ac:spMk id="13" creationId="{16A5B7CD-27C2-852D-5A7B-D6131D1EE60A}"/>
          </ac:spMkLst>
        </pc:spChg>
        <pc:spChg chg="add mod">
          <ac:chgData name="Arav Barot" userId="2aabccd7-f410-4c9c-8764-2e3ea0dd7040" providerId="ADAL" clId="{6545EF83-34ED-4EBF-8118-20E7C988DC66}" dt="2023-11-03T13:36:21.554" v="14714"/>
          <ac:spMkLst>
            <pc:docMk/>
            <pc:sldMk cId="2501430157" sldId="2147473129"/>
            <ac:spMk id="15" creationId="{F6B8189E-9F08-054E-A4D9-486863E1BA89}"/>
          </ac:spMkLst>
        </pc:spChg>
        <pc:picChg chg="add mod">
          <ac:chgData name="Arav Barot" userId="2aabccd7-f410-4c9c-8764-2e3ea0dd7040" providerId="ADAL" clId="{6545EF83-34ED-4EBF-8118-20E7C988DC66}" dt="2023-11-03T13:36:21.554" v="14714"/>
          <ac:picMkLst>
            <pc:docMk/>
            <pc:sldMk cId="2501430157" sldId="2147473129"/>
            <ac:picMk id="8" creationId="{2C921645-1F8D-520E-4937-3C17C7EDF60A}"/>
          </ac:picMkLst>
        </pc:picChg>
        <pc:picChg chg="add mod">
          <ac:chgData name="Arav Barot" userId="2aabccd7-f410-4c9c-8764-2e3ea0dd7040" providerId="ADAL" clId="{6545EF83-34ED-4EBF-8118-20E7C988DC66}" dt="2023-11-03T13:36:21.554" v="14714"/>
          <ac:picMkLst>
            <pc:docMk/>
            <pc:sldMk cId="2501430157" sldId="2147473129"/>
            <ac:picMk id="11" creationId="{D6AB13B2-0C68-E076-8D30-699F9BB66FCD}"/>
          </ac:picMkLst>
        </pc:picChg>
        <pc:picChg chg="add mod">
          <ac:chgData name="Arav Barot" userId="2aabccd7-f410-4c9c-8764-2e3ea0dd7040" providerId="ADAL" clId="{6545EF83-34ED-4EBF-8118-20E7C988DC66}" dt="2023-11-03T13:36:21.554" v="14714"/>
          <ac:picMkLst>
            <pc:docMk/>
            <pc:sldMk cId="2501430157" sldId="2147473129"/>
            <ac:picMk id="14" creationId="{080A6BDF-7982-C8A3-1535-F4B4A8367BE5}"/>
          </ac:picMkLst>
        </pc:picChg>
      </pc:sldChg>
      <pc:sldChg chg="addSp delSp modSp new add del mod ord modClrScheme modShow chgLayout">
        <pc:chgData name="Arav Barot" userId="2aabccd7-f410-4c9c-8764-2e3ea0dd7040" providerId="ADAL" clId="{6545EF83-34ED-4EBF-8118-20E7C988DC66}" dt="2023-11-14T09:06:42.251" v="29771" actId="20577"/>
        <pc:sldMkLst>
          <pc:docMk/>
          <pc:sldMk cId="1594670965" sldId="2147473130"/>
        </pc:sldMkLst>
        <pc:spChg chg="mod ord">
          <ac:chgData name="Arav Barot" userId="2aabccd7-f410-4c9c-8764-2e3ea0dd7040" providerId="ADAL" clId="{6545EF83-34ED-4EBF-8118-20E7C988DC66}" dt="2023-10-28T13:04:45.741" v="1927" actId="700"/>
          <ac:spMkLst>
            <pc:docMk/>
            <pc:sldMk cId="1594670965" sldId="2147473130"/>
            <ac:spMk id="2" creationId="{16D583EA-D274-DB9E-84A0-97B856B4CF06}"/>
          </ac:spMkLst>
        </pc:spChg>
        <pc:spChg chg="mod ord">
          <ac:chgData name="Arav Barot" userId="2aabccd7-f410-4c9c-8764-2e3ea0dd7040" providerId="ADAL" clId="{6545EF83-34ED-4EBF-8118-20E7C988DC66}" dt="2023-10-28T13:04:45.741" v="1927" actId="700"/>
          <ac:spMkLst>
            <pc:docMk/>
            <pc:sldMk cId="1594670965" sldId="2147473130"/>
            <ac:spMk id="3" creationId="{99BAFB4D-FCC8-CADB-BCDD-C5DAC15D9497}"/>
          </ac:spMkLst>
        </pc:spChg>
        <pc:spChg chg="mod ord">
          <ac:chgData name="Arav Barot" userId="2aabccd7-f410-4c9c-8764-2e3ea0dd7040" providerId="ADAL" clId="{6545EF83-34ED-4EBF-8118-20E7C988DC66}" dt="2023-10-28T13:04:45.741" v="1927" actId="700"/>
          <ac:spMkLst>
            <pc:docMk/>
            <pc:sldMk cId="1594670965" sldId="2147473130"/>
            <ac:spMk id="4" creationId="{D1C7BF02-7CD1-A5C0-A148-6712409F2533}"/>
          </ac:spMkLst>
        </pc:spChg>
        <pc:spChg chg="add del mod">
          <ac:chgData name="Arav Barot" userId="2aabccd7-f410-4c9c-8764-2e3ea0dd7040" providerId="ADAL" clId="{6545EF83-34ED-4EBF-8118-20E7C988DC66}" dt="2023-11-03T13:38:39.803" v="14726"/>
          <ac:spMkLst>
            <pc:docMk/>
            <pc:sldMk cId="1594670965" sldId="2147473130"/>
            <ac:spMk id="5" creationId="{87C9F375-E1A1-4121-79EF-78BC3F0F9723}"/>
          </ac:spMkLst>
        </pc:spChg>
        <pc:spChg chg="mod ord">
          <ac:chgData name="Arav Barot" userId="2aabccd7-f410-4c9c-8764-2e3ea0dd7040" providerId="ADAL" clId="{6545EF83-34ED-4EBF-8118-20E7C988DC66}" dt="2023-10-28T13:04:45.741" v="1927" actId="700"/>
          <ac:spMkLst>
            <pc:docMk/>
            <pc:sldMk cId="1594670965" sldId="2147473130"/>
            <ac:spMk id="5" creationId="{937AA3FB-67CB-7539-E667-41AB39489458}"/>
          </ac:spMkLst>
        </pc:spChg>
        <pc:spChg chg="mod ord">
          <ac:chgData name="Arav Barot" userId="2aabccd7-f410-4c9c-8764-2e3ea0dd7040" providerId="ADAL" clId="{6545EF83-34ED-4EBF-8118-20E7C988DC66}" dt="2023-10-28T13:04:45.741" v="1927" actId="700"/>
          <ac:spMkLst>
            <pc:docMk/>
            <pc:sldMk cId="1594670965" sldId="2147473130"/>
            <ac:spMk id="6" creationId="{7BEBB52F-EDBC-EFD5-471E-ED0DDE4DE459}"/>
          </ac:spMkLst>
        </pc:spChg>
        <pc:spChg chg="add del mod ord">
          <ac:chgData name="Arav Barot" userId="2aabccd7-f410-4c9c-8764-2e3ea0dd7040" providerId="ADAL" clId="{6545EF83-34ED-4EBF-8118-20E7C988DC66}" dt="2023-10-28T13:04:45.741" v="1927" actId="700"/>
          <ac:spMkLst>
            <pc:docMk/>
            <pc:sldMk cId="1594670965" sldId="2147473130"/>
            <ac:spMk id="7" creationId="{42375BB8-1BB5-E20C-132E-2F9DF2711228}"/>
          </ac:spMkLst>
        </pc:spChg>
        <pc:spChg chg="add mod">
          <ac:chgData name="Arav Barot" userId="2aabccd7-f410-4c9c-8764-2e3ea0dd7040" providerId="ADAL" clId="{6545EF83-34ED-4EBF-8118-20E7C988DC66}" dt="2023-11-03T13:39:35.477" v="14740" actId="34135"/>
          <ac:spMkLst>
            <pc:docMk/>
            <pc:sldMk cId="1594670965" sldId="2147473130"/>
            <ac:spMk id="7" creationId="{8D6C4E42-EEA0-98AF-4AE0-428623604E1F}"/>
          </ac:spMkLst>
        </pc:spChg>
        <pc:spChg chg="add del mod ord">
          <ac:chgData name="Arav Barot" userId="2aabccd7-f410-4c9c-8764-2e3ea0dd7040" providerId="ADAL" clId="{6545EF83-34ED-4EBF-8118-20E7C988DC66}" dt="2023-10-28T13:04:45.741" v="1927" actId="700"/>
          <ac:spMkLst>
            <pc:docMk/>
            <pc:sldMk cId="1594670965" sldId="2147473130"/>
            <ac:spMk id="8" creationId="{61EBDD17-8C2F-79BA-6A78-EE3244741D59}"/>
          </ac:spMkLst>
        </pc:spChg>
        <pc:spChg chg="add del mod">
          <ac:chgData name="Arav Barot" userId="2aabccd7-f410-4c9c-8764-2e3ea0dd7040" providerId="ADAL" clId="{6545EF83-34ED-4EBF-8118-20E7C988DC66}" dt="2023-10-28T13:05:01.901" v="1929" actId="478"/>
          <ac:spMkLst>
            <pc:docMk/>
            <pc:sldMk cId="1594670965" sldId="2147473130"/>
            <ac:spMk id="9" creationId="{855C9D46-2868-4CFB-4DDC-939A96015F55}"/>
          </ac:spMkLst>
        </pc:spChg>
        <pc:graphicFrameChg chg="add mod modGraphic">
          <ac:chgData name="Arav Barot" userId="2aabccd7-f410-4c9c-8764-2e3ea0dd7040" providerId="ADAL" clId="{6545EF83-34ED-4EBF-8118-20E7C988DC66}" dt="2023-11-14T09:06:42.251" v="29771" actId="20577"/>
          <ac:graphicFrameMkLst>
            <pc:docMk/>
            <pc:sldMk cId="1594670965" sldId="2147473130"/>
            <ac:graphicFrameMk id="10" creationId="{F2CF7F64-B806-3EDB-ABEE-97A844628204}"/>
          </ac:graphicFrameMkLst>
        </pc:graphicFrameChg>
      </pc:sldChg>
      <pc:sldChg chg="del">
        <pc:chgData name="Arav Barot" userId="2aabccd7-f410-4c9c-8764-2e3ea0dd7040" providerId="ADAL" clId="{6545EF83-34ED-4EBF-8118-20E7C988DC66}" dt="2023-10-26T19:24:07.982" v="2" actId="47"/>
        <pc:sldMkLst>
          <pc:docMk/>
          <pc:sldMk cId="3560953545" sldId="2147473130"/>
        </pc:sldMkLst>
      </pc:sldChg>
      <pc:sldChg chg="addSp delSp modSp new mod">
        <pc:chgData name="Arav Barot" userId="2aabccd7-f410-4c9c-8764-2e3ea0dd7040" providerId="ADAL" clId="{6545EF83-34ED-4EBF-8118-20E7C988DC66}" dt="2023-11-10T14:42:11.322" v="29646" actId="166"/>
        <pc:sldMkLst>
          <pc:docMk/>
          <pc:sldMk cId="82771601" sldId="2147473131"/>
        </pc:sldMkLst>
        <pc:spChg chg="mod">
          <ac:chgData name="Arav Barot" userId="2aabccd7-f410-4c9c-8764-2e3ea0dd7040" providerId="ADAL" clId="{6545EF83-34ED-4EBF-8118-20E7C988DC66}" dt="2023-11-10T14:41:50.895" v="29643" actId="1076"/>
          <ac:spMkLst>
            <pc:docMk/>
            <pc:sldMk cId="82771601" sldId="2147473131"/>
            <ac:spMk id="2" creationId="{67025DB1-6433-E5F3-7AA1-8E9FCEC163B2}"/>
          </ac:spMkLst>
        </pc:spChg>
        <pc:spChg chg="mod">
          <ac:chgData name="Arav Barot" userId="2aabccd7-f410-4c9c-8764-2e3ea0dd7040" providerId="ADAL" clId="{6545EF83-34ED-4EBF-8118-20E7C988DC66}" dt="2023-11-10T14:41:46.655" v="29642" actId="1076"/>
          <ac:spMkLst>
            <pc:docMk/>
            <pc:sldMk cId="82771601" sldId="2147473131"/>
            <ac:spMk id="3" creationId="{2BCB2140-265F-7904-43C3-7F16239DA7F0}"/>
          </ac:spMkLst>
        </pc:spChg>
        <pc:spChg chg="del">
          <ac:chgData name="Arav Barot" userId="2aabccd7-f410-4c9c-8764-2e3ea0dd7040" providerId="ADAL" clId="{6545EF83-34ED-4EBF-8118-20E7C988DC66}" dt="2023-10-28T13:02:06.536" v="1852" actId="478"/>
          <ac:spMkLst>
            <pc:docMk/>
            <pc:sldMk cId="82771601" sldId="2147473131"/>
            <ac:spMk id="4" creationId="{11EF704B-CD00-0BD1-CAB1-1C2C48866442}"/>
          </ac:spMkLst>
        </pc:spChg>
        <pc:spChg chg="del">
          <ac:chgData name="Arav Barot" userId="2aabccd7-f410-4c9c-8764-2e3ea0dd7040" providerId="ADAL" clId="{6545EF83-34ED-4EBF-8118-20E7C988DC66}" dt="2023-10-28T13:02:02.696" v="1851" actId="478"/>
          <ac:spMkLst>
            <pc:docMk/>
            <pc:sldMk cId="82771601" sldId="2147473131"/>
            <ac:spMk id="5" creationId="{4BA5DD59-CEDB-927A-D2A5-F0A7CDC0FE2F}"/>
          </ac:spMkLst>
        </pc:spChg>
        <pc:spChg chg="mod ord">
          <ac:chgData name="Arav Barot" userId="2aabccd7-f410-4c9c-8764-2e3ea0dd7040" providerId="ADAL" clId="{6545EF83-34ED-4EBF-8118-20E7C988DC66}" dt="2023-11-10T14:42:11.322" v="29646" actId="166"/>
          <ac:spMkLst>
            <pc:docMk/>
            <pc:sldMk cId="82771601" sldId="2147473131"/>
            <ac:spMk id="6" creationId="{34B1921F-165D-17BE-392D-A7587EF6534B}"/>
          </ac:spMkLst>
        </pc:spChg>
        <pc:spChg chg="mod">
          <ac:chgData name="Arav Barot" userId="2aabccd7-f410-4c9c-8764-2e3ea0dd7040" providerId="ADAL" clId="{6545EF83-34ED-4EBF-8118-20E7C988DC66}" dt="2023-11-10T14:42:03.748" v="29645" actId="1076"/>
          <ac:spMkLst>
            <pc:docMk/>
            <pc:sldMk cId="82771601" sldId="2147473131"/>
            <ac:spMk id="7" creationId="{E615FA83-2E4C-85FD-7C1B-E736FC285A10}"/>
          </ac:spMkLst>
        </pc:spChg>
        <pc:picChg chg="add del mod">
          <ac:chgData name="Arav Barot" userId="2aabccd7-f410-4c9c-8764-2e3ea0dd7040" providerId="ADAL" clId="{6545EF83-34ED-4EBF-8118-20E7C988DC66}" dt="2023-10-28T12:40:29.839" v="1765" actId="478"/>
          <ac:picMkLst>
            <pc:docMk/>
            <pc:sldMk cId="82771601" sldId="2147473131"/>
            <ac:picMk id="8" creationId="{C6A49F4A-C5BD-3A08-D9E2-7C995D770AF1}"/>
          </ac:picMkLst>
        </pc:picChg>
      </pc:sldChg>
      <pc:sldChg chg="del">
        <pc:chgData name="Arav Barot" userId="2aabccd7-f410-4c9c-8764-2e3ea0dd7040" providerId="ADAL" clId="{6545EF83-34ED-4EBF-8118-20E7C988DC66}" dt="2023-10-26T19:24:08.734" v="4" actId="47"/>
        <pc:sldMkLst>
          <pc:docMk/>
          <pc:sldMk cId="1259919303" sldId="2147473131"/>
        </pc:sldMkLst>
      </pc:sldChg>
      <pc:sldChg chg="addSp delSp modSp new mod ord">
        <pc:chgData name="Arav Barot" userId="2aabccd7-f410-4c9c-8764-2e3ea0dd7040" providerId="ADAL" clId="{6545EF83-34ED-4EBF-8118-20E7C988DC66}" dt="2023-11-07T08:58:18.207" v="24117" actId="21"/>
        <pc:sldMkLst>
          <pc:docMk/>
          <pc:sldMk cId="3476172999" sldId="2147473132"/>
        </pc:sldMkLst>
        <pc:spChg chg="mod">
          <ac:chgData name="Arav Barot" userId="2aabccd7-f410-4c9c-8764-2e3ea0dd7040" providerId="ADAL" clId="{6545EF83-34ED-4EBF-8118-20E7C988DC66}" dt="2023-11-03T21:28:50.923" v="23895" actId="20577"/>
          <ac:spMkLst>
            <pc:docMk/>
            <pc:sldMk cId="3476172999" sldId="2147473132"/>
            <ac:spMk id="2" creationId="{8A20F174-0ADE-DA6A-9C17-93C7B3E6D8D1}"/>
          </ac:spMkLst>
        </pc:spChg>
        <pc:spChg chg="mod">
          <ac:chgData name="Arav Barot" userId="2aabccd7-f410-4c9c-8764-2e3ea0dd7040" providerId="ADAL" clId="{6545EF83-34ED-4EBF-8118-20E7C988DC66}" dt="2023-11-04T12:47:06.242" v="23992" actId="404"/>
          <ac:spMkLst>
            <pc:docMk/>
            <pc:sldMk cId="3476172999" sldId="2147473132"/>
            <ac:spMk id="3" creationId="{D065A2F9-1756-6E7E-AC79-5310433FD2C1}"/>
          </ac:spMkLst>
        </pc:spChg>
        <pc:spChg chg="add mod">
          <ac:chgData name="Arav Barot" userId="2aabccd7-f410-4c9c-8764-2e3ea0dd7040" providerId="ADAL" clId="{6545EF83-34ED-4EBF-8118-20E7C988DC66}" dt="2023-11-03T13:36:21.554" v="14714"/>
          <ac:spMkLst>
            <pc:docMk/>
            <pc:sldMk cId="3476172999" sldId="2147473132"/>
            <ac:spMk id="5" creationId="{512F7FFD-2BAC-C330-C522-D1FE0327B8EC}"/>
          </ac:spMkLst>
        </pc:spChg>
        <pc:spChg chg="add del mod">
          <ac:chgData name="Arav Barot" userId="2aabccd7-f410-4c9c-8764-2e3ea0dd7040" providerId="ADAL" clId="{6545EF83-34ED-4EBF-8118-20E7C988DC66}" dt="2023-10-30T12:19:57.351" v="9272" actId="478"/>
          <ac:spMkLst>
            <pc:docMk/>
            <pc:sldMk cId="3476172999" sldId="2147473132"/>
            <ac:spMk id="5" creationId="{85A78BED-E683-4286-513D-2DD85B1439AB}"/>
          </ac:spMkLst>
        </pc:spChg>
        <pc:spChg chg="add del mod">
          <ac:chgData name="Arav Barot" userId="2aabccd7-f410-4c9c-8764-2e3ea0dd7040" providerId="ADAL" clId="{6545EF83-34ED-4EBF-8118-20E7C988DC66}" dt="2023-10-28T13:23:32.638" v="2531"/>
          <ac:spMkLst>
            <pc:docMk/>
            <pc:sldMk cId="3476172999" sldId="2147473132"/>
            <ac:spMk id="8" creationId="{7A3B98A8-4568-F611-6388-87281CEC0A2D}"/>
          </ac:spMkLst>
        </pc:spChg>
        <pc:spChg chg="add mod">
          <ac:chgData name="Arav Barot" userId="2aabccd7-f410-4c9c-8764-2e3ea0dd7040" providerId="ADAL" clId="{6545EF83-34ED-4EBF-8118-20E7C988DC66}" dt="2023-11-03T13:36:21.554" v="14714"/>
          <ac:spMkLst>
            <pc:docMk/>
            <pc:sldMk cId="3476172999" sldId="2147473132"/>
            <ac:spMk id="8" creationId="{958265C1-EC0B-B144-54BA-A2F1F18B6B1A}"/>
          </ac:spMkLst>
        </pc:spChg>
        <pc:spChg chg="add mod">
          <ac:chgData name="Arav Barot" userId="2aabccd7-f410-4c9c-8764-2e3ea0dd7040" providerId="ADAL" clId="{6545EF83-34ED-4EBF-8118-20E7C988DC66}" dt="2023-11-03T13:42:01.689" v="14768" actId="34135"/>
          <ac:spMkLst>
            <pc:docMk/>
            <pc:sldMk cId="3476172999" sldId="2147473132"/>
            <ac:spMk id="9" creationId="{8674C30F-133D-D5DF-BCFA-883FCEA43865}"/>
          </ac:spMkLst>
        </pc:spChg>
        <pc:spChg chg="add mod">
          <ac:chgData name="Arav Barot" userId="2aabccd7-f410-4c9c-8764-2e3ea0dd7040" providerId="ADAL" clId="{6545EF83-34ED-4EBF-8118-20E7C988DC66}" dt="2023-11-03T13:36:21.554" v="14714"/>
          <ac:spMkLst>
            <pc:docMk/>
            <pc:sldMk cId="3476172999" sldId="2147473132"/>
            <ac:spMk id="11" creationId="{516C48D4-603C-A4AD-1B64-2210ED4A1038}"/>
          </ac:spMkLst>
        </pc:spChg>
        <pc:spChg chg="add mod">
          <ac:chgData name="Arav Barot" userId="2aabccd7-f410-4c9c-8764-2e3ea0dd7040" providerId="ADAL" clId="{6545EF83-34ED-4EBF-8118-20E7C988DC66}" dt="2023-11-03T13:36:21.554" v="14714"/>
          <ac:spMkLst>
            <pc:docMk/>
            <pc:sldMk cId="3476172999" sldId="2147473132"/>
            <ac:spMk id="12" creationId="{74DCD9AA-6550-4F29-444D-A5DD771F7AD3}"/>
          </ac:spMkLst>
        </pc:spChg>
        <pc:spChg chg="add del mod ord">
          <ac:chgData name="Arav Barot" userId="2aabccd7-f410-4c9c-8764-2e3ea0dd7040" providerId="ADAL" clId="{6545EF83-34ED-4EBF-8118-20E7C988DC66}" dt="2023-11-04T12:49:55.635" v="24010"/>
          <ac:spMkLst>
            <pc:docMk/>
            <pc:sldMk cId="3476172999" sldId="2147473132"/>
            <ac:spMk id="13" creationId="{639E9B55-2E06-8CC2-80AD-F522FBFFA427}"/>
          </ac:spMkLst>
        </pc:spChg>
        <pc:spChg chg="add del mod ord">
          <ac:chgData name="Arav Barot" userId="2aabccd7-f410-4c9c-8764-2e3ea0dd7040" providerId="ADAL" clId="{6545EF83-34ED-4EBF-8118-20E7C988DC66}" dt="2023-11-07T08:58:18.207" v="24117" actId="21"/>
          <ac:spMkLst>
            <pc:docMk/>
            <pc:sldMk cId="3476172999" sldId="2147473132"/>
            <ac:spMk id="14" creationId="{F4A823ED-00A4-C978-0178-A5956368EBA0}"/>
          </ac:spMkLst>
        </pc:spChg>
        <pc:picChg chg="add mod">
          <ac:chgData name="Arav Barot" userId="2aabccd7-f410-4c9c-8764-2e3ea0dd7040" providerId="ADAL" clId="{6545EF83-34ED-4EBF-8118-20E7C988DC66}" dt="2023-11-04T12:50:21.018" v="24013" actId="1076"/>
          <ac:picMkLst>
            <pc:docMk/>
            <pc:sldMk cId="3476172999" sldId="2147473132"/>
            <ac:picMk id="10" creationId="{877A91A6-198A-8B45-F674-070F7BBE0158}"/>
          </ac:picMkLst>
        </pc:picChg>
      </pc:sldChg>
      <pc:sldChg chg="del">
        <pc:chgData name="Arav Barot" userId="2aabccd7-f410-4c9c-8764-2e3ea0dd7040" providerId="ADAL" clId="{6545EF83-34ED-4EBF-8118-20E7C988DC66}" dt="2023-10-26T19:24:09.659" v="6" actId="47"/>
        <pc:sldMkLst>
          <pc:docMk/>
          <pc:sldMk cId="3876837676" sldId="2147473132"/>
        </pc:sldMkLst>
      </pc:sldChg>
      <pc:sldChg chg="addSp delSp modSp new mod ord">
        <pc:chgData name="Arav Barot" userId="2aabccd7-f410-4c9c-8764-2e3ea0dd7040" providerId="ADAL" clId="{6545EF83-34ED-4EBF-8118-20E7C988DC66}" dt="2023-11-07T09:27:50.258" v="24574" actId="21"/>
        <pc:sldMkLst>
          <pc:docMk/>
          <pc:sldMk cId="739512461" sldId="2147473133"/>
        </pc:sldMkLst>
        <pc:spChg chg="mod">
          <ac:chgData name="Arav Barot" userId="2aabccd7-f410-4c9c-8764-2e3ea0dd7040" providerId="ADAL" clId="{6545EF83-34ED-4EBF-8118-20E7C988DC66}" dt="2023-11-03T20:56:21.669" v="23226" actId="20577"/>
          <ac:spMkLst>
            <pc:docMk/>
            <pc:sldMk cId="739512461" sldId="2147473133"/>
            <ac:spMk id="2" creationId="{3686E166-4CB9-460F-D4D0-EE848C49F8D8}"/>
          </ac:spMkLst>
        </pc:spChg>
        <pc:spChg chg="mod">
          <ac:chgData name="Arav Barot" userId="2aabccd7-f410-4c9c-8764-2e3ea0dd7040" providerId="ADAL" clId="{6545EF83-34ED-4EBF-8118-20E7C988DC66}" dt="2023-10-30T08:50:14.694" v="3228" actId="20577"/>
          <ac:spMkLst>
            <pc:docMk/>
            <pc:sldMk cId="739512461" sldId="2147473133"/>
            <ac:spMk id="3" creationId="{53A1019D-2901-71AE-F21E-A13BF3E20FE9}"/>
          </ac:spMkLst>
        </pc:spChg>
        <pc:spChg chg="add del mod">
          <ac:chgData name="Arav Barot" userId="2aabccd7-f410-4c9c-8764-2e3ea0dd7040" providerId="ADAL" clId="{6545EF83-34ED-4EBF-8118-20E7C988DC66}" dt="2023-11-03T20:30:43.768" v="22619" actId="478"/>
          <ac:spMkLst>
            <pc:docMk/>
            <pc:sldMk cId="739512461" sldId="2147473133"/>
            <ac:spMk id="7" creationId="{7C96A623-6959-9FA8-58A0-C7881195EFC7}"/>
          </ac:spMkLst>
        </pc:spChg>
        <pc:spChg chg="add del mod">
          <ac:chgData name="Arav Barot" userId="2aabccd7-f410-4c9c-8764-2e3ea0dd7040" providerId="ADAL" clId="{6545EF83-34ED-4EBF-8118-20E7C988DC66}" dt="2023-11-03T20:34:30.318" v="22683"/>
          <ac:spMkLst>
            <pc:docMk/>
            <pc:sldMk cId="739512461" sldId="2147473133"/>
            <ac:spMk id="9" creationId="{1AA34E06-A98E-9F76-0DA1-30D03C8138FA}"/>
          </ac:spMkLst>
        </pc:spChg>
        <pc:spChg chg="add del mod">
          <ac:chgData name="Arav Barot" userId="2aabccd7-f410-4c9c-8764-2e3ea0dd7040" providerId="ADAL" clId="{6545EF83-34ED-4EBF-8118-20E7C988DC66}" dt="2023-11-03T20:37:47.421" v="22892" actId="478"/>
          <ac:spMkLst>
            <pc:docMk/>
            <pc:sldMk cId="739512461" sldId="2147473133"/>
            <ac:spMk id="10" creationId="{555DDE78-44D6-7A3B-7502-F58BC4C3CE9F}"/>
          </ac:spMkLst>
        </pc:spChg>
        <pc:spChg chg="add del mod">
          <ac:chgData name="Arav Barot" userId="2aabccd7-f410-4c9c-8764-2e3ea0dd7040" providerId="ADAL" clId="{6545EF83-34ED-4EBF-8118-20E7C988DC66}" dt="2023-11-03T20:36:48.513" v="22869" actId="478"/>
          <ac:spMkLst>
            <pc:docMk/>
            <pc:sldMk cId="739512461" sldId="2147473133"/>
            <ac:spMk id="11" creationId="{B2A2E1CE-00FB-D4CC-C085-76C3305895D9}"/>
          </ac:spMkLst>
        </pc:spChg>
        <pc:spChg chg="add mod">
          <ac:chgData name="Arav Barot" userId="2aabccd7-f410-4c9c-8764-2e3ea0dd7040" providerId="ADAL" clId="{6545EF83-34ED-4EBF-8118-20E7C988DC66}" dt="2023-11-03T20:36:59.770" v="22870" actId="164"/>
          <ac:spMkLst>
            <pc:docMk/>
            <pc:sldMk cId="739512461" sldId="2147473133"/>
            <ac:spMk id="12" creationId="{12C16CF5-9BDF-9F06-945D-8F4B7211AB7D}"/>
          </ac:spMkLst>
        </pc:spChg>
        <pc:spChg chg="add mod">
          <ac:chgData name="Arav Barot" userId="2aabccd7-f410-4c9c-8764-2e3ea0dd7040" providerId="ADAL" clId="{6545EF83-34ED-4EBF-8118-20E7C988DC66}" dt="2023-11-03T20:32:30.743" v="22639" actId="164"/>
          <ac:spMkLst>
            <pc:docMk/>
            <pc:sldMk cId="739512461" sldId="2147473133"/>
            <ac:spMk id="13" creationId="{5A084CBE-81AF-1191-6148-3DA8E3A00A4B}"/>
          </ac:spMkLst>
        </pc:spChg>
        <pc:spChg chg="add mod">
          <ac:chgData name="Arav Barot" userId="2aabccd7-f410-4c9c-8764-2e3ea0dd7040" providerId="ADAL" clId="{6545EF83-34ED-4EBF-8118-20E7C988DC66}" dt="2023-11-03T13:40:31.195" v="14752" actId="34135"/>
          <ac:spMkLst>
            <pc:docMk/>
            <pc:sldMk cId="739512461" sldId="2147473133"/>
            <ac:spMk id="14" creationId="{72087261-AADB-036C-8176-7CFE5E327EE0}"/>
          </ac:spMkLst>
        </pc:spChg>
        <pc:spChg chg="mod">
          <ac:chgData name="Arav Barot" userId="2aabccd7-f410-4c9c-8764-2e3ea0dd7040" providerId="ADAL" clId="{6545EF83-34ED-4EBF-8118-20E7C988DC66}" dt="2023-11-03T20:31:02.516" v="22627" actId="5793"/>
          <ac:spMkLst>
            <pc:docMk/>
            <pc:sldMk cId="739512461" sldId="2147473133"/>
            <ac:spMk id="18" creationId="{3F182BFE-B321-22AE-FD49-020B8A2CCC70}"/>
          </ac:spMkLst>
        </pc:spChg>
        <pc:spChg chg="mod">
          <ac:chgData name="Arav Barot" userId="2aabccd7-f410-4c9c-8764-2e3ea0dd7040" providerId="ADAL" clId="{6545EF83-34ED-4EBF-8118-20E7C988DC66}" dt="2023-11-03T20:30:12.663" v="22539"/>
          <ac:spMkLst>
            <pc:docMk/>
            <pc:sldMk cId="739512461" sldId="2147473133"/>
            <ac:spMk id="19" creationId="{EB26F92F-39F6-4FB8-ABA6-04E840F9E017}"/>
          </ac:spMkLst>
        </pc:spChg>
        <pc:spChg chg="add mod">
          <ac:chgData name="Arav Barot" userId="2aabccd7-f410-4c9c-8764-2e3ea0dd7040" providerId="ADAL" clId="{6545EF83-34ED-4EBF-8118-20E7C988DC66}" dt="2023-11-03T20:32:30.743" v="22639" actId="164"/>
          <ac:spMkLst>
            <pc:docMk/>
            <pc:sldMk cId="739512461" sldId="2147473133"/>
            <ac:spMk id="21" creationId="{128D2572-40BB-3995-A7B5-7BC7BDB4B13D}"/>
          </ac:spMkLst>
        </pc:spChg>
        <pc:spChg chg="add del mod">
          <ac:chgData name="Arav Barot" userId="2aabccd7-f410-4c9c-8764-2e3ea0dd7040" providerId="ADAL" clId="{6545EF83-34ED-4EBF-8118-20E7C988DC66}" dt="2023-11-03T20:33:29.142" v="22651"/>
          <ac:spMkLst>
            <pc:docMk/>
            <pc:sldMk cId="739512461" sldId="2147473133"/>
            <ac:spMk id="26" creationId="{79304160-1D22-7299-B51B-03CE1293472E}"/>
          </ac:spMkLst>
        </pc:spChg>
        <pc:spChg chg="mod">
          <ac:chgData name="Arav Barot" userId="2aabccd7-f410-4c9c-8764-2e3ea0dd7040" providerId="ADAL" clId="{6545EF83-34ED-4EBF-8118-20E7C988DC66}" dt="2023-11-03T20:42:24.883" v="23058" actId="1076"/>
          <ac:spMkLst>
            <pc:docMk/>
            <pc:sldMk cId="739512461" sldId="2147473133"/>
            <ac:spMk id="28" creationId="{77E67047-A58F-C8F3-4190-205500AF3627}"/>
          </ac:spMkLst>
        </pc:spChg>
        <pc:spChg chg="mod">
          <ac:chgData name="Arav Barot" userId="2aabccd7-f410-4c9c-8764-2e3ea0dd7040" providerId="ADAL" clId="{6545EF83-34ED-4EBF-8118-20E7C988DC66}" dt="2023-11-03T20:42:20.395" v="23057" actId="14100"/>
          <ac:spMkLst>
            <pc:docMk/>
            <pc:sldMk cId="739512461" sldId="2147473133"/>
            <ac:spMk id="29" creationId="{1B63F7D4-6AFD-61F6-82F3-5A47855A9F16}"/>
          </ac:spMkLst>
        </pc:spChg>
        <pc:spChg chg="add del mod">
          <ac:chgData name="Arav Barot" userId="2aabccd7-f410-4c9c-8764-2e3ea0dd7040" providerId="ADAL" clId="{6545EF83-34ED-4EBF-8118-20E7C988DC66}" dt="2023-11-03T20:35:13.626" v="22693"/>
          <ac:spMkLst>
            <pc:docMk/>
            <pc:sldMk cId="739512461" sldId="2147473133"/>
            <ac:spMk id="30" creationId="{9651400B-8588-E531-804C-D7EB84EA78A5}"/>
          </ac:spMkLst>
        </pc:spChg>
        <pc:spChg chg="mod">
          <ac:chgData name="Arav Barot" userId="2aabccd7-f410-4c9c-8764-2e3ea0dd7040" providerId="ADAL" clId="{6545EF83-34ED-4EBF-8118-20E7C988DC66}" dt="2023-11-03T20:36:09.737" v="22852" actId="5793"/>
          <ac:spMkLst>
            <pc:docMk/>
            <pc:sldMk cId="739512461" sldId="2147473133"/>
            <ac:spMk id="32" creationId="{2D6C6B3C-3981-1DA7-94ED-CC9E73EB154F}"/>
          </ac:spMkLst>
        </pc:spChg>
        <pc:spChg chg="mod">
          <ac:chgData name="Arav Barot" userId="2aabccd7-f410-4c9c-8764-2e3ea0dd7040" providerId="ADAL" clId="{6545EF83-34ED-4EBF-8118-20E7C988DC66}" dt="2023-11-03T20:36:15.986" v="22858" actId="6549"/>
          <ac:spMkLst>
            <pc:docMk/>
            <pc:sldMk cId="739512461" sldId="2147473133"/>
            <ac:spMk id="33" creationId="{FCD8595E-0EDF-CB9B-FB09-CA602A1A521F}"/>
          </ac:spMkLst>
        </pc:spChg>
        <pc:spChg chg="mod">
          <ac:chgData name="Arav Barot" userId="2aabccd7-f410-4c9c-8764-2e3ea0dd7040" providerId="ADAL" clId="{6545EF83-34ED-4EBF-8118-20E7C988DC66}" dt="2023-11-03T20:42:50.233" v="23061" actId="1076"/>
          <ac:spMkLst>
            <pc:docMk/>
            <pc:sldMk cId="739512461" sldId="2147473133"/>
            <ac:spMk id="41" creationId="{70C0A528-2A58-B578-8572-87DEBE765F3D}"/>
          </ac:spMkLst>
        </pc:spChg>
        <pc:spChg chg="mod">
          <ac:chgData name="Arav Barot" userId="2aabccd7-f410-4c9c-8764-2e3ea0dd7040" providerId="ADAL" clId="{6545EF83-34ED-4EBF-8118-20E7C988DC66}" dt="2023-11-03T20:42:43.706" v="23060" actId="1076"/>
          <ac:spMkLst>
            <pc:docMk/>
            <pc:sldMk cId="739512461" sldId="2147473133"/>
            <ac:spMk id="42" creationId="{3422B5C7-CCE0-1920-3A27-B9898451D139}"/>
          </ac:spMkLst>
        </pc:spChg>
        <pc:spChg chg="add del mod ord topLvl">
          <ac:chgData name="Arav Barot" userId="2aabccd7-f410-4c9c-8764-2e3ea0dd7040" providerId="ADAL" clId="{6545EF83-34ED-4EBF-8118-20E7C988DC66}" dt="2023-11-07T09:27:50.258" v="24574" actId="21"/>
          <ac:spMkLst>
            <pc:docMk/>
            <pc:sldMk cId="739512461" sldId="2147473133"/>
            <ac:spMk id="44" creationId="{64A4A80B-8EC9-45CB-BEAF-F4FDF7C6CFF9}"/>
          </ac:spMkLst>
        </pc:spChg>
        <pc:grpChg chg="add del mod">
          <ac:chgData name="Arav Barot" userId="2aabccd7-f410-4c9c-8764-2e3ea0dd7040" providerId="ADAL" clId="{6545EF83-34ED-4EBF-8118-20E7C988DC66}" dt="2023-11-07T09:27:50.258" v="24574" actId="21"/>
          <ac:grpSpMkLst>
            <pc:docMk/>
            <pc:sldMk cId="739512461" sldId="2147473133"/>
            <ac:grpSpMk id="16" creationId="{7C2EAF0B-2E5D-62F8-EC8F-3D13A12674AD}"/>
          </ac:grpSpMkLst>
        </pc:grpChg>
        <pc:grpChg chg="add mod">
          <ac:chgData name="Arav Barot" userId="2aabccd7-f410-4c9c-8764-2e3ea0dd7040" providerId="ADAL" clId="{6545EF83-34ED-4EBF-8118-20E7C988DC66}" dt="2023-11-03T20:36:59.770" v="22870" actId="164"/>
          <ac:grpSpMkLst>
            <pc:docMk/>
            <pc:sldMk cId="739512461" sldId="2147473133"/>
            <ac:grpSpMk id="25" creationId="{CA79F232-7DFB-7BAE-0C9E-D6BC54F17655}"/>
          </ac:grpSpMkLst>
        </pc:grpChg>
        <pc:grpChg chg="add del mod">
          <ac:chgData name="Arav Barot" userId="2aabccd7-f410-4c9c-8764-2e3ea0dd7040" providerId="ADAL" clId="{6545EF83-34ED-4EBF-8118-20E7C988DC66}" dt="2023-11-07T09:27:50.258" v="24574" actId="21"/>
          <ac:grpSpMkLst>
            <pc:docMk/>
            <pc:sldMk cId="739512461" sldId="2147473133"/>
            <ac:grpSpMk id="27" creationId="{6C6015E8-1A03-B42F-2CBF-B10BF8C86538}"/>
          </ac:grpSpMkLst>
        </pc:grpChg>
        <pc:grpChg chg="add del mod">
          <ac:chgData name="Arav Barot" userId="2aabccd7-f410-4c9c-8764-2e3ea0dd7040" providerId="ADAL" clId="{6545EF83-34ED-4EBF-8118-20E7C988DC66}" dt="2023-11-03T20:36:22.093" v="22864"/>
          <ac:grpSpMkLst>
            <pc:docMk/>
            <pc:sldMk cId="739512461" sldId="2147473133"/>
            <ac:grpSpMk id="31" creationId="{ABC41600-D7C7-845B-4F7C-1D40136A3241}"/>
          </ac:grpSpMkLst>
        </pc:grpChg>
        <pc:grpChg chg="add del mod">
          <ac:chgData name="Arav Barot" userId="2aabccd7-f410-4c9c-8764-2e3ea0dd7040" providerId="ADAL" clId="{6545EF83-34ED-4EBF-8118-20E7C988DC66}" dt="2023-11-07T09:27:50.258" v="24574" actId="21"/>
          <ac:grpSpMkLst>
            <pc:docMk/>
            <pc:sldMk cId="739512461" sldId="2147473133"/>
            <ac:grpSpMk id="39" creationId="{57EB0257-ED5A-6FE1-04A5-D6712DACE711}"/>
          </ac:grpSpMkLst>
        </pc:grpChg>
        <pc:grpChg chg="add del mod ord">
          <ac:chgData name="Arav Barot" userId="2aabccd7-f410-4c9c-8764-2e3ea0dd7040" providerId="ADAL" clId="{6545EF83-34ED-4EBF-8118-20E7C988DC66}" dt="2023-11-07T09:27:50.258" v="24574" actId="21"/>
          <ac:grpSpMkLst>
            <pc:docMk/>
            <pc:sldMk cId="739512461" sldId="2147473133"/>
            <ac:grpSpMk id="40" creationId="{48831EAB-3A00-7A9F-9419-7702971ABBE4}"/>
          </ac:grpSpMkLst>
        </pc:grpChg>
        <pc:grpChg chg="add del mod">
          <ac:chgData name="Arav Barot" userId="2aabccd7-f410-4c9c-8764-2e3ea0dd7040" providerId="ADAL" clId="{6545EF83-34ED-4EBF-8118-20E7C988DC66}" dt="2023-11-03T20:40:54.973" v="23046" actId="478"/>
          <ac:grpSpMkLst>
            <pc:docMk/>
            <pc:sldMk cId="739512461" sldId="2147473133"/>
            <ac:grpSpMk id="43" creationId="{0F42D2CC-844D-B51B-FFFC-FB783AD10178}"/>
          </ac:grpSpMkLst>
        </pc:grpChg>
        <pc:picChg chg="add del mod">
          <ac:chgData name="Arav Barot" userId="2aabccd7-f410-4c9c-8764-2e3ea0dd7040" providerId="ADAL" clId="{6545EF83-34ED-4EBF-8118-20E7C988DC66}" dt="2023-11-07T09:27:50.258" v="24574" actId="21"/>
          <ac:picMkLst>
            <pc:docMk/>
            <pc:sldMk cId="739512461" sldId="2147473133"/>
            <ac:picMk id="8" creationId="{EB37D995-3311-4F16-A693-2666E6C77C4F}"/>
          </ac:picMkLst>
        </pc:picChg>
        <pc:picChg chg="del mod topLvl">
          <ac:chgData name="Arav Barot" userId="2aabccd7-f410-4c9c-8764-2e3ea0dd7040" providerId="ADAL" clId="{6545EF83-34ED-4EBF-8118-20E7C988DC66}" dt="2023-11-03T20:40:54.973" v="23046" actId="478"/>
          <ac:picMkLst>
            <pc:docMk/>
            <pc:sldMk cId="739512461" sldId="2147473133"/>
            <ac:picMk id="45" creationId="{62B1F7E0-E378-77A6-21B2-D3AFDDBD4BCC}"/>
          </ac:picMkLst>
        </pc:picChg>
        <pc:cxnChg chg="add mod">
          <ac:chgData name="Arav Barot" userId="2aabccd7-f410-4c9c-8764-2e3ea0dd7040" providerId="ADAL" clId="{6545EF83-34ED-4EBF-8118-20E7C988DC66}" dt="2023-11-07T09:27:50.258" v="24574" actId="21"/>
          <ac:cxnSpMkLst>
            <pc:docMk/>
            <pc:sldMk cId="739512461" sldId="2147473133"/>
            <ac:cxnSpMk id="15" creationId="{96F98F95-7977-A60C-1C23-049F5E210AA4}"/>
          </ac:cxnSpMkLst>
        </pc:cxnChg>
        <pc:cxnChg chg="add del mod">
          <ac:chgData name="Arav Barot" userId="2aabccd7-f410-4c9c-8764-2e3ea0dd7040" providerId="ADAL" clId="{6545EF83-34ED-4EBF-8118-20E7C988DC66}" dt="2023-11-03T20:36:32.014" v="22867" actId="478"/>
          <ac:cxnSpMkLst>
            <pc:docMk/>
            <pc:sldMk cId="739512461" sldId="2147473133"/>
            <ac:cxnSpMk id="17" creationId="{45B387D9-65AB-E744-B3D6-BC3B155D1403}"/>
          </ac:cxnSpMkLst>
        </pc:cxnChg>
        <pc:cxnChg chg="add mod">
          <ac:chgData name="Arav Barot" userId="2aabccd7-f410-4c9c-8764-2e3ea0dd7040" providerId="ADAL" clId="{6545EF83-34ED-4EBF-8118-20E7C988DC66}" dt="2023-11-07T09:27:50.258" v="24574" actId="21"/>
          <ac:cxnSpMkLst>
            <pc:docMk/>
            <pc:sldMk cId="739512461" sldId="2147473133"/>
            <ac:cxnSpMk id="22" creationId="{1463429E-8AB5-F800-C941-7CC9E7936ADA}"/>
          </ac:cxnSpMkLst>
        </pc:cxnChg>
      </pc:sldChg>
      <pc:sldChg chg="del">
        <pc:chgData name="Arav Barot" userId="2aabccd7-f410-4c9c-8764-2e3ea0dd7040" providerId="ADAL" clId="{6545EF83-34ED-4EBF-8118-20E7C988DC66}" dt="2023-10-26T19:24:08.438" v="3" actId="47"/>
        <pc:sldMkLst>
          <pc:docMk/>
          <pc:sldMk cId="3736348142" sldId="2147473133"/>
        </pc:sldMkLst>
      </pc:sldChg>
      <pc:sldChg chg="del">
        <pc:chgData name="Arav Barot" userId="2aabccd7-f410-4c9c-8764-2e3ea0dd7040" providerId="ADAL" clId="{6545EF83-34ED-4EBF-8118-20E7C988DC66}" dt="2023-10-26T19:24:09.381" v="5" actId="47"/>
        <pc:sldMkLst>
          <pc:docMk/>
          <pc:sldMk cId="991905134" sldId="2147473134"/>
        </pc:sldMkLst>
      </pc:sldChg>
      <pc:sldChg chg="addSp delSp modSp new mod ord">
        <pc:chgData name="Arav Barot" userId="2aabccd7-f410-4c9c-8764-2e3ea0dd7040" providerId="ADAL" clId="{6545EF83-34ED-4EBF-8118-20E7C988DC66}" dt="2023-11-03T21:10:54.113" v="23648" actId="14100"/>
        <pc:sldMkLst>
          <pc:docMk/>
          <pc:sldMk cId="2727372363" sldId="2147473134"/>
        </pc:sldMkLst>
        <pc:spChg chg="mod">
          <ac:chgData name="Arav Barot" userId="2aabccd7-f410-4c9c-8764-2e3ea0dd7040" providerId="ADAL" clId="{6545EF83-34ED-4EBF-8118-20E7C988DC66}" dt="2023-11-03T20:56:39.836" v="23254" actId="20577"/>
          <ac:spMkLst>
            <pc:docMk/>
            <pc:sldMk cId="2727372363" sldId="2147473134"/>
            <ac:spMk id="2" creationId="{BB3FD76B-F7A7-D8B1-5F6F-163AA4B8BC63}"/>
          </ac:spMkLst>
        </pc:spChg>
        <pc:spChg chg="mod">
          <ac:chgData name="Arav Barot" userId="2aabccd7-f410-4c9c-8764-2e3ea0dd7040" providerId="ADAL" clId="{6545EF83-34ED-4EBF-8118-20E7C988DC66}" dt="2023-11-03T20:56:59.463" v="23296" actId="20577"/>
          <ac:spMkLst>
            <pc:docMk/>
            <pc:sldMk cId="2727372363" sldId="2147473134"/>
            <ac:spMk id="3" creationId="{7309437C-1067-1210-8B91-2F3E51E83C51}"/>
          </ac:spMkLst>
        </pc:spChg>
        <pc:spChg chg="add del mod">
          <ac:chgData name="Arav Barot" userId="2aabccd7-f410-4c9c-8764-2e3ea0dd7040" providerId="ADAL" clId="{6545EF83-34ED-4EBF-8118-20E7C988DC66}" dt="2023-11-03T20:57:45.874" v="23353"/>
          <ac:spMkLst>
            <pc:docMk/>
            <pc:sldMk cId="2727372363" sldId="2147473134"/>
            <ac:spMk id="7" creationId="{5F04C2A0-553F-A694-2FB0-B1FAB3359C3B}"/>
          </ac:spMkLst>
        </pc:spChg>
        <pc:spChg chg="add del mod">
          <ac:chgData name="Arav Barot" userId="2aabccd7-f410-4c9c-8764-2e3ea0dd7040" providerId="ADAL" clId="{6545EF83-34ED-4EBF-8118-20E7C988DC66}" dt="2023-10-30T10:18:49.722" v="7554" actId="21"/>
          <ac:spMkLst>
            <pc:docMk/>
            <pc:sldMk cId="2727372363" sldId="2147473134"/>
            <ac:spMk id="8" creationId="{DC59804D-0BAE-A9A2-C827-16F2505D9E9C}"/>
          </ac:spMkLst>
        </pc:spChg>
        <pc:spChg chg="add mod">
          <ac:chgData name="Arav Barot" userId="2aabccd7-f410-4c9c-8764-2e3ea0dd7040" providerId="ADAL" clId="{6545EF83-34ED-4EBF-8118-20E7C988DC66}" dt="2023-11-03T13:41:24.708" v="14758" actId="34135"/>
          <ac:spMkLst>
            <pc:docMk/>
            <pc:sldMk cId="2727372363" sldId="2147473134"/>
            <ac:spMk id="8" creationId="{F8280C97-D255-068B-CC55-60459473BB39}"/>
          </ac:spMkLst>
        </pc:spChg>
        <pc:spChg chg="add del mod">
          <ac:chgData name="Arav Barot" userId="2aabccd7-f410-4c9c-8764-2e3ea0dd7040" providerId="ADAL" clId="{6545EF83-34ED-4EBF-8118-20E7C988DC66}" dt="2023-10-30T10:18:49.722" v="7554" actId="21"/>
          <ac:spMkLst>
            <pc:docMk/>
            <pc:sldMk cId="2727372363" sldId="2147473134"/>
            <ac:spMk id="9" creationId="{69914B4A-4404-6A03-B50B-186C6552463F}"/>
          </ac:spMkLst>
        </pc:spChg>
        <pc:spChg chg="add del mod">
          <ac:chgData name="Arav Barot" userId="2aabccd7-f410-4c9c-8764-2e3ea0dd7040" providerId="ADAL" clId="{6545EF83-34ED-4EBF-8118-20E7C988DC66}" dt="2023-10-30T10:11:05.055" v="7223" actId="478"/>
          <ac:spMkLst>
            <pc:docMk/>
            <pc:sldMk cId="2727372363" sldId="2147473134"/>
            <ac:spMk id="10" creationId="{640E60F0-9829-1355-CD28-153BCB2D96B8}"/>
          </ac:spMkLst>
        </pc:spChg>
        <pc:spChg chg="mod">
          <ac:chgData name="Arav Barot" userId="2aabccd7-f410-4c9c-8764-2e3ea0dd7040" providerId="ADAL" clId="{6545EF83-34ED-4EBF-8118-20E7C988DC66}" dt="2023-11-03T21:06:30.144" v="23437" actId="20577"/>
          <ac:spMkLst>
            <pc:docMk/>
            <pc:sldMk cId="2727372363" sldId="2147473134"/>
            <ac:spMk id="10" creationId="{FC4479F1-3AF3-9F46-5BE1-AB72D96A9C56}"/>
          </ac:spMkLst>
        </pc:spChg>
        <pc:spChg chg="add del mod">
          <ac:chgData name="Arav Barot" userId="2aabccd7-f410-4c9c-8764-2e3ea0dd7040" providerId="ADAL" clId="{6545EF83-34ED-4EBF-8118-20E7C988DC66}" dt="2023-10-30T10:11:24.333" v="7228" actId="478"/>
          <ac:spMkLst>
            <pc:docMk/>
            <pc:sldMk cId="2727372363" sldId="2147473134"/>
            <ac:spMk id="11" creationId="{734B1C5C-E8FD-20D6-2163-23085A18D63B}"/>
          </ac:spMkLst>
        </pc:spChg>
        <pc:spChg chg="mod">
          <ac:chgData name="Arav Barot" userId="2aabccd7-f410-4c9c-8764-2e3ea0dd7040" providerId="ADAL" clId="{6545EF83-34ED-4EBF-8118-20E7C988DC66}" dt="2023-11-03T21:05:44.890" v="23425" actId="20577"/>
          <ac:spMkLst>
            <pc:docMk/>
            <pc:sldMk cId="2727372363" sldId="2147473134"/>
            <ac:spMk id="11" creationId="{A1F5E5FF-3BA9-356C-F041-4EFD4B8113F1}"/>
          </ac:spMkLst>
        </pc:spChg>
        <pc:spChg chg="mod">
          <ac:chgData name="Arav Barot" userId="2aabccd7-f410-4c9c-8764-2e3ea0dd7040" providerId="ADAL" clId="{6545EF83-34ED-4EBF-8118-20E7C988DC66}" dt="2023-11-03T21:03:46.488" v="23390"/>
          <ac:spMkLst>
            <pc:docMk/>
            <pc:sldMk cId="2727372363" sldId="2147473134"/>
            <ac:spMk id="14" creationId="{6A477C24-A035-5D4E-F7F5-919CFF57B0E4}"/>
          </ac:spMkLst>
        </pc:spChg>
        <pc:spChg chg="mod">
          <ac:chgData name="Arav Barot" userId="2aabccd7-f410-4c9c-8764-2e3ea0dd7040" providerId="ADAL" clId="{6545EF83-34ED-4EBF-8118-20E7C988DC66}" dt="2023-11-03T21:03:46.488" v="23390"/>
          <ac:spMkLst>
            <pc:docMk/>
            <pc:sldMk cId="2727372363" sldId="2147473134"/>
            <ac:spMk id="15" creationId="{21432E63-F255-1076-A2BE-BEE1A5A4DD69}"/>
          </ac:spMkLst>
        </pc:spChg>
        <pc:grpChg chg="add mod">
          <ac:chgData name="Arav Barot" userId="2aabccd7-f410-4c9c-8764-2e3ea0dd7040" providerId="ADAL" clId="{6545EF83-34ED-4EBF-8118-20E7C988DC66}" dt="2023-11-03T21:07:19.568" v="23446" actId="1076"/>
          <ac:grpSpMkLst>
            <pc:docMk/>
            <pc:sldMk cId="2727372363" sldId="2147473134"/>
            <ac:grpSpMk id="9" creationId="{A6B74F55-CEF0-B4E0-A037-090DC073BF73}"/>
          </ac:grpSpMkLst>
        </pc:grpChg>
        <pc:grpChg chg="add mod">
          <ac:chgData name="Arav Barot" userId="2aabccd7-f410-4c9c-8764-2e3ea0dd7040" providerId="ADAL" clId="{6545EF83-34ED-4EBF-8118-20E7C988DC66}" dt="2023-11-03T21:07:14.687" v="23445" actId="1076"/>
          <ac:grpSpMkLst>
            <pc:docMk/>
            <pc:sldMk cId="2727372363" sldId="2147473134"/>
            <ac:grpSpMk id="13" creationId="{E7605C08-CEFB-BDF7-B8BB-75DCBFF2C336}"/>
          </ac:grpSpMkLst>
        </pc:grpChg>
        <pc:graphicFrameChg chg="add mod modGraphic">
          <ac:chgData name="Arav Barot" userId="2aabccd7-f410-4c9c-8764-2e3ea0dd7040" providerId="ADAL" clId="{6545EF83-34ED-4EBF-8118-20E7C988DC66}" dt="2023-11-03T21:10:31.634" v="23645" actId="14100"/>
          <ac:graphicFrameMkLst>
            <pc:docMk/>
            <pc:sldMk cId="2727372363" sldId="2147473134"/>
            <ac:graphicFrameMk id="12" creationId="{E8BF6CCB-74BA-F86E-4903-69EE93231399}"/>
          </ac:graphicFrameMkLst>
        </pc:graphicFrameChg>
        <pc:graphicFrameChg chg="add del mod modGraphic">
          <ac:chgData name="Arav Barot" userId="2aabccd7-f410-4c9c-8764-2e3ea0dd7040" providerId="ADAL" clId="{6545EF83-34ED-4EBF-8118-20E7C988DC66}" dt="2023-10-30T10:18:49.722" v="7554" actId="21"/>
          <ac:graphicFrameMkLst>
            <pc:docMk/>
            <pc:sldMk cId="2727372363" sldId="2147473134"/>
            <ac:graphicFrameMk id="13" creationId="{864D4F18-814B-F443-687B-6BC6C36B9683}"/>
          </ac:graphicFrameMkLst>
        </pc:graphicFrameChg>
        <pc:graphicFrameChg chg="add del modGraphic">
          <ac:chgData name="Arav Barot" userId="2aabccd7-f410-4c9c-8764-2e3ea0dd7040" providerId="ADAL" clId="{6545EF83-34ED-4EBF-8118-20E7C988DC66}" dt="2023-10-30T10:20:13.559" v="7570" actId="27309"/>
          <ac:graphicFrameMkLst>
            <pc:docMk/>
            <pc:sldMk cId="2727372363" sldId="2147473134"/>
            <ac:graphicFrameMk id="15" creationId="{6548752B-3E87-6C9F-F168-9EC49D437764}"/>
          </ac:graphicFrameMkLst>
        </pc:graphicFrameChg>
        <pc:graphicFrameChg chg="add mod modGraphic">
          <ac:chgData name="Arav Barot" userId="2aabccd7-f410-4c9c-8764-2e3ea0dd7040" providerId="ADAL" clId="{6545EF83-34ED-4EBF-8118-20E7C988DC66}" dt="2023-11-03T21:10:04.807" v="23642" actId="20577"/>
          <ac:graphicFrameMkLst>
            <pc:docMk/>
            <pc:sldMk cId="2727372363" sldId="2147473134"/>
            <ac:graphicFrameMk id="17" creationId="{A0549AD5-FE22-2BC8-6409-70E82F2C46FC}"/>
          </ac:graphicFrameMkLst>
        </pc:graphicFrameChg>
        <pc:picChg chg="add del mod">
          <ac:chgData name="Arav Barot" userId="2aabccd7-f410-4c9c-8764-2e3ea0dd7040" providerId="ADAL" clId="{6545EF83-34ED-4EBF-8118-20E7C988DC66}" dt="2023-11-03T20:59:27.303" v="23369" actId="478"/>
          <ac:picMkLst>
            <pc:docMk/>
            <pc:sldMk cId="2727372363" sldId="2147473134"/>
            <ac:picMk id="16" creationId="{033258EE-0A87-2733-3679-1F241407E6DE}"/>
          </ac:picMkLst>
        </pc:picChg>
        <pc:cxnChg chg="add mod">
          <ac:chgData name="Arav Barot" userId="2aabccd7-f410-4c9c-8764-2e3ea0dd7040" providerId="ADAL" clId="{6545EF83-34ED-4EBF-8118-20E7C988DC66}" dt="2023-11-03T21:10:54.113" v="23648" actId="14100"/>
          <ac:cxnSpMkLst>
            <pc:docMk/>
            <pc:sldMk cId="2727372363" sldId="2147473134"/>
            <ac:cxnSpMk id="19" creationId="{EEEBCAAB-6ADE-CA11-717E-80A3CAF83FD7}"/>
          </ac:cxnSpMkLst>
        </pc:cxnChg>
      </pc:sldChg>
      <pc:sldChg chg="del">
        <pc:chgData name="Arav Barot" userId="2aabccd7-f410-4c9c-8764-2e3ea0dd7040" providerId="ADAL" clId="{6545EF83-34ED-4EBF-8118-20E7C988DC66}" dt="2023-10-26T19:24:10.015" v="7" actId="47"/>
        <pc:sldMkLst>
          <pc:docMk/>
          <pc:sldMk cId="1008462687" sldId="2147473135"/>
        </pc:sldMkLst>
      </pc:sldChg>
      <pc:sldChg chg="addSp delSp modSp new mod ord">
        <pc:chgData name="Arav Barot" userId="2aabccd7-f410-4c9c-8764-2e3ea0dd7040" providerId="ADAL" clId="{6545EF83-34ED-4EBF-8118-20E7C988DC66}" dt="2023-11-03T21:26:03.591" v="23781" actId="21"/>
        <pc:sldMkLst>
          <pc:docMk/>
          <pc:sldMk cId="2338084468" sldId="2147473135"/>
        </pc:sldMkLst>
        <pc:spChg chg="mod">
          <ac:chgData name="Arav Barot" userId="2aabccd7-f410-4c9c-8764-2e3ea0dd7040" providerId="ADAL" clId="{6545EF83-34ED-4EBF-8118-20E7C988DC66}" dt="2023-11-03T20:56:30.532" v="23240" actId="20577"/>
          <ac:spMkLst>
            <pc:docMk/>
            <pc:sldMk cId="2338084468" sldId="2147473135"/>
            <ac:spMk id="2" creationId="{E88260C4-2F4C-7C2C-98C6-EDE0A0F7FCBF}"/>
          </ac:spMkLst>
        </pc:spChg>
        <pc:spChg chg="mod">
          <ac:chgData name="Arav Barot" userId="2aabccd7-f410-4c9c-8764-2e3ea0dd7040" providerId="ADAL" clId="{6545EF83-34ED-4EBF-8118-20E7C988DC66}" dt="2023-11-03T21:15:56.861" v="23667" actId="20577"/>
          <ac:spMkLst>
            <pc:docMk/>
            <pc:sldMk cId="2338084468" sldId="2147473135"/>
            <ac:spMk id="3" creationId="{14902A78-B7A5-1BF0-E487-B4F9E055758E}"/>
          </ac:spMkLst>
        </pc:spChg>
        <pc:spChg chg="add del mod">
          <ac:chgData name="Arav Barot" userId="2aabccd7-f410-4c9c-8764-2e3ea0dd7040" providerId="ADAL" clId="{6545EF83-34ED-4EBF-8118-20E7C988DC66}" dt="2023-10-30T09:22:41.358" v="4333"/>
          <ac:spMkLst>
            <pc:docMk/>
            <pc:sldMk cId="2338084468" sldId="2147473135"/>
            <ac:spMk id="7" creationId="{108319DF-E9B4-E204-F3C6-E27579509010}"/>
          </ac:spMkLst>
        </pc:spChg>
        <pc:spChg chg="add mod">
          <ac:chgData name="Arav Barot" userId="2aabccd7-f410-4c9c-8764-2e3ea0dd7040" providerId="ADAL" clId="{6545EF83-34ED-4EBF-8118-20E7C988DC66}" dt="2023-11-03T13:40:33.611" v="14753"/>
          <ac:spMkLst>
            <pc:docMk/>
            <pc:sldMk cId="2338084468" sldId="2147473135"/>
            <ac:spMk id="7" creationId="{7C582960-9F39-F401-3F3C-8125FB73CEAD}"/>
          </ac:spMkLst>
        </pc:spChg>
        <pc:spChg chg="add del mod">
          <ac:chgData name="Arav Barot" userId="2aabccd7-f410-4c9c-8764-2e3ea0dd7040" providerId="ADAL" clId="{6545EF83-34ED-4EBF-8118-20E7C988DC66}" dt="2023-11-03T20:46:30.343" v="23110" actId="478"/>
          <ac:spMkLst>
            <pc:docMk/>
            <pc:sldMk cId="2338084468" sldId="2147473135"/>
            <ac:spMk id="8" creationId="{BF0719DC-DDB4-FABC-E984-1FDB58286240}"/>
          </ac:spMkLst>
        </pc:spChg>
        <pc:spChg chg="add del mod">
          <ac:chgData name="Arav Barot" userId="2aabccd7-f410-4c9c-8764-2e3ea0dd7040" providerId="ADAL" clId="{6545EF83-34ED-4EBF-8118-20E7C988DC66}" dt="2023-11-03T20:46:04.838" v="23099"/>
          <ac:spMkLst>
            <pc:docMk/>
            <pc:sldMk cId="2338084468" sldId="2147473135"/>
            <ac:spMk id="9" creationId="{B6BBF4F4-B215-55DB-E5C0-AF78BDB5FA3F}"/>
          </ac:spMkLst>
        </pc:spChg>
        <pc:spChg chg="add del mod">
          <ac:chgData name="Arav Barot" userId="2aabccd7-f410-4c9c-8764-2e3ea0dd7040" providerId="ADAL" clId="{6545EF83-34ED-4EBF-8118-20E7C988DC66}" dt="2023-11-03T20:46:56.483" v="23122"/>
          <ac:spMkLst>
            <pc:docMk/>
            <pc:sldMk cId="2338084468" sldId="2147473135"/>
            <ac:spMk id="10" creationId="{678BC320-5428-680B-3E03-AAD764D0A139}"/>
          </ac:spMkLst>
        </pc:spChg>
        <pc:spChg chg="add del mod">
          <ac:chgData name="Arav Barot" userId="2aabccd7-f410-4c9c-8764-2e3ea0dd7040" providerId="ADAL" clId="{6545EF83-34ED-4EBF-8118-20E7C988DC66}" dt="2023-11-03T20:49:21.527" v="23147"/>
          <ac:spMkLst>
            <pc:docMk/>
            <pc:sldMk cId="2338084468" sldId="2147473135"/>
            <ac:spMk id="11" creationId="{8D81E567-91C5-CF1C-240A-B58EDC0EBCF0}"/>
          </ac:spMkLst>
        </pc:spChg>
        <pc:spChg chg="add mod">
          <ac:chgData name="Arav Barot" userId="2aabccd7-f410-4c9c-8764-2e3ea0dd7040" providerId="ADAL" clId="{6545EF83-34ED-4EBF-8118-20E7C988DC66}" dt="2023-11-03T20:55:37.648" v="23207" actId="1076"/>
          <ac:spMkLst>
            <pc:docMk/>
            <pc:sldMk cId="2338084468" sldId="2147473135"/>
            <ac:spMk id="15" creationId="{B5ACB69E-A5BB-3D80-94C7-FA99B2374613}"/>
          </ac:spMkLst>
        </pc:spChg>
        <pc:spChg chg="add del">
          <ac:chgData name="Arav Barot" userId="2aabccd7-f410-4c9c-8764-2e3ea0dd7040" providerId="ADAL" clId="{6545EF83-34ED-4EBF-8118-20E7C988DC66}" dt="2023-11-03T20:46:07.248" v="23101" actId="22"/>
          <ac:spMkLst>
            <pc:docMk/>
            <pc:sldMk cId="2338084468" sldId="2147473135"/>
            <ac:spMk id="17" creationId="{821D0F3E-3F6B-1B17-5275-E26F2E2F32C8}"/>
          </ac:spMkLst>
        </pc:spChg>
        <pc:spChg chg="add mod">
          <ac:chgData name="Arav Barot" userId="2aabccd7-f410-4c9c-8764-2e3ea0dd7040" providerId="ADAL" clId="{6545EF83-34ED-4EBF-8118-20E7C988DC66}" dt="2023-11-03T20:55:41.267" v="23208" actId="1076"/>
          <ac:spMkLst>
            <pc:docMk/>
            <pc:sldMk cId="2338084468" sldId="2147473135"/>
            <ac:spMk id="18" creationId="{202C0792-1066-4696-ECD0-789DA57746C6}"/>
          </ac:spMkLst>
        </pc:spChg>
        <pc:spChg chg="add del mod">
          <ac:chgData name="Arav Barot" userId="2aabccd7-f410-4c9c-8764-2e3ea0dd7040" providerId="ADAL" clId="{6545EF83-34ED-4EBF-8118-20E7C988DC66}" dt="2023-10-30T09:25:11.198" v="4637"/>
          <ac:spMkLst>
            <pc:docMk/>
            <pc:sldMk cId="2338084468" sldId="2147473135"/>
            <ac:spMk id="20" creationId="{91F2C59C-A3D6-5A4D-C9B3-C0C5F92E65A1}"/>
          </ac:spMkLst>
        </pc:spChg>
        <pc:spChg chg="add del mod">
          <ac:chgData name="Arav Barot" userId="2aabccd7-f410-4c9c-8764-2e3ea0dd7040" providerId="ADAL" clId="{6545EF83-34ED-4EBF-8118-20E7C988DC66}" dt="2023-10-30T09:25:11.198" v="4637"/>
          <ac:spMkLst>
            <pc:docMk/>
            <pc:sldMk cId="2338084468" sldId="2147473135"/>
            <ac:spMk id="21" creationId="{5557EDD8-0247-43B2-A280-859B232F2AA0}"/>
          </ac:spMkLst>
        </pc:spChg>
        <pc:spChg chg="add del mod">
          <ac:chgData name="Arav Barot" userId="2aabccd7-f410-4c9c-8764-2e3ea0dd7040" providerId="ADAL" clId="{6545EF83-34ED-4EBF-8118-20E7C988DC66}" dt="2023-10-30T09:25:11.198" v="4637"/>
          <ac:spMkLst>
            <pc:docMk/>
            <pc:sldMk cId="2338084468" sldId="2147473135"/>
            <ac:spMk id="22" creationId="{94A4C0F7-E0EA-6977-D634-663D3E3A5895}"/>
          </ac:spMkLst>
        </pc:spChg>
        <pc:spChg chg="add del mod">
          <ac:chgData name="Arav Barot" userId="2aabccd7-f410-4c9c-8764-2e3ea0dd7040" providerId="ADAL" clId="{6545EF83-34ED-4EBF-8118-20E7C988DC66}" dt="2023-10-30T09:25:11.198" v="4637"/>
          <ac:spMkLst>
            <pc:docMk/>
            <pc:sldMk cId="2338084468" sldId="2147473135"/>
            <ac:spMk id="23" creationId="{5BB85D2F-2A12-A792-A620-CF711FEF955A}"/>
          </ac:spMkLst>
        </pc:spChg>
        <pc:spChg chg="add mod">
          <ac:chgData name="Arav Barot" userId="2aabccd7-f410-4c9c-8764-2e3ea0dd7040" providerId="ADAL" clId="{6545EF83-34ED-4EBF-8118-20E7C988DC66}" dt="2023-11-03T20:55:48.191" v="23209" actId="1076"/>
          <ac:spMkLst>
            <pc:docMk/>
            <pc:sldMk cId="2338084468" sldId="2147473135"/>
            <ac:spMk id="23" creationId="{E7BE83BF-1C07-24B0-9DB2-29E9453A0317}"/>
          </ac:spMkLst>
        </pc:spChg>
        <pc:spChg chg="add mod">
          <ac:chgData name="Arav Barot" userId="2aabccd7-f410-4c9c-8764-2e3ea0dd7040" providerId="ADAL" clId="{6545EF83-34ED-4EBF-8118-20E7C988DC66}" dt="2023-11-03T20:53:53.364" v="23194" actId="1076"/>
          <ac:spMkLst>
            <pc:docMk/>
            <pc:sldMk cId="2338084468" sldId="2147473135"/>
            <ac:spMk id="24" creationId="{1D6A10BC-B66A-649A-9A22-61DA7736095F}"/>
          </ac:spMkLst>
        </pc:spChg>
        <pc:spChg chg="add del mod">
          <ac:chgData name="Arav Barot" userId="2aabccd7-f410-4c9c-8764-2e3ea0dd7040" providerId="ADAL" clId="{6545EF83-34ED-4EBF-8118-20E7C988DC66}" dt="2023-11-03T20:50:58.338" v="23159"/>
          <ac:spMkLst>
            <pc:docMk/>
            <pc:sldMk cId="2338084468" sldId="2147473135"/>
            <ac:spMk id="27" creationId="{BDD8935E-EF42-79CB-69FE-04A55737A004}"/>
          </ac:spMkLst>
        </pc:spChg>
        <pc:spChg chg="add mod">
          <ac:chgData name="Arav Barot" userId="2aabccd7-f410-4c9c-8764-2e3ea0dd7040" providerId="ADAL" clId="{6545EF83-34ED-4EBF-8118-20E7C988DC66}" dt="2023-11-03T20:55:52.649" v="23210" actId="1076"/>
          <ac:spMkLst>
            <pc:docMk/>
            <pc:sldMk cId="2338084468" sldId="2147473135"/>
            <ac:spMk id="35" creationId="{8E524307-1B6E-8EE2-A386-B7CC981C7F37}"/>
          </ac:spMkLst>
        </pc:spChg>
        <pc:spChg chg="add del mod ord">
          <ac:chgData name="Arav Barot" userId="2aabccd7-f410-4c9c-8764-2e3ea0dd7040" providerId="ADAL" clId="{6545EF83-34ED-4EBF-8118-20E7C988DC66}" dt="2023-11-03T21:26:03.591" v="23781" actId="21"/>
          <ac:spMkLst>
            <pc:docMk/>
            <pc:sldMk cId="2338084468" sldId="2147473135"/>
            <ac:spMk id="98" creationId="{D781EEC7-B8E1-2EC3-9D7C-28BCC546C17D}"/>
          </ac:spMkLst>
        </pc:spChg>
        <pc:cxnChg chg="add mod">
          <ac:chgData name="Arav Barot" userId="2aabccd7-f410-4c9c-8764-2e3ea0dd7040" providerId="ADAL" clId="{6545EF83-34ED-4EBF-8118-20E7C988DC66}" dt="2023-11-03T20:55:41.267" v="23208" actId="1076"/>
          <ac:cxnSpMkLst>
            <pc:docMk/>
            <pc:sldMk cId="2338084468" sldId="2147473135"/>
            <ac:cxnSpMk id="12" creationId="{B53A0C41-20F7-D2AB-9407-5F7C19B242D0}"/>
          </ac:cxnSpMkLst>
        </pc:cxnChg>
        <pc:cxnChg chg="add mod">
          <ac:chgData name="Arav Barot" userId="2aabccd7-f410-4c9c-8764-2e3ea0dd7040" providerId="ADAL" clId="{6545EF83-34ED-4EBF-8118-20E7C988DC66}" dt="2023-11-03T20:55:48.191" v="23209" actId="1076"/>
          <ac:cxnSpMkLst>
            <pc:docMk/>
            <pc:sldMk cId="2338084468" sldId="2147473135"/>
            <ac:cxnSpMk id="13" creationId="{5004BF0E-E521-43D9-1CB0-562101BC8E4D}"/>
          </ac:cxnSpMkLst>
        </pc:cxnChg>
        <pc:cxnChg chg="add mod">
          <ac:chgData name="Arav Barot" userId="2aabccd7-f410-4c9c-8764-2e3ea0dd7040" providerId="ADAL" clId="{6545EF83-34ED-4EBF-8118-20E7C988DC66}" dt="2023-11-03T20:55:48.191" v="23209" actId="1076"/>
          <ac:cxnSpMkLst>
            <pc:docMk/>
            <pc:sldMk cId="2338084468" sldId="2147473135"/>
            <ac:cxnSpMk id="14" creationId="{7E0A99D4-A58D-ECE1-A630-3ECB754205AD}"/>
          </ac:cxnSpMkLst>
        </pc:cxnChg>
        <pc:cxnChg chg="add del mod">
          <ac:chgData name="Arav Barot" userId="2aabccd7-f410-4c9c-8764-2e3ea0dd7040" providerId="ADAL" clId="{6545EF83-34ED-4EBF-8118-20E7C988DC66}" dt="2023-10-30T09:25:11.198" v="4637"/>
          <ac:cxnSpMkLst>
            <pc:docMk/>
            <pc:sldMk cId="2338084468" sldId="2147473135"/>
            <ac:cxnSpMk id="24" creationId="{34EAD0C0-BD15-F2E7-E625-002F19936554}"/>
          </ac:cxnSpMkLst>
        </pc:cxnChg>
        <pc:cxnChg chg="add del mod">
          <ac:chgData name="Arav Barot" userId="2aabccd7-f410-4c9c-8764-2e3ea0dd7040" providerId="ADAL" clId="{6545EF83-34ED-4EBF-8118-20E7C988DC66}" dt="2023-10-30T09:25:11.198" v="4637"/>
          <ac:cxnSpMkLst>
            <pc:docMk/>
            <pc:sldMk cId="2338084468" sldId="2147473135"/>
            <ac:cxnSpMk id="25" creationId="{AB790AD7-D936-F8B0-F995-08463CB695E9}"/>
          </ac:cxnSpMkLst>
        </pc:cxnChg>
        <pc:cxnChg chg="add del mod">
          <ac:chgData name="Arav Barot" userId="2aabccd7-f410-4c9c-8764-2e3ea0dd7040" providerId="ADAL" clId="{6545EF83-34ED-4EBF-8118-20E7C988DC66}" dt="2023-10-30T09:25:11.198" v="4637"/>
          <ac:cxnSpMkLst>
            <pc:docMk/>
            <pc:sldMk cId="2338084468" sldId="2147473135"/>
            <ac:cxnSpMk id="26" creationId="{F53CF960-0803-BB13-4029-D14D9C2AD3C8}"/>
          </ac:cxnSpMkLst>
        </pc:cxnChg>
        <pc:cxnChg chg="add mod">
          <ac:chgData name="Arav Barot" userId="2aabccd7-f410-4c9c-8764-2e3ea0dd7040" providerId="ADAL" clId="{6545EF83-34ED-4EBF-8118-20E7C988DC66}" dt="2023-11-03T20:55:52.649" v="23210" actId="1076"/>
          <ac:cxnSpMkLst>
            <pc:docMk/>
            <pc:sldMk cId="2338084468" sldId="2147473135"/>
            <ac:cxnSpMk id="28" creationId="{B7222627-3341-9AFC-9366-C85D1F2641C2}"/>
          </ac:cxnSpMkLst>
        </pc:cxnChg>
        <pc:cxnChg chg="add mod">
          <ac:chgData name="Arav Barot" userId="2aabccd7-f410-4c9c-8764-2e3ea0dd7040" providerId="ADAL" clId="{6545EF83-34ED-4EBF-8118-20E7C988DC66}" dt="2023-11-03T20:55:52.649" v="23210" actId="1076"/>
          <ac:cxnSpMkLst>
            <pc:docMk/>
            <pc:sldMk cId="2338084468" sldId="2147473135"/>
            <ac:cxnSpMk id="33" creationId="{80E935FE-0893-FD3F-C04E-588363C3BE84}"/>
          </ac:cxnSpMkLst>
        </pc:cxnChg>
      </pc:sldChg>
      <pc:sldChg chg="modSp new del mod">
        <pc:chgData name="Arav Barot" userId="2aabccd7-f410-4c9c-8764-2e3ea0dd7040" providerId="ADAL" clId="{6545EF83-34ED-4EBF-8118-20E7C988DC66}" dt="2023-11-04T12:51:57.297" v="24018" actId="47"/>
        <pc:sldMkLst>
          <pc:docMk/>
          <pc:sldMk cId="2640599670" sldId="2147473136"/>
        </pc:sldMkLst>
        <pc:spChg chg="mod">
          <ac:chgData name="Arav Barot" userId="2aabccd7-f410-4c9c-8764-2e3ea0dd7040" providerId="ADAL" clId="{6545EF83-34ED-4EBF-8118-20E7C988DC66}" dt="2023-11-03T13:36:21.554" v="14714"/>
          <ac:spMkLst>
            <pc:docMk/>
            <pc:sldMk cId="2640599670" sldId="2147473136"/>
            <ac:spMk id="3" creationId="{E66217AC-0BAF-D0F3-81D7-50F4E84E0462}"/>
          </ac:spMkLst>
        </pc:spChg>
      </pc:sldChg>
      <pc:sldChg chg="del">
        <pc:chgData name="Arav Barot" userId="2aabccd7-f410-4c9c-8764-2e3ea0dd7040" providerId="ADAL" clId="{6545EF83-34ED-4EBF-8118-20E7C988DC66}" dt="2023-10-26T19:24:10.307" v="8" actId="47"/>
        <pc:sldMkLst>
          <pc:docMk/>
          <pc:sldMk cId="2655572524" sldId="2147473136"/>
        </pc:sldMkLst>
      </pc:sldChg>
      <pc:sldChg chg="del">
        <pc:chgData name="Arav Barot" userId="2aabccd7-f410-4c9c-8764-2e3ea0dd7040" providerId="ADAL" clId="{6545EF83-34ED-4EBF-8118-20E7C988DC66}" dt="2023-10-26T19:24:11.393" v="9" actId="47"/>
        <pc:sldMkLst>
          <pc:docMk/>
          <pc:sldMk cId="1832206218" sldId="2147473137"/>
        </pc:sldMkLst>
      </pc:sldChg>
      <pc:sldChg chg="addSp modSp new mod">
        <pc:chgData name="Arav Barot" userId="2aabccd7-f410-4c9c-8764-2e3ea0dd7040" providerId="ADAL" clId="{6545EF83-34ED-4EBF-8118-20E7C988DC66}" dt="2023-11-03T13:36:21.554" v="14714"/>
        <pc:sldMkLst>
          <pc:docMk/>
          <pc:sldMk cId="3896115294" sldId="2147473137"/>
        </pc:sldMkLst>
        <pc:spChg chg="mod">
          <ac:chgData name="Arav Barot" userId="2aabccd7-f410-4c9c-8764-2e3ea0dd7040" providerId="ADAL" clId="{6545EF83-34ED-4EBF-8118-20E7C988DC66}" dt="2023-10-30T09:33:30.797" v="4973" actId="20577"/>
          <ac:spMkLst>
            <pc:docMk/>
            <pc:sldMk cId="3896115294" sldId="2147473137"/>
            <ac:spMk id="3" creationId="{E552DD42-5C1C-8EE3-B9CA-7216C296EABC}"/>
          </ac:spMkLst>
        </pc:spChg>
        <pc:spChg chg="add mod">
          <ac:chgData name="Arav Barot" userId="2aabccd7-f410-4c9c-8764-2e3ea0dd7040" providerId="ADAL" clId="{6545EF83-34ED-4EBF-8118-20E7C988DC66}" dt="2023-11-03T13:36:21.554" v="14714"/>
          <ac:spMkLst>
            <pc:docMk/>
            <pc:sldMk cId="3896115294" sldId="2147473137"/>
            <ac:spMk id="8" creationId="{0E6A70D3-3927-06D2-0512-BDC5418D1C6B}"/>
          </ac:spMkLst>
        </pc:spChg>
        <pc:spChg chg="add mod">
          <ac:chgData name="Arav Barot" userId="2aabccd7-f410-4c9c-8764-2e3ea0dd7040" providerId="ADAL" clId="{6545EF83-34ED-4EBF-8118-20E7C988DC66}" dt="2023-11-03T13:36:21.554" v="14714"/>
          <ac:spMkLst>
            <pc:docMk/>
            <pc:sldMk cId="3896115294" sldId="2147473137"/>
            <ac:spMk id="9" creationId="{C42656BA-7BE9-9E52-74D9-C15A1B44EB6D}"/>
          </ac:spMkLst>
        </pc:spChg>
        <pc:spChg chg="add mod">
          <ac:chgData name="Arav Barot" userId="2aabccd7-f410-4c9c-8764-2e3ea0dd7040" providerId="ADAL" clId="{6545EF83-34ED-4EBF-8118-20E7C988DC66}" dt="2023-11-03T13:36:21.554" v="14714"/>
          <ac:spMkLst>
            <pc:docMk/>
            <pc:sldMk cId="3896115294" sldId="2147473137"/>
            <ac:spMk id="11" creationId="{8D6E843E-A5B5-BBC1-141D-2DF6D4B0FD5A}"/>
          </ac:spMkLst>
        </pc:spChg>
        <pc:spChg chg="add mod">
          <ac:chgData name="Arav Barot" userId="2aabccd7-f410-4c9c-8764-2e3ea0dd7040" providerId="ADAL" clId="{6545EF83-34ED-4EBF-8118-20E7C988DC66}" dt="2023-11-03T13:36:21.554" v="14714"/>
          <ac:spMkLst>
            <pc:docMk/>
            <pc:sldMk cId="3896115294" sldId="2147473137"/>
            <ac:spMk id="12" creationId="{16D44266-AA82-C64B-880F-9C50F7F2DC1A}"/>
          </ac:spMkLst>
        </pc:spChg>
      </pc:sldChg>
      <pc:sldChg chg="addSp modSp new mod">
        <pc:chgData name="Arav Barot" userId="2aabccd7-f410-4c9c-8764-2e3ea0dd7040" providerId="ADAL" clId="{6545EF83-34ED-4EBF-8118-20E7C988DC66}" dt="2023-11-03T13:36:21.554" v="14714"/>
        <pc:sldMkLst>
          <pc:docMk/>
          <pc:sldMk cId="3212157678" sldId="2147473138"/>
        </pc:sldMkLst>
        <pc:spChg chg="mod">
          <ac:chgData name="Arav Barot" userId="2aabccd7-f410-4c9c-8764-2e3ea0dd7040" providerId="ADAL" clId="{6545EF83-34ED-4EBF-8118-20E7C988DC66}" dt="2023-10-30T09:36:33.518" v="5080" actId="20577"/>
          <ac:spMkLst>
            <pc:docMk/>
            <pc:sldMk cId="3212157678" sldId="2147473138"/>
            <ac:spMk id="3" creationId="{A72975C9-D00C-1413-F88B-A5C756B1027C}"/>
          </ac:spMkLst>
        </pc:spChg>
        <pc:picChg chg="add mod">
          <ac:chgData name="Arav Barot" userId="2aabccd7-f410-4c9c-8764-2e3ea0dd7040" providerId="ADAL" clId="{6545EF83-34ED-4EBF-8118-20E7C988DC66}" dt="2023-11-03T13:36:21.554" v="14714"/>
          <ac:picMkLst>
            <pc:docMk/>
            <pc:sldMk cId="3212157678" sldId="2147473138"/>
            <ac:picMk id="8" creationId="{E0B9EBFC-8B02-2515-7370-3165412AE7A3}"/>
          </ac:picMkLst>
        </pc:picChg>
      </pc:sldChg>
      <pc:sldChg chg="addSp modSp new mod">
        <pc:chgData name="Arav Barot" userId="2aabccd7-f410-4c9c-8764-2e3ea0dd7040" providerId="ADAL" clId="{6545EF83-34ED-4EBF-8118-20E7C988DC66}" dt="2023-11-03T13:36:21.554" v="14714"/>
        <pc:sldMkLst>
          <pc:docMk/>
          <pc:sldMk cId="312222443" sldId="2147473139"/>
        </pc:sldMkLst>
        <pc:spChg chg="mod">
          <ac:chgData name="Arav Barot" userId="2aabccd7-f410-4c9c-8764-2e3ea0dd7040" providerId="ADAL" clId="{6545EF83-34ED-4EBF-8118-20E7C988DC66}" dt="2023-10-30T09:37:25.351" v="5120" actId="20577"/>
          <ac:spMkLst>
            <pc:docMk/>
            <pc:sldMk cId="312222443" sldId="2147473139"/>
            <ac:spMk id="3" creationId="{3CAE6187-1CC5-4A80-DD6F-A055741317E1}"/>
          </ac:spMkLst>
        </pc:spChg>
        <pc:spChg chg="add mod">
          <ac:chgData name="Arav Barot" userId="2aabccd7-f410-4c9c-8764-2e3ea0dd7040" providerId="ADAL" clId="{6545EF83-34ED-4EBF-8118-20E7C988DC66}" dt="2023-11-03T13:36:21.554" v="14714"/>
          <ac:spMkLst>
            <pc:docMk/>
            <pc:sldMk cId="312222443" sldId="2147473139"/>
            <ac:spMk id="8" creationId="{63E5BF9F-9423-B1D4-41B5-6E5C6B57E87A}"/>
          </ac:spMkLst>
        </pc:spChg>
        <pc:spChg chg="add mod">
          <ac:chgData name="Arav Barot" userId="2aabccd7-f410-4c9c-8764-2e3ea0dd7040" providerId="ADAL" clId="{6545EF83-34ED-4EBF-8118-20E7C988DC66}" dt="2023-11-03T13:36:21.554" v="14714"/>
          <ac:spMkLst>
            <pc:docMk/>
            <pc:sldMk cId="312222443" sldId="2147473139"/>
            <ac:spMk id="9" creationId="{14E87D87-ABB7-D44B-808F-FF5327C0743F}"/>
          </ac:spMkLst>
        </pc:spChg>
        <pc:spChg chg="add mod">
          <ac:chgData name="Arav Barot" userId="2aabccd7-f410-4c9c-8764-2e3ea0dd7040" providerId="ADAL" clId="{6545EF83-34ED-4EBF-8118-20E7C988DC66}" dt="2023-11-03T13:36:21.554" v="14714"/>
          <ac:spMkLst>
            <pc:docMk/>
            <pc:sldMk cId="312222443" sldId="2147473139"/>
            <ac:spMk id="11" creationId="{D327AADA-DD8F-8EC7-3677-762BBA8800F2}"/>
          </ac:spMkLst>
        </pc:spChg>
        <pc:spChg chg="add mod">
          <ac:chgData name="Arav Barot" userId="2aabccd7-f410-4c9c-8764-2e3ea0dd7040" providerId="ADAL" clId="{6545EF83-34ED-4EBF-8118-20E7C988DC66}" dt="2023-11-03T13:36:21.554" v="14714"/>
          <ac:spMkLst>
            <pc:docMk/>
            <pc:sldMk cId="312222443" sldId="2147473139"/>
            <ac:spMk id="12" creationId="{4E855D84-7EE1-13AC-8494-7A20026EC60D}"/>
          </ac:spMkLst>
        </pc:spChg>
      </pc:sldChg>
      <pc:sldChg chg="addSp modSp new mod">
        <pc:chgData name="Arav Barot" userId="2aabccd7-f410-4c9c-8764-2e3ea0dd7040" providerId="ADAL" clId="{6545EF83-34ED-4EBF-8118-20E7C988DC66}" dt="2023-11-03T13:36:21.554" v="14714"/>
        <pc:sldMkLst>
          <pc:docMk/>
          <pc:sldMk cId="3617700994" sldId="2147473140"/>
        </pc:sldMkLst>
        <pc:spChg chg="mod">
          <ac:chgData name="Arav Barot" userId="2aabccd7-f410-4c9c-8764-2e3ea0dd7040" providerId="ADAL" clId="{6545EF83-34ED-4EBF-8118-20E7C988DC66}" dt="2023-10-30T09:39:45.908" v="5186" actId="20577"/>
          <ac:spMkLst>
            <pc:docMk/>
            <pc:sldMk cId="3617700994" sldId="2147473140"/>
            <ac:spMk id="3" creationId="{43F9BCCF-0414-358D-A211-87841622F777}"/>
          </ac:spMkLst>
        </pc:spChg>
        <pc:spChg chg="add mod">
          <ac:chgData name="Arav Barot" userId="2aabccd7-f410-4c9c-8764-2e3ea0dd7040" providerId="ADAL" clId="{6545EF83-34ED-4EBF-8118-20E7C988DC66}" dt="2023-11-03T13:36:21.554" v="14714"/>
          <ac:spMkLst>
            <pc:docMk/>
            <pc:sldMk cId="3617700994" sldId="2147473140"/>
            <ac:spMk id="7" creationId="{51254CCE-8946-BEFE-C24C-C8D5786A1F54}"/>
          </ac:spMkLst>
        </pc:spChg>
        <pc:spChg chg="add mod">
          <ac:chgData name="Arav Barot" userId="2aabccd7-f410-4c9c-8764-2e3ea0dd7040" providerId="ADAL" clId="{6545EF83-34ED-4EBF-8118-20E7C988DC66}" dt="2023-11-03T13:36:21.554" v="14714"/>
          <ac:spMkLst>
            <pc:docMk/>
            <pc:sldMk cId="3617700994" sldId="2147473140"/>
            <ac:spMk id="9" creationId="{4CFE70F4-9216-6117-7E3F-310E38438EFA}"/>
          </ac:spMkLst>
        </pc:spChg>
        <pc:picChg chg="add mod modCrop">
          <ac:chgData name="Arav Barot" userId="2aabccd7-f410-4c9c-8764-2e3ea0dd7040" providerId="ADAL" clId="{6545EF83-34ED-4EBF-8118-20E7C988DC66}" dt="2023-11-03T13:36:21.554" v="14714"/>
          <ac:picMkLst>
            <pc:docMk/>
            <pc:sldMk cId="3617700994" sldId="2147473140"/>
            <ac:picMk id="8" creationId="{09DC926C-811D-306C-CD33-03A77FAF21F2}"/>
          </ac:picMkLst>
        </pc:picChg>
      </pc:sldChg>
      <pc:sldChg chg="addSp delSp modSp new mod ord">
        <pc:chgData name="Arav Barot" userId="2aabccd7-f410-4c9c-8764-2e3ea0dd7040" providerId="ADAL" clId="{6545EF83-34ED-4EBF-8118-20E7C988DC66}" dt="2023-11-04T12:47:32.116" v="23994" actId="20577"/>
        <pc:sldMkLst>
          <pc:docMk/>
          <pc:sldMk cId="275253377" sldId="2147473141"/>
        </pc:sldMkLst>
        <pc:spChg chg="mod">
          <ac:chgData name="Arav Barot" userId="2aabccd7-f410-4c9c-8764-2e3ea0dd7040" providerId="ADAL" clId="{6545EF83-34ED-4EBF-8118-20E7C988DC66}" dt="2023-11-03T17:42:23.169" v="22245" actId="20577"/>
          <ac:spMkLst>
            <pc:docMk/>
            <pc:sldMk cId="275253377" sldId="2147473141"/>
            <ac:spMk id="2" creationId="{28398D24-1260-FA50-E9B8-57F8316BA5C0}"/>
          </ac:spMkLst>
        </pc:spChg>
        <pc:spChg chg="mod">
          <ac:chgData name="Arav Barot" userId="2aabccd7-f410-4c9c-8764-2e3ea0dd7040" providerId="ADAL" clId="{6545EF83-34ED-4EBF-8118-20E7C988DC66}" dt="2023-11-03T17:48:53.890" v="22416" actId="20577"/>
          <ac:spMkLst>
            <pc:docMk/>
            <pc:sldMk cId="275253377" sldId="2147473141"/>
            <ac:spMk id="3" creationId="{18493CBC-A874-F2DB-AA26-AA788E46EFBC}"/>
          </ac:spMkLst>
        </pc:spChg>
        <pc:spChg chg="add del mod">
          <ac:chgData name="Arav Barot" userId="2aabccd7-f410-4c9c-8764-2e3ea0dd7040" providerId="ADAL" clId="{6545EF83-34ED-4EBF-8118-20E7C988DC66}" dt="2023-11-03T17:47:21.437" v="22341"/>
          <ac:spMkLst>
            <pc:docMk/>
            <pc:sldMk cId="275253377" sldId="2147473141"/>
            <ac:spMk id="7" creationId="{83DBF058-54C8-0C54-BC76-7E63349ED74F}"/>
          </ac:spMkLst>
        </pc:spChg>
        <pc:spChg chg="add mod">
          <ac:chgData name="Arav Barot" userId="2aabccd7-f410-4c9c-8764-2e3ea0dd7040" providerId="ADAL" clId="{6545EF83-34ED-4EBF-8118-20E7C988DC66}" dt="2023-11-04T12:44:58.855" v="23978" actId="14100"/>
          <ac:spMkLst>
            <pc:docMk/>
            <pc:sldMk cId="275253377" sldId="2147473141"/>
            <ac:spMk id="7" creationId="{F0E34941-15F0-C756-7B21-0E06D7CF8D34}"/>
          </ac:spMkLst>
        </pc:spChg>
        <pc:spChg chg="add del mod">
          <ac:chgData name="Arav Barot" userId="2aabccd7-f410-4c9c-8764-2e3ea0dd7040" providerId="ADAL" clId="{6545EF83-34ED-4EBF-8118-20E7C988DC66}" dt="2023-11-03T17:50:24.051" v="22443" actId="478"/>
          <ac:spMkLst>
            <pc:docMk/>
            <pc:sldMk cId="275253377" sldId="2147473141"/>
            <ac:spMk id="8" creationId="{BD267A6C-BFC8-652B-2191-56AF47BE2F08}"/>
          </ac:spMkLst>
        </pc:spChg>
        <pc:spChg chg="add del mod">
          <ac:chgData name="Arav Barot" userId="2aabccd7-f410-4c9c-8764-2e3ea0dd7040" providerId="ADAL" clId="{6545EF83-34ED-4EBF-8118-20E7C988DC66}" dt="2023-10-30T10:55:31.453" v="7906" actId="21"/>
          <ac:spMkLst>
            <pc:docMk/>
            <pc:sldMk cId="275253377" sldId="2147473141"/>
            <ac:spMk id="9" creationId="{39B89DF4-2D96-DED3-9681-1E84DADCF019}"/>
          </ac:spMkLst>
        </pc:spChg>
        <pc:spChg chg="add mod">
          <ac:chgData name="Arav Barot" userId="2aabccd7-f410-4c9c-8764-2e3ea0dd7040" providerId="ADAL" clId="{6545EF83-34ED-4EBF-8118-20E7C988DC66}" dt="2023-11-03T13:40:20.373" v="14750" actId="34135"/>
          <ac:spMkLst>
            <pc:docMk/>
            <pc:sldMk cId="275253377" sldId="2147473141"/>
            <ac:spMk id="9" creationId="{54FFB947-9DB6-4EFC-116E-2A944329CFBA}"/>
          </ac:spMkLst>
        </pc:spChg>
        <pc:spChg chg="add del mod">
          <ac:chgData name="Arav Barot" userId="2aabccd7-f410-4c9c-8764-2e3ea0dd7040" providerId="ADAL" clId="{6545EF83-34ED-4EBF-8118-20E7C988DC66}" dt="2023-11-02T11:59:17.085" v="13110" actId="21"/>
          <ac:spMkLst>
            <pc:docMk/>
            <pc:sldMk cId="275253377" sldId="2147473141"/>
            <ac:spMk id="9" creationId="{6F276724-6876-5916-B4A9-BE706D20AF3C}"/>
          </ac:spMkLst>
        </pc:spChg>
        <pc:spChg chg="add del mod">
          <ac:chgData name="Arav Barot" userId="2aabccd7-f410-4c9c-8764-2e3ea0dd7040" providerId="ADAL" clId="{6545EF83-34ED-4EBF-8118-20E7C988DC66}" dt="2023-11-03T17:52:54.933" v="22481" actId="478"/>
          <ac:spMkLst>
            <pc:docMk/>
            <pc:sldMk cId="275253377" sldId="2147473141"/>
            <ac:spMk id="10" creationId="{1F5B6ED7-2F30-56D8-8885-C0DA2F73DEAD}"/>
          </ac:spMkLst>
        </pc:spChg>
        <pc:spChg chg="add del mod">
          <ac:chgData name="Arav Barot" userId="2aabccd7-f410-4c9c-8764-2e3ea0dd7040" providerId="ADAL" clId="{6545EF83-34ED-4EBF-8118-20E7C988DC66}" dt="2023-11-03T17:46:19.729" v="22325" actId="478"/>
          <ac:spMkLst>
            <pc:docMk/>
            <pc:sldMk cId="275253377" sldId="2147473141"/>
            <ac:spMk id="11" creationId="{280D5A34-7A11-FDD7-F16D-A178013A8B6E}"/>
          </ac:spMkLst>
        </pc:spChg>
        <pc:spChg chg="add mod">
          <ac:chgData name="Arav Barot" userId="2aabccd7-f410-4c9c-8764-2e3ea0dd7040" providerId="ADAL" clId="{6545EF83-34ED-4EBF-8118-20E7C988DC66}" dt="2023-11-04T12:47:32.116" v="23994" actId="20577"/>
          <ac:spMkLst>
            <pc:docMk/>
            <pc:sldMk cId="275253377" sldId="2147473141"/>
            <ac:spMk id="12" creationId="{2B4C121F-35D4-DB73-FE4A-215CD2BC0274}"/>
          </ac:spMkLst>
        </pc:spChg>
        <pc:spChg chg="add mod">
          <ac:chgData name="Arav Barot" userId="2aabccd7-f410-4c9c-8764-2e3ea0dd7040" providerId="ADAL" clId="{6545EF83-34ED-4EBF-8118-20E7C988DC66}" dt="2023-11-03T17:49:35.236" v="22420" actId="164"/>
          <ac:spMkLst>
            <pc:docMk/>
            <pc:sldMk cId="275253377" sldId="2147473141"/>
            <ac:spMk id="13" creationId="{8AD78F7E-9C71-B6CC-EBDE-4A44A009DC8E}"/>
          </ac:spMkLst>
        </pc:spChg>
        <pc:spChg chg="mod">
          <ac:chgData name="Arav Barot" userId="2aabccd7-f410-4c9c-8764-2e3ea0dd7040" providerId="ADAL" clId="{6545EF83-34ED-4EBF-8118-20E7C988DC66}" dt="2023-11-03T17:53:17.532" v="22484" actId="403"/>
          <ac:spMkLst>
            <pc:docMk/>
            <pc:sldMk cId="275253377" sldId="2147473141"/>
            <ac:spMk id="16" creationId="{FD60BD7B-D9F7-640F-1A8A-0ACA51950E52}"/>
          </ac:spMkLst>
        </pc:spChg>
        <pc:spChg chg="mod">
          <ac:chgData name="Arav Barot" userId="2aabccd7-f410-4c9c-8764-2e3ea0dd7040" providerId="ADAL" clId="{6545EF83-34ED-4EBF-8118-20E7C988DC66}" dt="2023-11-03T17:50:05.333" v="22439"/>
          <ac:spMkLst>
            <pc:docMk/>
            <pc:sldMk cId="275253377" sldId="2147473141"/>
            <ac:spMk id="17" creationId="{83A30E89-4FE2-2D60-F72C-3C51B5223D21}"/>
          </ac:spMkLst>
        </pc:spChg>
        <pc:spChg chg="mod">
          <ac:chgData name="Arav Barot" userId="2aabccd7-f410-4c9c-8764-2e3ea0dd7040" providerId="ADAL" clId="{6545EF83-34ED-4EBF-8118-20E7C988DC66}" dt="2023-11-03T17:52:50.071" v="22480" actId="20577"/>
          <ac:spMkLst>
            <pc:docMk/>
            <pc:sldMk cId="275253377" sldId="2147473141"/>
            <ac:spMk id="19" creationId="{70752546-A3AC-B754-C416-E5E85FB7BBF4}"/>
          </ac:spMkLst>
        </pc:spChg>
        <pc:spChg chg="mod">
          <ac:chgData name="Arav Barot" userId="2aabccd7-f410-4c9c-8764-2e3ea0dd7040" providerId="ADAL" clId="{6545EF83-34ED-4EBF-8118-20E7C988DC66}" dt="2023-11-03T17:52:32.318" v="22473" actId="20577"/>
          <ac:spMkLst>
            <pc:docMk/>
            <pc:sldMk cId="275253377" sldId="2147473141"/>
            <ac:spMk id="20" creationId="{89983AD9-64BE-E988-DA38-57703A2BEC6B}"/>
          </ac:spMkLst>
        </pc:spChg>
        <pc:spChg chg="mod ord topLvl">
          <ac:chgData name="Arav Barot" userId="2aabccd7-f410-4c9c-8764-2e3ea0dd7040" providerId="ADAL" clId="{6545EF83-34ED-4EBF-8118-20E7C988DC66}" dt="2023-11-04T12:45:19.435" v="23981" actId="242"/>
          <ac:spMkLst>
            <pc:docMk/>
            <pc:sldMk cId="275253377" sldId="2147473141"/>
            <ac:spMk id="37" creationId="{DA696ED5-AD82-52C9-DFB0-7B2F607AE276}"/>
          </ac:spMkLst>
        </pc:spChg>
        <pc:grpChg chg="add mod">
          <ac:chgData name="Arav Barot" userId="2aabccd7-f410-4c9c-8764-2e3ea0dd7040" providerId="ADAL" clId="{6545EF83-34ED-4EBF-8118-20E7C988DC66}" dt="2023-11-03T17:51:51.015" v="22458" actId="14100"/>
          <ac:grpSpMkLst>
            <pc:docMk/>
            <pc:sldMk cId="275253377" sldId="2147473141"/>
            <ac:grpSpMk id="14" creationId="{AAC26687-368E-B279-EE7E-E180D17C5030}"/>
          </ac:grpSpMkLst>
        </pc:grpChg>
        <pc:grpChg chg="add mod">
          <ac:chgData name="Arav Barot" userId="2aabccd7-f410-4c9c-8764-2e3ea0dd7040" providerId="ADAL" clId="{6545EF83-34ED-4EBF-8118-20E7C988DC66}" dt="2023-11-03T17:53:29.572" v="22485" actId="1076"/>
          <ac:grpSpMkLst>
            <pc:docMk/>
            <pc:sldMk cId="275253377" sldId="2147473141"/>
            <ac:grpSpMk id="15" creationId="{E8499718-753E-21CC-7EA8-06BA9345E2FC}"/>
          </ac:grpSpMkLst>
        </pc:grpChg>
        <pc:grpChg chg="add mod">
          <ac:chgData name="Arav Barot" userId="2aabccd7-f410-4c9c-8764-2e3ea0dd7040" providerId="ADAL" clId="{6545EF83-34ED-4EBF-8118-20E7C988DC66}" dt="2023-11-03T17:53:35.149" v="22486" actId="1076"/>
          <ac:grpSpMkLst>
            <pc:docMk/>
            <pc:sldMk cId="275253377" sldId="2147473141"/>
            <ac:grpSpMk id="18" creationId="{A8DB170E-5B05-9C52-7896-E57BACB9A905}"/>
          </ac:grpSpMkLst>
        </pc:grpChg>
        <pc:grpChg chg="add mod">
          <ac:chgData name="Arav Barot" userId="2aabccd7-f410-4c9c-8764-2e3ea0dd7040" providerId="ADAL" clId="{6545EF83-34ED-4EBF-8118-20E7C988DC66}" dt="2023-11-03T17:59:16.782" v="22536" actId="164"/>
          <ac:grpSpMkLst>
            <pc:docMk/>
            <pc:sldMk cId="275253377" sldId="2147473141"/>
            <ac:grpSpMk id="28" creationId="{DD77A0C4-44CE-9F47-64D3-404141C2BF7F}"/>
          </ac:grpSpMkLst>
        </pc:grpChg>
        <pc:grpChg chg="add del mod">
          <ac:chgData name="Arav Barot" userId="2aabccd7-f410-4c9c-8764-2e3ea0dd7040" providerId="ADAL" clId="{6545EF83-34ED-4EBF-8118-20E7C988DC66}" dt="2023-11-03T17:58:42.372" v="22530" actId="478"/>
          <ac:grpSpMkLst>
            <pc:docMk/>
            <pc:sldMk cId="275253377" sldId="2147473141"/>
            <ac:grpSpMk id="36" creationId="{3A54DEAE-EB92-2ABF-9944-F29C30AB01E6}"/>
          </ac:grpSpMkLst>
        </pc:grpChg>
        <pc:grpChg chg="add del mod">
          <ac:chgData name="Arav Barot" userId="2aabccd7-f410-4c9c-8764-2e3ea0dd7040" providerId="ADAL" clId="{6545EF83-34ED-4EBF-8118-20E7C988DC66}" dt="2023-11-04T12:41:30.497" v="23933" actId="478"/>
          <ac:grpSpMkLst>
            <pc:docMk/>
            <pc:sldMk cId="275253377" sldId="2147473141"/>
            <ac:grpSpMk id="40" creationId="{6930EAEC-FC09-9C95-6D13-16A307DE8C49}"/>
          </ac:grpSpMkLst>
        </pc:grpChg>
        <pc:picChg chg="add mod">
          <ac:chgData name="Arav Barot" userId="2aabccd7-f410-4c9c-8764-2e3ea0dd7040" providerId="ADAL" clId="{6545EF83-34ED-4EBF-8118-20E7C988DC66}" dt="2023-11-03T17:57:09.867" v="22518" actId="164"/>
          <ac:picMkLst>
            <pc:docMk/>
            <pc:sldMk cId="275253377" sldId="2147473141"/>
            <ac:picMk id="22" creationId="{55701F3E-788F-28D5-5B95-22EA2938D5C7}"/>
          </ac:picMkLst>
        </pc:picChg>
        <pc:picChg chg="add mod">
          <ac:chgData name="Arav Barot" userId="2aabccd7-f410-4c9c-8764-2e3ea0dd7040" providerId="ADAL" clId="{6545EF83-34ED-4EBF-8118-20E7C988DC66}" dt="2023-11-03T17:57:09.867" v="22518" actId="164"/>
          <ac:picMkLst>
            <pc:docMk/>
            <pc:sldMk cId="275253377" sldId="2147473141"/>
            <ac:picMk id="23" creationId="{9EA96CD4-6E45-2B40-1DB3-AF9F3BDB9C85}"/>
          </ac:picMkLst>
        </pc:picChg>
        <pc:picChg chg="add mod">
          <ac:chgData name="Arav Barot" userId="2aabccd7-f410-4c9c-8764-2e3ea0dd7040" providerId="ADAL" clId="{6545EF83-34ED-4EBF-8118-20E7C988DC66}" dt="2023-11-03T17:57:09.867" v="22518" actId="164"/>
          <ac:picMkLst>
            <pc:docMk/>
            <pc:sldMk cId="275253377" sldId="2147473141"/>
            <ac:picMk id="24" creationId="{0A402296-BD63-6F8F-B856-303EEA1E19A2}"/>
          </ac:picMkLst>
        </pc:picChg>
        <pc:picChg chg="add mod">
          <ac:chgData name="Arav Barot" userId="2aabccd7-f410-4c9c-8764-2e3ea0dd7040" providerId="ADAL" clId="{6545EF83-34ED-4EBF-8118-20E7C988DC66}" dt="2023-11-03T17:59:16.782" v="22536" actId="164"/>
          <ac:picMkLst>
            <pc:docMk/>
            <pc:sldMk cId="275253377" sldId="2147473141"/>
            <ac:picMk id="25" creationId="{CEFD1C43-E6A8-F33A-3E3A-653D744A651C}"/>
          </ac:picMkLst>
        </pc:picChg>
        <pc:picChg chg="add mod">
          <ac:chgData name="Arav Barot" userId="2aabccd7-f410-4c9c-8764-2e3ea0dd7040" providerId="ADAL" clId="{6545EF83-34ED-4EBF-8118-20E7C988DC66}" dt="2023-11-03T17:59:16.782" v="22536" actId="164"/>
          <ac:picMkLst>
            <pc:docMk/>
            <pc:sldMk cId="275253377" sldId="2147473141"/>
            <ac:picMk id="27" creationId="{08812099-57F5-790C-12FE-C06A6D5605C1}"/>
          </ac:picMkLst>
        </pc:picChg>
        <pc:picChg chg="del mod topLvl">
          <ac:chgData name="Arav Barot" userId="2aabccd7-f410-4c9c-8764-2e3ea0dd7040" providerId="ADAL" clId="{6545EF83-34ED-4EBF-8118-20E7C988DC66}" dt="2023-11-03T17:58:42.372" v="22530" actId="478"/>
          <ac:picMkLst>
            <pc:docMk/>
            <pc:sldMk cId="275253377" sldId="2147473141"/>
            <ac:picMk id="38" creationId="{1FC02685-2E94-58BF-2B11-17C3F35301E6}"/>
          </ac:picMkLst>
        </pc:picChg>
        <pc:cxnChg chg="add mod">
          <ac:chgData name="Arav Barot" userId="2aabccd7-f410-4c9c-8764-2e3ea0dd7040" providerId="ADAL" clId="{6545EF83-34ED-4EBF-8118-20E7C988DC66}" dt="2023-11-04T12:41:30.497" v="23933" actId="478"/>
          <ac:cxnSpMkLst>
            <pc:docMk/>
            <pc:sldMk cId="275253377" sldId="2147473141"/>
            <ac:cxnSpMk id="30" creationId="{30074569-3AFA-D7BA-169A-711E7BDA9899}"/>
          </ac:cxnSpMkLst>
        </pc:cxnChg>
        <pc:cxnChg chg="add mod">
          <ac:chgData name="Arav Barot" userId="2aabccd7-f410-4c9c-8764-2e3ea0dd7040" providerId="ADAL" clId="{6545EF83-34ED-4EBF-8118-20E7C988DC66}" dt="2023-11-04T12:41:30.497" v="23933" actId="478"/>
          <ac:cxnSpMkLst>
            <pc:docMk/>
            <pc:sldMk cId="275253377" sldId="2147473141"/>
            <ac:cxnSpMk id="32" creationId="{9B8486A1-5442-ED63-2171-A5CAF23A6AE8}"/>
          </ac:cxnSpMkLst>
        </pc:cxnChg>
      </pc:sldChg>
      <pc:sldChg chg="addSp delSp modSp new mod">
        <pc:chgData name="Arav Barot" userId="2aabccd7-f410-4c9c-8764-2e3ea0dd7040" providerId="ADAL" clId="{6545EF83-34ED-4EBF-8118-20E7C988DC66}" dt="2023-11-03T13:36:21.554" v="14714"/>
        <pc:sldMkLst>
          <pc:docMk/>
          <pc:sldMk cId="2709157278" sldId="2147473142"/>
        </pc:sldMkLst>
        <pc:spChg chg="mod">
          <ac:chgData name="Arav Barot" userId="2aabccd7-f410-4c9c-8764-2e3ea0dd7040" providerId="ADAL" clId="{6545EF83-34ED-4EBF-8118-20E7C988DC66}" dt="2023-10-30T09:56:46.479" v="6657" actId="20577"/>
          <ac:spMkLst>
            <pc:docMk/>
            <pc:sldMk cId="2709157278" sldId="2147473142"/>
            <ac:spMk id="3" creationId="{B8E399E3-0841-0CEB-DC5F-F9B58F6A7E38}"/>
          </ac:spMkLst>
        </pc:spChg>
        <pc:spChg chg="add del">
          <ac:chgData name="Arav Barot" userId="2aabccd7-f410-4c9c-8764-2e3ea0dd7040" providerId="ADAL" clId="{6545EF83-34ED-4EBF-8118-20E7C988DC66}" dt="2023-10-30T09:57:09.062" v="6659" actId="22"/>
          <ac:spMkLst>
            <pc:docMk/>
            <pc:sldMk cId="2709157278" sldId="2147473142"/>
            <ac:spMk id="8" creationId="{29792869-404D-16A8-7D1C-FA4CDCBCC3E8}"/>
          </ac:spMkLst>
        </pc:spChg>
        <pc:picChg chg="add mod">
          <ac:chgData name="Arav Barot" userId="2aabccd7-f410-4c9c-8764-2e3ea0dd7040" providerId="ADAL" clId="{6545EF83-34ED-4EBF-8118-20E7C988DC66}" dt="2023-11-03T13:36:21.554" v="14714"/>
          <ac:picMkLst>
            <pc:docMk/>
            <pc:sldMk cId="2709157278" sldId="2147473142"/>
            <ac:picMk id="10" creationId="{53AD2C25-5A90-685C-E2DE-4FE09C80D2F3}"/>
          </ac:picMkLst>
        </pc:picChg>
      </pc:sldChg>
      <pc:sldChg chg="addSp delSp modSp new del mod">
        <pc:chgData name="Arav Barot" userId="2aabccd7-f410-4c9c-8764-2e3ea0dd7040" providerId="ADAL" clId="{6545EF83-34ED-4EBF-8118-20E7C988DC66}" dt="2023-11-03T21:11:02.667" v="23649" actId="47"/>
        <pc:sldMkLst>
          <pc:docMk/>
          <pc:sldMk cId="981847508" sldId="2147473143"/>
        </pc:sldMkLst>
        <pc:spChg chg="add mod">
          <ac:chgData name="Arav Barot" userId="2aabccd7-f410-4c9c-8764-2e3ea0dd7040" providerId="ADAL" clId="{6545EF83-34ED-4EBF-8118-20E7C988DC66}" dt="2023-11-03T13:41:30.777" v="14760" actId="34135"/>
          <ac:spMkLst>
            <pc:docMk/>
            <pc:sldMk cId="981847508" sldId="2147473143"/>
            <ac:spMk id="3" creationId="{7E862F6A-42DC-25DC-11B6-BE718B241D9C}"/>
          </ac:spMkLst>
        </pc:spChg>
        <pc:spChg chg="del">
          <ac:chgData name="Arav Barot" userId="2aabccd7-f410-4c9c-8764-2e3ea0dd7040" providerId="ADAL" clId="{6545EF83-34ED-4EBF-8118-20E7C988DC66}" dt="2023-10-30T10:18:42.657" v="7553" actId="478"/>
          <ac:spMkLst>
            <pc:docMk/>
            <pc:sldMk cId="981847508" sldId="2147473143"/>
            <ac:spMk id="3" creationId="{AA617BD8-C085-D609-C84E-A1F8C1E0FF5B}"/>
          </ac:spMkLst>
        </pc:spChg>
        <pc:spChg chg="add mod">
          <ac:chgData name="Arav Barot" userId="2aabccd7-f410-4c9c-8764-2e3ea0dd7040" providerId="ADAL" clId="{6545EF83-34ED-4EBF-8118-20E7C988DC66}" dt="2023-11-03T13:36:21.554" v="14714"/>
          <ac:spMkLst>
            <pc:docMk/>
            <pc:sldMk cId="981847508" sldId="2147473143"/>
            <ac:spMk id="7" creationId="{B44DF3DE-051B-E673-F146-A0842BBA4881}"/>
          </ac:spMkLst>
        </pc:spChg>
        <pc:spChg chg="add del mod">
          <ac:chgData name="Arav Barot" userId="2aabccd7-f410-4c9c-8764-2e3ea0dd7040" providerId="ADAL" clId="{6545EF83-34ED-4EBF-8118-20E7C988DC66}" dt="2023-11-03T21:06:00.372" v="23428"/>
          <ac:spMkLst>
            <pc:docMk/>
            <pc:sldMk cId="981847508" sldId="2147473143"/>
            <ac:spMk id="8" creationId="{03B1B284-93F0-BC8D-A731-F12DF6E867ED}"/>
          </ac:spMkLst>
        </pc:spChg>
        <pc:graphicFrameChg chg="add mod modGraphic">
          <ac:chgData name="Arav Barot" userId="2aabccd7-f410-4c9c-8764-2e3ea0dd7040" providerId="ADAL" clId="{6545EF83-34ED-4EBF-8118-20E7C988DC66}" dt="2023-11-03T21:09:24.692" v="23513" actId="21"/>
          <ac:graphicFrameMkLst>
            <pc:docMk/>
            <pc:sldMk cId="981847508" sldId="2147473143"/>
            <ac:graphicFrameMk id="9" creationId="{5759D7C6-E0C7-421C-440E-82196BA65514}"/>
          </ac:graphicFrameMkLst>
        </pc:graphicFrameChg>
        <pc:picChg chg="add mod">
          <ac:chgData name="Arav Barot" userId="2aabccd7-f410-4c9c-8764-2e3ea0dd7040" providerId="ADAL" clId="{6545EF83-34ED-4EBF-8118-20E7C988DC66}" dt="2023-11-03T13:36:21.554" v="14714"/>
          <ac:picMkLst>
            <pc:docMk/>
            <pc:sldMk cId="981847508" sldId="2147473143"/>
            <ac:picMk id="11" creationId="{72E4C12D-F377-B792-5679-E2EA6252EBA3}"/>
          </ac:picMkLst>
        </pc:picChg>
      </pc:sldChg>
      <pc:sldChg chg="add">
        <pc:chgData name="Arav Barot" userId="2aabccd7-f410-4c9c-8764-2e3ea0dd7040" providerId="ADAL" clId="{6545EF83-34ED-4EBF-8118-20E7C988DC66}" dt="2023-11-04T12:46:00.650" v="23985"/>
        <pc:sldMkLst>
          <pc:docMk/>
          <pc:sldMk cId="1423257771" sldId="2147473144"/>
        </pc:sldMkLst>
      </pc:sldChg>
      <pc:sldChg chg="addSp delSp modSp new del mod ord">
        <pc:chgData name="Arav Barot" userId="2aabccd7-f410-4c9c-8764-2e3ea0dd7040" providerId="ADAL" clId="{6545EF83-34ED-4EBF-8118-20E7C988DC66}" dt="2023-11-04T12:45:57.252" v="23984" actId="2696"/>
        <pc:sldMkLst>
          <pc:docMk/>
          <pc:sldMk cId="3335928442" sldId="2147473144"/>
        </pc:sldMkLst>
        <pc:spChg chg="mod">
          <ac:chgData name="Arav Barot" userId="2aabccd7-f410-4c9c-8764-2e3ea0dd7040" providerId="ADAL" clId="{6545EF83-34ED-4EBF-8118-20E7C988DC66}" dt="2023-11-03T21:28:21.503" v="23838" actId="20577"/>
          <ac:spMkLst>
            <pc:docMk/>
            <pc:sldMk cId="3335928442" sldId="2147473144"/>
            <ac:spMk id="2" creationId="{12640153-EC39-ABC9-8F0B-F1825296AEA8}"/>
          </ac:spMkLst>
        </pc:spChg>
        <pc:spChg chg="mod">
          <ac:chgData name="Arav Barot" userId="2aabccd7-f410-4c9c-8764-2e3ea0dd7040" providerId="ADAL" clId="{6545EF83-34ED-4EBF-8118-20E7C988DC66}" dt="2023-10-30T11:03:33.732" v="8325" actId="20577"/>
          <ac:spMkLst>
            <pc:docMk/>
            <pc:sldMk cId="3335928442" sldId="2147473144"/>
            <ac:spMk id="3" creationId="{6AABA5A2-423D-FD2F-DBCF-1D5D8A82DDC4}"/>
          </ac:spMkLst>
        </pc:spChg>
        <pc:spChg chg="add del mod">
          <ac:chgData name="Arav Barot" userId="2aabccd7-f410-4c9c-8764-2e3ea0dd7040" providerId="ADAL" clId="{6545EF83-34ED-4EBF-8118-20E7C988DC66}" dt="2023-11-04T12:41:14.711" v="23932"/>
          <ac:spMkLst>
            <pc:docMk/>
            <pc:sldMk cId="3335928442" sldId="2147473144"/>
            <ac:spMk id="7" creationId="{16041706-78A1-12A2-1F2C-0E331B3204C9}"/>
          </ac:spMkLst>
        </pc:spChg>
        <pc:spChg chg="add del mod">
          <ac:chgData name="Arav Barot" userId="2aabccd7-f410-4c9c-8764-2e3ea0dd7040" providerId="ADAL" clId="{6545EF83-34ED-4EBF-8118-20E7C988DC66}" dt="2023-10-30T12:00:24.875" v="8681"/>
          <ac:spMkLst>
            <pc:docMk/>
            <pc:sldMk cId="3335928442" sldId="2147473144"/>
            <ac:spMk id="9" creationId="{00D5752A-C4AF-F698-0678-C93F8E3426BB}"/>
          </ac:spMkLst>
        </pc:spChg>
        <pc:spChg chg="add mod">
          <ac:chgData name="Arav Barot" userId="2aabccd7-f410-4c9c-8764-2e3ea0dd7040" providerId="ADAL" clId="{6545EF83-34ED-4EBF-8118-20E7C988DC66}" dt="2023-11-03T13:36:21.554" v="14714"/>
          <ac:spMkLst>
            <pc:docMk/>
            <pc:sldMk cId="3335928442" sldId="2147473144"/>
            <ac:spMk id="9" creationId="{90C82ACA-6DB4-BC7A-3C6F-C00A14B399A5}"/>
          </ac:spMkLst>
        </pc:spChg>
        <pc:spChg chg="add mod">
          <ac:chgData name="Arav Barot" userId="2aabccd7-f410-4c9c-8764-2e3ea0dd7040" providerId="ADAL" clId="{6545EF83-34ED-4EBF-8118-20E7C988DC66}" dt="2023-11-03T13:41:47.589" v="14764" actId="34135"/>
          <ac:spMkLst>
            <pc:docMk/>
            <pc:sldMk cId="3335928442" sldId="2147473144"/>
            <ac:spMk id="11" creationId="{3DD4B826-5CDB-AFAC-80E2-116463BB5F9E}"/>
          </ac:spMkLst>
        </pc:spChg>
        <pc:graphicFrameChg chg="add mod modGraphic">
          <ac:chgData name="Arav Barot" userId="2aabccd7-f410-4c9c-8764-2e3ea0dd7040" providerId="ADAL" clId="{6545EF83-34ED-4EBF-8118-20E7C988DC66}" dt="2023-11-03T13:36:21.554" v="14714"/>
          <ac:graphicFrameMkLst>
            <pc:docMk/>
            <pc:sldMk cId="3335928442" sldId="2147473144"/>
            <ac:graphicFrameMk id="8" creationId="{26AB2A52-ADF0-0F65-4EDC-2D5A395C0F5D}"/>
          </ac:graphicFrameMkLst>
        </pc:graphicFrameChg>
        <pc:graphicFrameChg chg="add mod modGraphic">
          <ac:chgData name="Arav Barot" userId="2aabccd7-f410-4c9c-8764-2e3ea0dd7040" providerId="ADAL" clId="{6545EF83-34ED-4EBF-8118-20E7C988DC66}" dt="2023-11-03T13:36:21.554" v="14714"/>
          <ac:graphicFrameMkLst>
            <pc:docMk/>
            <pc:sldMk cId="3335928442" sldId="2147473144"/>
            <ac:graphicFrameMk id="10" creationId="{C19F8122-9A48-F6CA-E93B-BC58CC5CE546}"/>
          </ac:graphicFrameMkLst>
        </pc:graphicFrameChg>
      </pc:sldChg>
      <pc:sldChg chg="addSp delSp modSp add mod">
        <pc:chgData name="Arav Barot" userId="2aabccd7-f410-4c9c-8764-2e3ea0dd7040" providerId="ADAL" clId="{6545EF83-34ED-4EBF-8118-20E7C988DC66}" dt="2023-11-04T12:49:52.655" v="24006" actId="1076"/>
        <pc:sldMkLst>
          <pc:docMk/>
          <pc:sldMk cId="2536722643" sldId="2147473145"/>
        </pc:sldMkLst>
        <pc:spChg chg="mod">
          <ac:chgData name="Arav Barot" userId="2aabccd7-f410-4c9c-8764-2e3ea0dd7040" providerId="ADAL" clId="{6545EF83-34ED-4EBF-8118-20E7C988DC66}" dt="2023-11-04T12:46:34.017" v="23990" actId="20577"/>
          <ac:spMkLst>
            <pc:docMk/>
            <pc:sldMk cId="2536722643" sldId="2147473145"/>
            <ac:spMk id="2" creationId="{8A20F174-0ADE-DA6A-9C17-93C7B3E6D8D1}"/>
          </ac:spMkLst>
        </pc:spChg>
        <pc:spChg chg="mod">
          <ac:chgData name="Arav Barot" userId="2aabccd7-f410-4c9c-8764-2e3ea0dd7040" providerId="ADAL" clId="{6545EF83-34ED-4EBF-8118-20E7C988DC66}" dt="2023-11-04T12:46:20.940" v="23987" actId="404"/>
          <ac:spMkLst>
            <pc:docMk/>
            <pc:sldMk cId="2536722643" sldId="2147473145"/>
            <ac:spMk id="3" creationId="{D065A2F9-1756-6E7E-AC79-5310433FD2C1}"/>
          </ac:spMkLst>
        </pc:spChg>
        <pc:spChg chg="add del mod">
          <ac:chgData name="Arav Barot" userId="2aabccd7-f410-4c9c-8764-2e3ea0dd7040" providerId="ADAL" clId="{6545EF83-34ED-4EBF-8118-20E7C988DC66}" dt="2023-10-31T15:14:40.352" v="10757" actId="21"/>
          <ac:spMkLst>
            <pc:docMk/>
            <pc:sldMk cId="2536722643" sldId="2147473145"/>
            <ac:spMk id="5" creationId="{573016BE-6FDE-4A12-5C5B-7AAC750426CC}"/>
          </ac:spMkLst>
        </pc:spChg>
        <pc:spChg chg="add mod">
          <ac:chgData name="Arav Barot" userId="2aabccd7-f410-4c9c-8764-2e3ea0dd7040" providerId="ADAL" clId="{6545EF83-34ED-4EBF-8118-20E7C988DC66}" dt="2023-11-03T13:41:54.490" v="14766" actId="34135"/>
          <ac:spMkLst>
            <pc:docMk/>
            <pc:sldMk cId="2536722643" sldId="2147473145"/>
            <ac:spMk id="5" creationId="{5F60EED9-7D20-9DD0-D066-10CF16F7F5ED}"/>
          </ac:spMkLst>
        </pc:spChg>
        <pc:spChg chg="add mod">
          <ac:chgData name="Arav Barot" userId="2aabccd7-f410-4c9c-8764-2e3ea0dd7040" providerId="ADAL" clId="{6545EF83-34ED-4EBF-8118-20E7C988DC66}" dt="2023-11-04T12:48:06.646" v="23998" actId="1076"/>
          <ac:spMkLst>
            <pc:docMk/>
            <pc:sldMk cId="2536722643" sldId="2147473145"/>
            <ac:spMk id="8" creationId="{FC18A4CE-5C66-FEFA-5036-83ED5CB57D4E}"/>
          </ac:spMkLst>
        </pc:spChg>
        <pc:spChg chg="add mod">
          <ac:chgData name="Arav Barot" userId="2aabccd7-f410-4c9c-8764-2e3ea0dd7040" providerId="ADAL" clId="{6545EF83-34ED-4EBF-8118-20E7C988DC66}" dt="2023-11-03T13:36:21.554" v="14714"/>
          <ac:spMkLst>
            <pc:docMk/>
            <pc:sldMk cId="2536722643" sldId="2147473145"/>
            <ac:spMk id="9" creationId="{4CD21BF8-5E3B-7837-21E8-B3C9CB6C7614}"/>
          </ac:spMkLst>
        </pc:spChg>
        <pc:spChg chg="mod">
          <ac:chgData name="Arav Barot" userId="2aabccd7-f410-4c9c-8764-2e3ea0dd7040" providerId="ADAL" clId="{6545EF83-34ED-4EBF-8118-20E7C988DC66}" dt="2023-11-03T13:36:21.554" v="14714"/>
          <ac:spMkLst>
            <pc:docMk/>
            <pc:sldMk cId="2536722643" sldId="2147473145"/>
            <ac:spMk id="11" creationId="{516C48D4-603C-A4AD-1B64-2210ED4A1038}"/>
          </ac:spMkLst>
        </pc:spChg>
        <pc:spChg chg="mod">
          <ac:chgData name="Arav Barot" userId="2aabccd7-f410-4c9c-8764-2e3ea0dd7040" providerId="ADAL" clId="{6545EF83-34ED-4EBF-8118-20E7C988DC66}" dt="2023-11-03T13:36:21.554" v="14714"/>
          <ac:spMkLst>
            <pc:docMk/>
            <pc:sldMk cId="2536722643" sldId="2147473145"/>
            <ac:spMk id="12" creationId="{74DCD9AA-6550-4F29-444D-A5DD771F7AD3}"/>
          </ac:spMkLst>
        </pc:spChg>
        <pc:spChg chg="add mod">
          <ac:chgData name="Arav Barot" userId="2aabccd7-f410-4c9c-8764-2e3ea0dd7040" providerId="ADAL" clId="{6545EF83-34ED-4EBF-8118-20E7C988DC66}" dt="2023-11-03T13:36:21.554" v="14714"/>
          <ac:spMkLst>
            <pc:docMk/>
            <pc:sldMk cId="2536722643" sldId="2147473145"/>
            <ac:spMk id="13" creationId="{9C040BAB-E44E-B3E9-09CF-2D4FF4878D18}"/>
          </ac:spMkLst>
        </pc:spChg>
        <pc:spChg chg="add mod">
          <ac:chgData name="Arav Barot" userId="2aabccd7-f410-4c9c-8764-2e3ea0dd7040" providerId="ADAL" clId="{6545EF83-34ED-4EBF-8118-20E7C988DC66}" dt="2023-11-03T13:36:21.554" v="14714"/>
          <ac:spMkLst>
            <pc:docMk/>
            <pc:sldMk cId="2536722643" sldId="2147473145"/>
            <ac:spMk id="14" creationId="{8709C9FE-9749-4B86-F11A-F84122BA28F6}"/>
          </ac:spMkLst>
        </pc:spChg>
        <pc:spChg chg="add mod ord">
          <ac:chgData name="Arav Barot" userId="2aabccd7-f410-4c9c-8764-2e3ea0dd7040" providerId="ADAL" clId="{6545EF83-34ED-4EBF-8118-20E7C988DC66}" dt="2023-11-04T12:49:52.655" v="24006" actId="1076"/>
          <ac:spMkLst>
            <pc:docMk/>
            <pc:sldMk cId="2536722643" sldId="2147473145"/>
            <ac:spMk id="15" creationId="{AF472B66-324B-9A75-22BA-6550EF655DD7}"/>
          </ac:spMkLst>
        </pc:spChg>
        <pc:picChg chg="mod">
          <ac:chgData name="Arav Barot" userId="2aabccd7-f410-4c9c-8764-2e3ea0dd7040" providerId="ADAL" clId="{6545EF83-34ED-4EBF-8118-20E7C988DC66}" dt="2023-11-04T12:48:14.051" v="23999" actId="1076"/>
          <ac:picMkLst>
            <pc:docMk/>
            <pc:sldMk cId="2536722643" sldId="2147473145"/>
            <ac:picMk id="10" creationId="{877A91A6-198A-8B45-F674-070F7BBE0158}"/>
          </ac:picMkLst>
        </pc:picChg>
      </pc:sldChg>
      <pc:sldChg chg="addSp delSp modSp new mod delAnim modAnim modNotesTx">
        <pc:chgData name="Arav Barot" userId="2aabccd7-f410-4c9c-8764-2e3ea0dd7040" providerId="ADAL" clId="{6545EF83-34ED-4EBF-8118-20E7C988DC66}" dt="2023-11-10T11:57:17.022" v="29559" actId="20577"/>
        <pc:sldMkLst>
          <pc:docMk/>
          <pc:sldMk cId="3100430628" sldId="2147473146"/>
        </pc:sldMkLst>
        <pc:spChg chg="mod">
          <ac:chgData name="Arav Barot" userId="2aabccd7-f410-4c9c-8764-2e3ea0dd7040" providerId="ADAL" clId="{6545EF83-34ED-4EBF-8118-20E7C988DC66}" dt="2023-11-03T12:52:10.286" v="13969" actId="20577"/>
          <ac:spMkLst>
            <pc:docMk/>
            <pc:sldMk cId="3100430628" sldId="2147473146"/>
            <ac:spMk id="2" creationId="{46C999DE-8F93-626A-271D-69F9589B7D76}"/>
          </ac:spMkLst>
        </pc:spChg>
        <pc:spChg chg="mod">
          <ac:chgData name="Arav Barot" userId="2aabccd7-f410-4c9c-8764-2e3ea0dd7040" providerId="ADAL" clId="{6545EF83-34ED-4EBF-8118-20E7C988DC66}" dt="2023-10-31T10:20:09.306" v="10406" actId="404"/>
          <ac:spMkLst>
            <pc:docMk/>
            <pc:sldMk cId="3100430628" sldId="2147473146"/>
            <ac:spMk id="3" creationId="{5277A645-14F5-EF81-0737-5D90E3F7A62B}"/>
          </ac:spMkLst>
        </pc:spChg>
        <pc:spChg chg="add mod">
          <ac:chgData name="Arav Barot" userId="2aabccd7-f410-4c9c-8764-2e3ea0dd7040" providerId="ADAL" clId="{6545EF83-34ED-4EBF-8118-20E7C988DC66}" dt="2023-11-03T13:39:58.377" v="14746" actId="34135"/>
          <ac:spMkLst>
            <pc:docMk/>
            <pc:sldMk cId="3100430628" sldId="2147473146"/>
            <ac:spMk id="8" creationId="{0D1BE700-9778-0B2C-B607-903C2DC3C420}"/>
          </ac:spMkLst>
        </pc:spChg>
        <pc:spChg chg="add del mod">
          <ac:chgData name="Arav Barot" userId="2aabccd7-f410-4c9c-8764-2e3ea0dd7040" providerId="ADAL" clId="{6545EF83-34ED-4EBF-8118-20E7C988DC66}" dt="2023-10-31T10:10:35.686" v="10202" actId="478"/>
          <ac:spMkLst>
            <pc:docMk/>
            <pc:sldMk cId="3100430628" sldId="2147473146"/>
            <ac:spMk id="8" creationId="{4BCA291F-0F01-E4DD-72BE-7F7C7E571C84}"/>
          </ac:spMkLst>
        </pc:spChg>
        <pc:spChg chg="add del mod">
          <ac:chgData name="Arav Barot" userId="2aabccd7-f410-4c9c-8764-2e3ea0dd7040" providerId="ADAL" clId="{6545EF83-34ED-4EBF-8118-20E7C988DC66}" dt="2023-11-03T14:30:26.742" v="17021"/>
          <ac:spMkLst>
            <pc:docMk/>
            <pc:sldMk cId="3100430628" sldId="2147473146"/>
            <ac:spMk id="9" creationId="{BF55E7D7-2522-A0BE-2546-D1E38E7680BF}"/>
          </ac:spMkLst>
        </pc:spChg>
        <pc:spChg chg="add del mod">
          <ac:chgData name="Arav Barot" userId="2aabccd7-f410-4c9c-8764-2e3ea0dd7040" providerId="ADAL" clId="{6545EF83-34ED-4EBF-8118-20E7C988DC66}" dt="2023-10-31T10:10:44.397" v="10204" actId="478"/>
          <ac:spMkLst>
            <pc:docMk/>
            <pc:sldMk cId="3100430628" sldId="2147473146"/>
            <ac:spMk id="9" creationId="{C270CD45-AB27-BFED-3AB1-773F9BD285EA}"/>
          </ac:spMkLst>
        </pc:spChg>
        <pc:spChg chg="add del mod">
          <ac:chgData name="Arav Barot" userId="2aabccd7-f410-4c9c-8764-2e3ea0dd7040" providerId="ADAL" clId="{6545EF83-34ED-4EBF-8118-20E7C988DC66}" dt="2023-10-31T10:10:04.622" v="10198" actId="478"/>
          <ac:spMkLst>
            <pc:docMk/>
            <pc:sldMk cId="3100430628" sldId="2147473146"/>
            <ac:spMk id="10" creationId="{9F43A551-2881-4A65-26AD-7BE68AC63114}"/>
          </ac:spMkLst>
        </pc:spChg>
        <pc:spChg chg="mod">
          <ac:chgData name="Arav Barot" userId="2aabccd7-f410-4c9c-8764-2e3ea0dd7040" providerId="ADAL" clId="{6545EF83-34ED-4EBF-8118-20E7C988DC66}" dt="2023-11-03T14:59:46.769" v="17052" actId="165"/>
          <ac:spMkLst>
            <pc:docMk/>
            <pc:sldMk cId="3100430628" sldId="2147473146"/>
            <ac:spMk id="24" creationId="{DED3DD2E-2400-ECD0-3DE1-E44C143CA06D}"/>
          </ac:spMkLst>
        </pc:spChg>
        <pc:spChg chg="mod">
          <ac:chgData name="Arav Barot" userId="2aabccd7-f410-4c9c-8764-2e3ea0dd7040" providerId="ADAL" clId="{6545EF83-34ED-4EBF-8118-20E7C988DC66}" dt="2023-11-03T14:59:46.769" v="17052" actId="165"/>
          <ac:spMkLst>
            <pc:docMk/>
            <pc:sldMk cId="3100430628" sldId="2147473146"/>
            <ac:spMk id="27" creationId="{AD885DC9-2E7F-2AE9-D214-B500EED2B1AB}"/>
          </ac:spMkLst>
        </pc:spChg>
        <pc:spChg chg="add del mod topLvl">
          <ac:chgData name="Arav Barot" userId="2aabccd7-f410-4c9c-8764-2e3ea0dd7040" providerId="ADAL" clId="{6545EF83-34ED-4EBF-8118-20E7C988DC66}" dt="2023-11-03T15:22:19.060" v="17058" actId="478"/>
          <ac:spMkLst>
            <pc:docMk/>
            <pc:sldMk cId="3100430628" sldId="2147473146"/>
            <ac:spMk id="28" creationId="{C1A1E3F0-DF41-DFB6-526D-08D2CDED4AFA}"/>
          </ac:spMkLst>
        </pc:spChg>
        <pc:spChg chg="add del mod topLvl">
          <ac:chgData name="Arav Barot" userId="2aabccd7-f410-4c9c-8764-2e3ea0dd7040" providerId="ADAL" clId="{6545EF83-34ED-4EBF-8118-20E7C988DC66}" dt="2023-11-03T15:22:19.060" v="17058" actId="478"/>
          <ac:spMkLst>
            <pc:docMk/>
            <pc:sldMk cId="3100430628" sldId="2147473146"/>
            <ac:spMk id="29" creationId="{3725BF47-9A20-9A60-174C-608A6541E2E9}"/>
          </ac:spMkLst>
        </pc:spChg>
        <pc:spChg chg="add del mod topLvl">
          <ac:chgData name="Arav Barot" userId="2aabccd7-f410-4c9c-8764-2e3ea0dd7040" providerId="ADAL" clId="{6545EF83-34ED-4EBF-8118-20E7C988DC66}" dt="2023-11-03T15:22:19.060" v="17058" actId="478"/>
          <ac:spMkLst>
            <pc:docMk/>
            <pc:sldMk cId="3100430628" sldId="2147473146"/>
            <ac:spMk id="30" creationId="{8AA67DC9-2853-50B1-2B33-96F172D66AC2}"/>
          </ac:spMkLst>
        </pc:spChg>
        <pc:spChg chg="del mod ord topLvl">
          <ac:chgData name="Arav Barot" userId="2aabccd7-f410-4c9c-8764-2e3ea0dd7040" providerId="ADAL" clId="{6545EF83-34ED-4EBF-8118-20E7C988DC66}" dt="2023-11-03T15:22:19.060" v="17058" actId="478"/>
          <ac:spMkLst>
            <pc:docMk/>
            <pc:sldMk cId="3100430628" sldId="2147473146"/>
            <ac:spMk id="31" creationId="{C027CECA-1C23-E287-6A41-4B33F3D1B191}"/>
          </ac:spMkLst>
        </pc:spChg>
        <pc:spChg chg="add del mod topLvl">
          <ac:chgData name="Arav Barot" userId="2aabccd7-f410-4c9c-8764-2e3ea0dd7040" providerId="ADAL" clId="{6545EF83-34ED-4EBF-8118-20E7C988DC66}" dt="2023-11-03T15:22:19.060" v="17058" actId="478"/>
          <ac:spMkLst>
            <pc:docMk/>
            <pc:sldMk cId="3100430628" sldId="2147473146"/>
            <ac:spMk id="32" creationId="{3C00665D-A251-C5A1-B578-213164FD8C36}"/>
          </ac:spMkLst>
        </pc:spChg>
        <pc:spChg chg="add del mod">
          <ac:chgData name="Arav Barot" userId="2aabccd7-f410-4c9c-8764-2e3ea0dd7040" providerId="ADAL" clId="{6545EF83-34ED-4EBF-8118-20E7C988DC66}" dt="2023-10-31T10:10:08.421" v="10199" actId="478"/>
          <ac:spMkLst>
            <pc:docMk/>
            <pc:sldMk cId="3100430628" sldId="2147473146"/>
            <ac:spMk id="40" creationId="{F49FB212-A63A-8DAA-C8DE-CD40250CC668}"/>
          </ac:spMkLst>
        </pc:spChg>
        <pc:spChg chg="add del mod">
          <ac:chgData name="Arav Barot" userId="2aabccd7-f410-4c9c-8764-2e3ea0dd7040" providerId="ADAL" clId="{6545EF83-34ED-4EBF-8118-20E7C988DC66}" dt="2023-10-31T10:10:40.384" v="10203" actId="478"/>
          <ac:spMkLst>
            <pc:docMk/>
            <pc:sldMk cId="3100430628" sldId="2147473146"/>
            <ac:spMk id="41" creationId="{53975B06-E26C-1388-C632-DD55BCD2C8A0}"/>
          </ac:spMkLst>
        </pc:spChg>
        <pc:spChg chg="add del mod topLvl">
          <ac:chgData name="Arav Barot" userId="2aabccd7-f410-4c9c-8764-2e3ea0dd7040" providerId="ADAL" clId="{6545EF83-34ED-4EBF-8118-20E7C988DC66}" dt="2023-11-03T15:22:19.060" v="17058" actId="478"/>
          <ac:spMkLst>
            <pc:docMk/>
            <pc:sldMk cId="3100430628" sldId="2147473146"/>
            <ac:spMk id="42" creationId="{406707A2-1C5A-C3AD-1A5B-BDDB8B596A89}"/>
          </ac:spMkLst>
        </pc:spChg>
        <pc:spChg chg="add del mod topLvl">
          <ac:chgData name="Arav Barot" userId="2aabccd7-f410-4c9c-8764-2e3ea0dd7040" providerId="ADAL" clId="{6545EF83-34ED-4EBF-8118-20E7C988DC66}" dt="2023-11-03T15:22:19.060" v="17058" actId="478"/>
          <ac:spMkLst>
            <pc:docMk/>
            <pc:sldMk cId="3100430628" sldId="2147473146"/>
            <ac:spMk id="43" creationId="{B25C26AC-75E4-FD24-220D-09C9455A07B8}"/>
          </ac:spMkLst>
        </pc:spChg>
        <pc:spChg chg="add del mod topLvl">
          <ac:chgData name="Arav Barot" userId="2aabccd7-f410-4c9c-8764-2e3ea0dd7040" providerId="ADAL" clId="{6545EF83-34ED-4EBF-8118-20E7C988DC66}" dt="2023-11-03T15:22:19.060" v="17058" actId="478"/>
          <ac:spMkLst>
            <pc:docMk/>
            <pc:sldMk cId="3100430628" sldId="2147473146"/>
            <ac:spMk id="44" creationId="{493F1F50-6D1F-9272-8F44-77C957518C46}"/>
          </ac:spMkLst>
        </pc:spChg>
        <pc:spChg chg="add del mod topLvl">
          <ac:chgData name="Arav Barot" userId="2aabccd7-f410-4c9c-8764-2e3ea0dd7040" providerId="ADAL" clId="{6545EF83-34ED-4EBF-8118-20E7C988DC66}" dt="2023-11-03T15:22:19.060" v="17058" actId="478"/>
          <ac:spMkLst>
            <pc:docMk/>
            <pc:sldMk cId="3100430628" sldId="2147473146"/>
            <ac:spMk id="45" creationId="{5EE04BE1-021A-8542-FD08-7D4CB9AD54B2}"/>
          </ac:spMkLst>
        </pc:spChg>
        <pc:spChg chg="add del mod">
          <ac:chgData name="Arav Barot" userId="2aabccd7-f410-4c9c-8764-2e3ea0dd7040" providerId="ADAL" clId="{6545EF83-34ED-4EBF-8118-20E7C988DC66}" dt="2023-11-03T15:22:58.043" v="17063" actId="478"/>
          <ac:spMkLst>
            <pc:docMk/>
            <pc:sldMk cId="3100430628" sldId="2147473146"/>
            <ac:spMk id="46" creationId="{397F6946-E272-BCEF-DD43-D566157A337D}"/>
          </ac:spMkLst>
        </pc:spChg>
        <pc:spChg chg="add del mod topLvl">
          <ac:chgData name="Arav Barot" userId="2aabccd7-f410-4c9c-8764-2e3ea0dd7040" providerId="ADAL" clId="{6545EF83-34ED-4EBF-8118-20E7C988DC66}" dt="2023-11-03T15:28:17.721" v="17093" actId="164"/>
          <ac:spMkLst>
            <pc:docMk/>
            <pc:sldMk cId="3100430628" sldId="2147473146"/>
            <ac:spMk id="48" creationId="{A524666D-0035-F625-CB44-5D4E9D1F782C}"/>
          </ac:spMkLst>
        </pc:spChg>
        <pc:spChg chg="add mod">
          <ac:chgData name="Arav Barot" userId="2aabccd7-f410-4c9c-8764-2e3ea0dd7040" providerId="ADAL" clId="{6545EF83-34ED-4EBF-8118-20E7C988DC66}" dt="2023-11-03T15:39:28.638" v="17746" actId="20577"/>
          <ac:spMkLst>
            <pc:docMk/>
            <pc:sldMk cId="3100430628" sldId="2147473146"/>
            <ac:spMk id="54" creationId="{F9863674-5C88-CDB0-7D20-346E2B9D498D}"/>
          </ac:spMkLst>
        </pc:spChg>
        <pc:spChg chg="add mod">
          <ac:chgData name="Arav Barot" userId="2aabccd7-f410-4c9c-8764-2e3ea0dd7040" providerId="ADAL" clId="{6545EF83-34ED-4EBF-8118-20E7C988DC66}" dt="2023-11-10T11:57:17.022" v="29559" actId="20577"/>
          <ac:spMkLst>
            <pc:docMk/>
            <pc:sldMk cId="3100430628" sldId="2147473146"/>
            <ac:spMk id="55" creationId="{5007621D-BE1C-9A87-2796-E50CFD08106B}"/>
          </ac:spMkLst>
        </pc:spChg>
        <pc:spChg chg="add del mod">
          <ac:chgData name="Arav Barot" userId="2aabccd7-f410-4c9c-8764-2e3ea0dd7040" providerId="ADAL" clId="{6545EF83-34ED-4EBF-8118-20E7C988DC66}" dt="2023-11-03T16:20:16.656" v="18607"/>
          <ac:spMkLst>
            <pc:docMk/>
            <pc:sldMk cId="3100430628" sldId="2147473146"/>
            <ac:spMk id="56" creationId="{A80D6DB6-B061-7310-2A6C-20434EBEBC60}"/>
          </ac:spMkLst>
        </pc:spChg>
        <pc:grpChg chg="add del mod">
          <ac:chgData name="Arav Barot" userId="2aabccd7-f410-4c9c-8764-2e3ea0dd7040" providerId="ADAL" clId="{6545EF83-34ED-4EBF-8118-20E7C988DC66}" dt="2023-11-03T14:30:40.408" v="17023" actId="478"/>
          <ac:grpSpMkLst>
            <pc:docMk/>
            <pc:sldMk cId="3100430628" sldId="2147473146"/>
            <ac:grpSpMk id="10" creationId="{9CE9F323-CBBA-9636-7D2A-998DBD67C6D1}"/>
          </ac:grpSpMkLst>
        </pc:grpChg>
        <pc:grpChg chg="add del mod topLvl">
          <ac:chgData name="Arav Barot" userId="2aabccd7-f410-4c9c-8764-2e3ea0dd7040" providerId="ADAL" clId="{6545EF83-34ED-4EBF-8118-20E7C988DC66}" dt="2023-11-03T15:22:19.060" v="17058" actId="478"/>
          <ac:grpSpMkLst>
            <pc:docMk/>
            <pc:sldMk cId="3100430628" sldId="2147473146"/>
            <ac:grpSpMk id="22" creationId="{4FD535D6-6C60-2F47-5583-7A22560C404A}"/>
          </ac:grpSpMkLst>
        </pc:grpChg>
        <pc:grpChg chg="add del mod topLvl">
          <ac:chgData name="Arav Barot" userId="2aabccd7-f410-4c9c-8764-2e3ea0dd7040" providerId="ADAL" clId="{6545EF83-34ED-4EBF-8118-20E7C988DC66}" dt="2023-11-03T15:22:19.060" v="17058" actId="478"/>
          <ac:grpSpMkLst>
            <pc:docMk/>
            <pc:sldMk cId="3100430628" sldId="2147473146"/>
            <ac:grpSpMk id="25" creationId="{541BFA23-AC6A-A429-B170-A7F73EB1BED4}"/>
          </ac:grpSpMkLst>
        </pc:grpChg>
        <pc:grpChg chg="add del mod topLvl">
          <ac:chgData name="Arav Barot" userId="2aabccd7-f410-4c9c-8764-2e3ea0dd7040" providerId="ADAL" clId="{6545EF83-34ED-4EBF-8118-20E7C988DC66}" dt="2023-11-03T15:22:19.060" v="17058" actId="478"/>
          <ac:grpSpMkLst>
            <pc:docMk/>
            <pc:sldMk cId="3100430628" sldId="2147473146"/>
            <ac:grpSpMk id="33" creationId="{2C8E7F13-199B-07CF-F03D-D987A0008F53}"/>
          </ac:grpSpMkLst>
        </pc:grpChg>
        <pc:grpChg chg="add del mod topLvl">
          <ac:chgData name="Arav Barot" userId="2aabccd7-f410-4c9c-8764-2e3ea0dd7040" providerId="ADAL" clId="{6545EF83-34ED-4EBF-8118-20E7C988DC66}" dt="2023-11-03T15:22:19.060" v="17058" actId="478"/>
          <ac:grpSpMkLst>
            <pc:docMk/>
            <pc:sldMk cId="3100430628" sldId="2147473146"/>
            <ac:grpSpMk id="37" creationId="{58EC115F-BD02-FED6-D120-635BC4E1D4A3}"/>
          </ac:grpSpMkLst>
        </pc:grpChg>
        <pc:grpChg chg="add del mod">
          <ac:chgData name="Arav Barot" userId="2aabccd7-f410-4c9c-8764-2e3ea0dd7040" providerId="ADAL" clId="{6545EF83-34ED-4EBF-8118-20E7C988DC66}" dt="2023-11-03T14:59:46.769" v="17052" actId="165"/>
          <ac:grpSpMkLst>
            <pc:docMk/>
            <pc:sldMk cId="3100430628" sldId="2147473146"/>
            <ac:grpSpMk id="41" creationId="{E82FEEBA-B2D6-F564-4F76-EA25BAC94AD1}"/>
          </ac:grpSpMkLst>
        </pc:grpChg>
        <pc:grpChg chg="add del mod">
          <ac:chgData name="Arav Barot" userId="2aabccd7-f410-4c9c-8764-2e3ea0dd7040" providerId="ADAL" clId="{6545EF83-34ED-4EBF-8118-20E7C988DC66}" dt="2023-11-03T15:23:21.033" v="17066" actId="165"/>
          <ac:grpSpMkLst>
            <pc:docMk/>
            <pc:sldMk cId="3100430628" sldId="2147473146"/>
            <ac:grpSpMk id="47" creationId="{D8BC47B8-9F58-E101-1CB3-B077EF92363D}"/>
          </ac:grpSpMkLst>
        </pc:grpChg>
        <pc:grpChg chg="add mod">
          <ac:chgData name="Arav Barot" userId="2aabccd7-f410-4c9c-8764-2e3ea0dd7040" providerId="ADAL" clId="{6545EF83-34ED-4EBF-8118-20E7C988DC66}" dt="2023-11-03T17:05:33.123" v="21099" actId="14100"/>
          <ac:grpSpMkLst>
            <pc:docMk/>
            <pc:sldMk cId="3100430628" sldId="2147473146"/>
            <ac:grpSpMk id="53" creationId="{190F6CC2-1B60-C8C8-D234-73369E3CB17C}"/>
          </ac:grpSpMkLst>
        </pc:grpChg>
        <pc:picChg chg="add del mod topLvl">
          <ac:chgData name="Arav Barot" userId="2aabccd7-f410-4c9c-8764-2e3ea0dd7040" providerId="ADAL" clId="{6545EF83-34ED-4EBF-8118-20E7C988DC66}" dt="2023-11-03T15:22:19.060" v="17058" actId="478"/>
          <ac:picMkLst>
            <pc:docMk/>
            <pc:sldMk cId="3100430628" sldId="2147473146"/>
            <ac:picMk id="7" creationId="{2BFCB441-3264-B9F2-E9F3-53048A846F61}"/>
          </ac:picMkLst>
        </pc:picChg>
        <pc:picChg chg="add del mod topLvl">
          <ac:chgData name="Arav Barot" userId="2aabccd7-f410-4c9c-8764-2e3ea0dd7040" providerId="ADAL" clId="{6545EF83-34ED-4EBF-8118-20E7C988DC66}" dt="2023-11-03T15:22:19.060" v="17058" actId="478"/>
          <ac:picMkLst>
            <pc:docMk/>
            <pc:sldMk cId="3100430628" sldId="2147473146"/>
            <ac:picMk id="12" creationId="{D815BF3D-4024-6AE7-687E-4246BFEFE5E5}"/>
          </ac:picMkLst>
        </pc:picChg>
        <pc:picChg chg="add del mod topLvl">
          <ac:chgData name="Arav Barot" userId="2aabccd7-f410-4c9c-8764-2e3ea0dd7040" providerId="ADAL" clId="{6545EF83-34ED-4EBF-8118-20E7C988DC66}" dt="2023-11-03T15:22:19.060" v="17058" actId="478"/>
          <ac:picMkLst>
            <pc:docMk/>
            <pc:sldMk cId="3100430628" sldId="2147473146"/>
            <ac:picMk id="13" creationId="{CB362A64-5360-375E-D136-42EED41AC994}"/>
          </ac:picMkLst>
        </pc:picChg>
        <pc:picChg chg="add del mod topLvl">
          <ac:chgData name="Arav Barot" userId="2aabccd7-f410-4c9c-8764-2e3ea0dd7040" providerId="ADAL" clId="{6545EF83-34ED-4EBF-8118-20E7C988DC66}" dt="2023-11-03T15:22:19.060" v="17058" actId="478"/>
          <ac:picMkLst>
            <pc:docMk/>
            <pc:sldMk cId="3100430628" sldId="2147473146"/>
            <ac:picMk id="14" creationId="{49C96ECE-5A36-BF60-9AC6-FF741FDFC3A9}"/>
          </ac:picMkLst>
        </pc:picChg>
        <pc:picChg chg="add del mod topLvl">
          <ac:chgData name="Arav Barot" userId="2aabccd7-f410-4c9c-8764-2e3ea0dd7040" providerId="ADAL" clId="{6545EF83-34ED-4EBF-8118-20E7C988DC66}" dt="2023-11-03T15:22:19.060" v="17058" actId="478"/>
          <ac:picMkLst>
            <pc:docMk/>
            <pc:sldMk cId="3100430628" sldId="2147473146"/>
            <ac:picMk id="15" creationId="{8D10F4D7-3E0A-A108-4F19-FA299AA761C3}"/>
          </ac:picMkLst>
        </pc:picChg>
        <pc:picChg chg="mod">
          <ac:chgData name="Arav Barot" userId="2aabccd7-f410-4c9c-8764-2e3ea0dd7040" providerId="ADAL" clId="{6545EF83-34ED-4EBF-8118-20E7C988DC66}" dt="2023-11-03T14:59:46.769" v="17052" actId="165"/>
          <ac:picMkLst>
            <pc:docMk/>
            <pc:sldMk cId="3100430628" sldId="2147473146"/>
            <ac:picMk id="23" creationId="{8CDFCEB9-C035-D29C-452C-90A9A1E95714}"/>
          </ac:picMkLst>
        </pc:picChg>
        <pc:picChg chg="mod">
          <ac:chgData name="Arav Barot" userId="2aabccd7-f410-4c9c-8764-2e3ea0dd7040" providerId="ADAL" clId="{6545EF83-34ED-4EBF-8118-20E7C988DC66}" dt="2023-11-03T14:59:46.769" v="17052" actId="165"/>
          <ac:picMkLst>
            <pc:docMk/>
            <pc:sldMk cId="3100430628" sldId="2147473146"/>
            <ac:picMk id="26" creationId="{70890D2F-466F-EEFA-7C86-4EE558AE017F}"/>
          </ac:picMkLst>
        </pc:picChg>
        <pc:picChg chg="mod">
          <ac:chgData name="Arav Barot" userId="2aabccd7-f410-4c9c-8764-2e3ea0dd7040" providerId="ADAL" clId="{6545EF83-34ED-4EBF-8118-20E7C988DC66}" dt="2023-11-03T14:59:46.769" v="17052" actId="165"/>
          <ac:picMkLst>
            <pc:docMk/>
            <pc:sldMk cId="3100430628" sldId="2147473146"/>
            <ac:picMk id="34" creationId="{86BA98CE-395C-E7CC-ECF5-C05D1AD8FE02}"/>
          </ac:picMkLst>
        </pc:picChg>
        <pc:picChg chg="mod">
          <ac:chgData name="Arav Barot" userId="2aabccd7-f410-4c9c-8764-2e3ea0dd7040" providerId="ADAL" clId="{6545EF83-34ED-4EBF-8118-20E7C988DC66}" dt="2023-11-03T14:59:46.769" v="17052" actId="165"/>
          <ac:picMkLst>
            <pc:docMk/>
            <pc:sldMk cId="3100430628" sldId="2147473146"/>
            <ac:picMk id="35" creationId="{A199AA14-8C39-9457-E8E3-3DB9136A4C71}"/>
          </ac:picMkLst>
        </pc:picChg>
        <pc:picChg chg="mod">
          <ac:chgData name="Arav Barot" userId="2aabccd7-f410-4c9c-8764-2e3ea0dd7040" providerId="ADAL" clId="{6545EF83-34ED-4EBF-8118-20E7C988DC66}" dt="2023-11-03T14:59:46.769" v="17052" actId="165"/>
          <ac:picMkLst>
            <pc:docMk/>
            <pc:sldMk cId="3100430628" sldId="2147473146"/>
            <ac:picMk id="36" creationId="{54D0FB63-21CB-E812-2597-BA82CB8FF33C}"/>
          </ac:picMkLst>
        </pc:picChg>
        <pc:picChg chg="mod">
          <ac:chgData name="Arav Barot" userId="2aabccd7-f410-4c9c-8764-2e3ea0dd7040" providerId="ADAL" clId="{6545EF83-34ED-4EBF-8118-20E7C988DC66}" dt="2023-11-03T14:59:46.769" v="17052" actId="165"/>
          <ac:picMkLst>
            <pc:docMk/>
            <pc:sldMk cId="3100430628" sldId="2147473146"/>
            <ac:picMk id="38" creationId="{869E506A-DEDB-20E5-7F10-70DD9BDC28AF}"/>
          </ac:picMkLst>
        </pc:picChg>
        <pc:picChg chg="mod">
          <ac:chgData name="Arav Barot" userId="2aabccd7-f410-4c9c-8764-2e3ea0dd7040" providerId="ADAL" clId="{6545EF83-34ED-4EBF-8118-20E7C988DC66}" dt="2023-11-03T14:59:46.769" v="17052" actId="165"/>
          <ac:picMkLst>
            <pc:docMk/>
            <pc:sldMk cId="3100430628" sldId="2147473146"/>
            <ac:picMk id="39" creationId="{A8C49935-F347-8A70-D164-ACCC02FB0564}"/>
          </ac:picMkLst>
        </pc:picChg>
        <pc:picChg chg="del mod topLvl">
          <ac:chgData name="Arav Barot" userId="2aabccd7-f410-4c9c-8764-2e3ea0dd7040" providerId="ADAL" clId="{6545EF83-34ED-4EBF-8118-20E7C988DC66}" dt="2023-11-03T14:30:40.408" v="17023" actId="478"/>
          <ac:picMkLst>
            <pc:docMk/>
            <pc:sldMk cId="3100430628" sldId="2147473146"/>
            <ac:picMk id="40" creationId="{F0AA1A58-6467-CA25-AD82-C0803740BFDE}"/>
          </ac:picMkLst>
        </pc:picChg>
        <pc:picChg chg="add del mod topLvl">
          <ac:chgData name="Arav Barot" userId="2aabccd7-f410-4c9c-8764-2e3ea0dd7040" providerId="ADAL" clId="{6545EF83-34ED-4EBF-8118-20E7C988DC66}" dt="2023-11-03T15:23:29.227" v="17069" actId="478"/>
          <ac:picMkLst>
            <pc:docMk/>
            <pc:sldMk cId="3100430628" sldId="2147473146"/>
            <ac:picMk id="49" creationId="{514FD291-7AD2-73EC-058E-665963B96A13}"/>
          </ac:picMkLst>
        </pc:picChg>
        <pc:picChg chg="add del mod">
          <ac:chgData name="Arav Barot" userId="2aabccd7-f410-4c9c-8764-2e3ea0dd7040" providerId="ADAL" clId="{6545EF83-34ED-4EBF-8118-20E7C988DC66}" dt="2023-11-03T15:24:11.473" v="17077" actId="478"/>
          <ac:picMkLst>
            <pc:docMk/>
            <pc:sldMk cId="3100430628" sldId="2147473146"/>
            <ac:picMk id="50" creationId="{8F0B0066-B3FC-9A8D-271B-A4F553996D54}"/>
          </ac:picMkLst>
        </pc:picChg>
        <pc:picChg chg="add mod">
          <ac:chgData name="Arav Barot" userId="2aabccd7-f410-4c9c-8764-2e3ea0dd7040" providerId="ADAL" clId="{6545EF83-34ED-4EBF-8118-20E7C988DC66}" dt="2023-11-03T15:28:17.721" v="17093" actId="164"/>
          <ac:picMkLst>
            <pc:docMk/>
            <pc:sldMk cId="3100430628" sldId="2147473146"/>
            <ac:picMk id="52" creationId="{02A4D7E1-1DD6-777A-EF22-40D7789FE795}"/>
          </ac:picMkLst>
        </pc:picChg>
        <pc:cxnChg chg="add del mod topLvl">
          <ac:chgData name="Arav Barot" userId="2aabccd7-f410-4c9c-8764-2e3ea0dd7040" providerId="ADAL" clId="{6545EF83-34ED-4EBF-8118-20E7C988DC66}" dt="2023-11-03T15:22:19.060" v="17058" actId="478"/>
          <ac:cxnSpMkLst>
            <pc:docMk/>
            <pc:sldMk cId="3100430628" sldId="2147473146"/>
            <ac:cxnSpMk id="11" creationId="{E55F1801-D76C-0576-3595-FD43DD188AE7}"/>
          </ac:cxnSpMkLst>
        </pc:cxnChg>
        <pc:cxnChg chg="add del mod topLvl">
          <ac:chgData name="Arav Barot" userId="2aabccd7-f410-4c9c-8764-2e3ea0dd7040" providerId="ADAL" clId="{6545EF83-34ED-4EBF-8118-20E7C988DC66}" dt="2023-11-03T15:22:19.060" v="17058" actId="478"/>
          <ac:cxnSpMkLst>
            <pc:docMk/>
            <pc:sldMk cId="3100430628" sldId="2147473146"/>
            <ac:cxnSpMk id="16" creationId="{A36C5F03-90B4-3AEE-4E47-1BC6E3506382}"/>
          </ac:cxnSpMkLst>
        </pc:cxnChg>
        <pc:cxnChg chg="add del mod topLvl">
          <ac:chgData name="Arav Barot" userId="2aabccd7-f410-4c9c-8764-2e3ea0dd7040" providerId="ADAL" clId="{6545EF83-34ED-4EBF-8118-20E7C988DC66}" dt="2023-11-03T15:22:19.060" v="17058" actId="478"/>
          <ac:cxnSpMkLst>
            <pc:docMk/>
            <pc:sldMk cId="3100430628" sldId="2147473146"/>
            <ac:cxnSpMk id="17" creationId="{2886CE2C-D874-E4A5-D215-2E45942B1B3F}"/>
          </ac:cxnSpMkLst>
        </pc:cxnChg>
        <pc:cxnChg chg="add del mod topLvl">
          <ac:chgData name="Arav Barot" userId="2aabccd7-f410-4c9c-8764-2e3ea0dd7040" providerId="ADAL" clId="{6545EF83-34ED-4EBF-8118-20E7C988DC66}" dt="2023-11-03T15:22:19.060" v="17058" actId="478"/>
          <ac:cxnSpMkLst>
            <pc:docMk/>
            <pc:sldMk cId="3100430628" sldId="2147473146"/>
            <ac:cxnSpMk id="18" creationId="{050FEF75-B407-BC93-1E54-4D3DAF42FFF2}"/>
          </ac:cxnSpMkLst>
        </pc:cxnChg>
        <pc:cxnChg chg="add del mod topLvl">
          <ac:chgData name="Arav Barot" userId="2aabccd7-f410-4c9c-8764-2e3ea0dd7040" providerId="ADAL" clId="{6545EF83-34ED-4EBF-8118-20E7C988DC66}" dt="2023-11-03T15:22:19.060" v="17058" actId="478"/>
          <ac:cxnSpMkLst>
            <pc:docMk/>
            <pc:sldMk cId="3100430628" sldId="2147473146"/>
            <ac:cxnSpMk id="19" creationId="{51F6F2BE-174A-407E-AEED-EA825C1F548A}"/>
          </ac:cxnSpMkLst>
        </pc:cxnChg>
        <pc:cxnChg chg="add del mod topLvl">
          <ac:chgData name="Arav Barot" userId="2aabccd7-f410-4c9c-8764-2e3ea0dd7040" providerId="ADAL" clId="{6545EF83-34ED-4EBF-8118-20E7C988DC66}" dt="2023-11-03T15:22:19.060" v="17058" actId="478"/>
          <ac:cxnSpMkLst>
            <pc:docMk/>
            <pc:sldMk cId="3100430628" sldId="2147473146"/>
            <ac:cxnSpMk id="20" creationId="{3B26A915-84ED-79BC-C2D4-7DDBBFAA4BF9}"/>
          </ac:cxnSpMkLst>
        </pc:cxnChg>
        <pc:cxnChg chg="add del mod topLvl">
          <ac:chgData name="Arav Barot" userId="2aabccd7-f410-4c9c-8764-2e3ea0dd7040" providerId="ADAL" clId="{6545EF83-34ED-4EBF-8118-20E7C988DC66}" dt="2023-11-03T15:22:19.060" v="17058" actId="478"/>
          <ac:cxnSpMkLst>
            <pc:docMk/>
            <pc:sldMk cId="3100430628" sldId="2147473146"/>
            <ac:cxnSpMk id="21" creationId="{9775E8BB-F246-BA88-E279-6723C44915CC}"/>
          </ac:cxnSpMkLst>
        </pc:cxnChg>
        <pc:cxnChg chg="add del mod">
          <ac:chgData name="Arav Barot" userId="2aabccd7-f410-4c9c-8764-2e3ea0dd7040" providerId="ADAL" clId="{6545EF83-34ED-4EBF-8118-20E7C988DC66}" dt="2023-10-31T10:10:56.520" v="10205" actId="478"/>
          <ac:cxnSpMkLst>
            <pc:docMk/>
            <pc:sldMk cId="3100430628" sldId="2147473146"/>
            <ac:cxnSpMk id="31" creationId="{377D32F0-C6F9-0C69-50A8-461585222851}"/>
          </ac:cxnSpMkLst>
        </pc:cxnChg>
      </pc:sldChg>
      <pc:sldChg chg="addSp modSp new del mod modAnim">
        <pc:chgData name="Arav Barot" userId="2aabccd7-f410-4c9c-8764-2e3ea0dd7040" providerId="ADAL" clId="{6545EF83-34ED-4EBF-8118-20E7C988DC66}" dt="2023-10-31T10:18:51.924" v="10372" actId="47"/>
        <pc:sldMkLst>
          <pc:docMk/>
          <pc:sldMk cId="1474894879" sldId="2147473147"/>
        </pc:sldMkLst>
        <pc:spChg chg="mod">
          <ac:chgData name="Arav Barot" userId="2aabccd7-f410-4c9c-8764-2e3ea0dd7040" providerId="ADAL" clId="{6545EF83-34ED-4EBF-8118-20E7C988DC66}" dt="2023-10-31T10:12:04.745" v="10256" actId="20577"/>
          <ac:spMkLst>
            <pc:docMk/>
            <pc:sldMk cId="1474894879" sldId="2147473147"/>
            <ac:spMk id="3" creationId="{5208BCAD-C861-C66D-378B-29CA4145FBA8}"/>
          </ac:spMkLst>
        </pc:spChg>
        <pc:spChg chg="add mod">
          <ac:chgData name="Arav Barot" userId="2aabccd7-f410-4c9c-8764-2e3ea0dd7040" providerId="ADAL" clId="{6545EF83-34ED-4EBF-8118-20E7C988DC66}" dt="2023-10-31T10:12:33.447" v="10258" actId="1076"/>
          <ac:spMkLst>
            <pc:docMk/>
            <pc:sldMk cId="1474894879" sldId="2147473147"/>
            <ac:spMk id="7" creationId="{4E2C65F7-7505-4F7E-AF20-4A354CE05BDA}"/>
          </ac:spMkLst>
        </pc:spChg>
        <pc:spChg chg="add mod">
          <ac:chgData name="Arav Barot" userId="2aabccd7-f410-4c9c-8764-2e3ea0dd7040" providerId="ADAL" clId="{6545EF83-34ED-4EBF-8118-20E7C988DC66}" dt="2023-10-31T10:12:33.447" v="10258" actId="1076"/>
          <ac:spMkLst>
            <pc:docMk/>
            <pc:sldMk cId="1474894879" sldId="2147473147"/>
            <ac:spMk id="12" creationId="{17EEB743-D616-9761-24AE-446D81F3B508}"/>
          </ac:spMkLst>
        </pc:spChg>
        <pc:spChg chg="add mod">
          <ac:chgData name="Arav Barot" userId="2aabccd7-f410-4c9c-8764-2e3ea0dd7040" providerId="ADAL" clId="{6545EF83-34ED-4EBF-8118-20E7C988DC66}" dt="2023-10-31T10:12:33.447" v="10258" actId="1076"/>
          <ac:spMkLst>
            <pc:docMk/>
            <pc:sldMk cId="1474894879" sldId="2147473147"/>
            <ac:spMk id="13" creationId="{0005272F-2330-9773-3B7C-8E5D71E383E3}"/>
          </ac:spMkLst>
        </pc:spChg>
        <pc:spChg chg="add mod">
          <ac:chgData name="Arav Barot" userId="2aabccd7-f410-4c9c-8764-2e3ea0dd7040" providerId="ADAL" clId="{6545EF83-34ED-4EBF-8118-20E7C988DC66}" dt="2023-10-31T10:14:35.456" v="10289" actId="20577"/>
          <ac:spMkLst>
            <pc:docMk/>
            <pc:sldMk cId="1474894879" sldId="2147473147"/>
            <ac:spMk id="18" creationId="{0F78CD61-DD11-D189-5852-DD32720B0310}"/>
          </ac:spMkLst>
        </pc:spChg>
        <pc:spChg chg="mod">
          <ac:chgData name="Arav Barot" userId="2aabccd7-f410-4c9c-8764-2e3ea0dd7040" providerId="ADAL" clId="{6545EF83-34ED-4EBF-8118-20E7C988DC66}" dt="2023-10-31T10:15:06.258" v="10293" actId="1076"/>
          <ac:spMkLst>
            <pc:docMk/>
            <pc:sldMk cId="1474894879" sldId="2147473147"/>
            <ac:spMk id="23" creationId="{3A9EF37E-21BA-D1D4-0337-3F96E323076D}"/>
          </ac:spMkLst>
        </pc:spChg>
        <pc:spChg chg="add mod">
          <ac:chgData name="Arav Barot" userId="2aabccd7-f410-4c9c-8764-2e3ea0dd7040" providerId="ADAL" clId="{6545EF83-34ED-4EBF-8118-20E7C988DC66}" dt="2023-10-31T10:15:06.258" v="10293" actId="1076"/>
          <ac:spMkLst>
            <pc:docMk/>
            <pc:sldMk cId="1474894879" sldId="2147473147"/>
            <ac:spMk id="24" creationId="{0AF0E745-1AB9-F96E-DB4A-6AF4F974C8F5}"/>
          </ac:spMkLst>
        </pc:spChg>
        <pc:spChg chg="add mod">
          <ac:chgData name="Arav Barot" userId="2aabccd7-f410-4c9c-8764-2e3ea0dd7040" providerId="ADAL" clId="{6545EF83-34ED-4EBF-8118-20E7C988DC66}" dt="2023-10-31T10:16:42.856" v="10338" actId="1076"/>
          <ac:spMkLst>
            <pc:docMk/>
            <pc:sldMk cId="1474894879" sldId="2147473147"/>
            <ac:spMk id="25" creationId="{AF84AE93-E417-F109-0E04-F062A76D57BE}"/>
          </ac:spMkLst>
        </pc:spChg>
        <pc:grpChg chg="add mod">
          <ac:chgData name="Arav Barot" userId="2aabccd7-f410-4c9c-8764-2e3ea0dd7040" providerId="ADAL" clId="{6545EF83-34ED-4EBF-8118-20E7C988DC66}" dt="2023-10-31T10:12:33.447" v="10258" actId="1076"/>
          <ac:grpSpMkLst>
            <pc:docMk/>
            <pc:sldMk cId="1474894879" sldId="2147473147"/>
            <ac:grpSpMk id="14" creationId="{F1DD9316-D789-F3CA-ED57-7009841DECF6}"/>
          </ac:grpSpMkLst>
        </pc:grpChg>
        <pc:grpChg chg="add mod">
          <ac:chgData name="Arav Barot" userId="2aabccd7-f410-4c9c-8764-2e3ea0dd7040" providerId="ADAL" clId="{6545EF83-34ED-4EBF-8118-20E7C988DC66}" dt="2023-10-31T10:15:06.258" v="10293" actId="1076"/>
          <ac:grpSpMkLst>
            <pc:docMk/>
            <pc:sldMk cId="1474894879" sldId="2147473147"/>
            <ac:grpSpMk id="21" creationId="{272886E3-47FD-D275-9C4A-FFA5D4517791}"/>
          </ac:grpSpMkLst>
        </pc:grpChg>
        <pc:picChg chg="add mod">
          <ac:chgData name="Arav Barot" userId="2aabccd7-f410-4c9c-8764-2e3ea0dd7040" providerId="ADAL" clId="{6545EF83-34ED-4EBF-8118-20E7C988DC66}" dt="2023-10-31T10:12:33.447" v="10258" actId="1076"/>
          <ac:picMkLst>
            <pc:docMk/>
            <pc:sldMk cId="1474894879" sldId="2147473147"/>
            <ac:picMk id="8" creationId="{48C648C3-CC6A-045D-9C74-FD66006AAB01}"/>
          </ac:picMkLst>
        </pc:picChg>
        <pc:picChg chg="add mod">
          <ac:chgData name="Arav Barot" userId="2aabccd7-f410-4c9c-8764-2e3ea0dd7040" providerId="ADAL" clId="{6545EF83-34ED-4EBF-8118-20E7C988DC66}" dt="2023-10-31T10:12:33.447" v="10258" actId="1076"/>
          <ac:picMkLst>
            <pc:docMk/>
            <pc:sldMk cId="1474894879" sldId="2147473147"/>
            <ac:picMk id="10" creationId="{BF590467-AF67-C4C5-6F2E-2AEBAB62E079}"/>
          </ac:picMkLst>
        </pc:picChg>
        <pc:picChg chg="add mod">
          <ac:chgData name="Arav Barot" userId="2aabccd7-f410-4c9c-8764-2e3ea0dd7040" providerId="ADAL" clId="{6545EF83-34ED-4EBF-8118-20E7C988DC66}" dt="2023-10-31T10:12:33.447" v="10258" actId="1076"/>
          <ac:picMkLst>
            <pc:docMk/>
            <pc:sldMk cId="1474894879" sldId="2147473147"/>
            <ac:picMk id="11" creationId="{CC58CDA0-4BBA-7B36-CDD9-AF735163924A}"/>
          </ac:picMkLst>
        </pc:picChg>
        <pc:picChg chg="mod">
          <ac:chgData name="Arav Barot" userId="2aabccd7-f410-4c9c-8764-2e3ea0dd7040" providerId="ADAL" clId="{6545EF83-34ED-4EBF-8118-20E7C988DC66}" dt="2023-10-31T10:12:33.447" v="10258" actId="1076"/>
          <ac:picMkLst>
            <pc:docMk/>
            <pc:sldMk cId="1474894879" sldId="2147473147"/>
            <ac:picMk id="15" creationId="{C0C64A75-35A5-3259-BB01-3A4EA96C5A70}"/>
          </ac:picMkLst>
        </pc:picChg>
        <pc:picChg chg="mod">
          <ac:chgData name="Arav Barot" userId="2aabccd7-f410-4c9c-8764-2e3ea0dd7040" providerId="ADAL" clId="{6545EF83-34ED-4EBF-8118-20E7C988DC66}" dt="2023-10-31T10:12:33.447" v="10258" actId="1076"/>
          <ac:picMkLst>
            <pc:docMk/>
            <pc:sldMk cId="1474894879" sldId="2147473147"/>
            <ac:picMk id="16" creationId="{AE50513E-F03C-0A98-ED11-B4E75E5D2F38}"/>
          </ac:picMkLst>
        </pc:picChg>
        <pc:picChg chg="mod">
          <ac:chgData name="Arav Barot" userId="2aabccd7-f410-4c9c-8764-2e3ea0dd7040" providerId="ADAL" clId="{6545EF83-34ED-4EBF-8118-20E7C988DC66}" dt="2023-10-31T10:12:33.447" v="10258" actId="1076"/>
          <ac:picMkLst>
            <pc:docMk/>
            <pc:sldMk cId="1474894879" sldId="2147473147"/>
            <ac:picMk id="17" creationId="{4FD9040C-CBB7-960D-0415-C8A8B3FE2AE3}"/>
          </ac:picMkLst>
        </pc:picChg>
        <pc:picChg chg="add mod">
          <ac:chgData name="Arav Barot" userId="2aabccd7-f410-4c9c-8764-2e3ea0dd7040" providerId="ADAL" clId="{6545EF83-34ED-4EBF-8118-20E7C988DC66}" dt="2023-10-31T10:15:06.258" v="10293" actId="1076"/>
          <ac:picMkLst>
            <pc:docMk/>
            <pc:sldMk cId="1474894879" sldId="2147473147"/>
            <ac:picMk id="19" creationId="{FB7533A0-505E-701A-67B2-4A2C7903DA2C}"/>
          </ac:picMkLst>
        </pc:picChg>
        <pc:picChg chg="mod">
          <ac:chgData name="Arav Barot" userId="2aabccd7-f410-4c9c-8764-2e3ea0dd7040" providerId="ADAL" clId="{6545EF83-34ED-4EBF-8118-20E7C988DC66}" dt="2023-10-31T10:15:06.258" v="10293" actId="1076"/>
          <ac:picMkLst>
            <pc:docMk/>
            <pc:sldMk cId="1474894879" sldId="2147473147"/>
            <ac:picMk id="22" creationId="{FF26E5FB-D047-AF85-FF68-CC0D36894289}"/>
          </ac:picMkLst>
        </pc:picChg>
        <pc:cxnChg chg="add mod">
          <ac:chgData name="Arav Barot" userId="2aabccd7-f410-4c9c-8764-2e3ea0dd7040" providerId="ADAL" clId="{6545EF83-34ED-4EBF-8118-20E7C988DC66}" dt="2023-10-31T10:12:33.447" v="10258" actId="1076"/>
          <ac:cxnSpMkLst>
            <pc:docMk/>
            <pc:sldMk cId="1474894879" sldId="2147473147"/>
            <ac:cxnSpMk id="9" creationId="{232BEE4E-211B-2AAE-8FCA-84FCDCCB65E6}"/>
          </ac:cxnSpMkLst>
        </pc:cxnChg>
        <pc:cxnChg chg="add mod">
          <ac:chgData name="Arav Barot" userId="2aabccd7-f410-4c9c-8764-2e3ea0dd7040" providerId="ADAL" clId="{6545EF83-34ED-4EBF-8118-20E7C988DC66}" dt="2023-10-31T10:15:06.258" v="10293" actId="1076"/>
          <ac:cxnSpMkLst>
            <pc:docMk/>
            <pc:sldMk cId="1474894879" sldId="2147473147"/>
            <ac:cxnSpMk id="20" creationId="{2CE1EF5F-C390-2EE0-37B5-BA23237A3800}"/>
          </ac:cxnSpMkLst>
        </pc:cxnChg>
      </pc:sldChg>
      <pc:sldChg chg="addSp delSp modSp new mod ord modShow">
        <pc:chgData name="Arav Barot" userId="2aabccd7-f410-4c9c-8764-2e3ea0dd7040" providerId="ADAL" clId="{6545EF83-34ED-4EBF-8118-20E7C988DC66}" dt="2023-11-10T14:12:42.851" v="29574" actId="1076"/>
        <pc:sldMkLst>
          <pc:docMk/>
          <pc:sldMk cId="3433144530" sldId="2147473147"/>
        </pc:sldMkLst>
        <pc:spChg chg="del">
          <ac:chgData name="Arav Barot" userId="2aabccd7-f410-4c9c-8764-2e3ea0dd7040" providerId="ADAL" clId="{6545EF83-34ED-4EBF-8118-20E7C988DC66}" dt="2023-10-31T10:59:41.927" v="10408" actId="478"/>
          <ac:spMkLst>
            <pc:docMk/>
            <pc:sldMk cId="3433144530" sldId="2147473147"/>
            <ac:spMk id="3" creationId="{25E91E81-AA6D-E316-CBF4-41B365530213}"/>
          </ac:spMkLst>
        </pc:spChg>
        <pc:spChg chg="add mod">
          <ac:chgData name="Arav Barot" userId="2aabccd7-f410-4c9c-8764-2e3ea0dd7040" providerId="ADAL" clId="{6545EF83-34ED-4EBF-8118-20E7C988DC66}" dt="2023-11-03T13:42:18.061" v="14772" actId="34135"/>
          <ac:spMkLst>
            <pc:docMk/>
            <pc:sldMk cId="3433144530" sldId="2147473147"/>
            <ac:spMk id="3" creationId="{6BC961A1-F0F4-01F7-2D87-9C32DC9EB38C}"/>
          </ac:spMkLst>
        </pc:spChg>
        <pc:spChg chg="add mod">
          <ac:chgData name="Arav Barot" userId="2aabccd7-f410-4c9c-8764-2e3ea0dd7040" providerId="ADAL" clId="{6545EF83-34ED-4EBF-8118-20E7C988DC66}" dt="2023-11-10T14:12:42.851" v="29574" actId="1076"/>
          <ac:spMkLst>
            <pc:docMk/>
            <pc:sldMk cId="3433144530" sldId="2147473147"/>
            <ac:spMk id="9" creationId="{588FCCA0-4DDC-C988-FCEC-8EE8E5151D03}"/>
          </ac:spMkLst>
        </pc:spChg>
        <pc:spChg chg="add mod">
          <ac:chgData name="Arav Barot" userId="2aabccd7-f410-4c9c-8764-2e3ea0dd7040" providerId="ADAL" clId="{6545EF83-34ED-4EBF-8118-20E7C988DC66}" dt="2023-11-03T13:36:21.554" v="14714"/>
          <ac:spMkLst>
            <pc:docMk/>
            <pc:sldMk cId="3433144530" sldId="2147473147"/>
            <ac:spMk id="12" creationId="{DD5C830B-E65A-9723-DB95-A4C04482B2AC}"/>
          </ac:spMkLst>
        </pc:spChg>
        <pc:spChg chg="add mod">
          <ac:chgData name="Arav Barot" userId="2aabccd7-f410-4c9c-8764-2e3ea0dd7040" providerId="ADAL" clId="{6545EF83-34ED-4EBF-8118-20E7C988DC66}" dt="2023-11-03T13:36:21.554" v="14714"/>
          <ac:spMkLst>
            <pc:docMk/>
            <pc:sldMk cId="3433144530" sldId="2147473147"/>
            <ac:spMk id="13" creationId="{C133D29A-E8F7-9D76-4BF4-B71DAEBAA786}"/>
          </ac:spMkLst>
        </pc:spChg>
        <pc:spChg chg="add mod">
          <ac:chgData name="Arav Barot" userId="2aabccd7-f410-4c9c-8764-2e3ea0dd7040" providerId="ADAL" clId="{6545EF83-34ED-4EBF-8118-20E7C988DC66}" dt="2023-11-03T13:36:21.554" v="14714"/>
          <ac:spMkLst>
            <pc:docMk/>
            <pc:sldMk cId="3433144530" sldId="2147473147"/>
            <ac:spMk id="15" creationId="{B0741580-89FE-62ED-B21C-C4F41F7E0767}"/>
          </ac:spMkLst>
        </pc:spChg>
        <pc:spChg chg="add mod">
          <ac:chgData name="Arav Barot" userId="2aabccd7-f410-4c9c-8764-2e3ea0dd7040" providerId="ADAL" clId="{6545EF83-34ED-4EBF-8118-20E7C988DC66}" dt="2023-11-03T13:36:21.554" v="14714"/>
          <ac:spMkLst>
            <pc:docMk/>
            <pc:sldMk cId="3433144530" sldId="2147473147"/>
            <ac:spMk id="18" creationId="{440BFA7F-A923-BCD0-FD8E-30CA77FAD7F1}"/>
          </ac:spMkLst>
        </pc:spChg>
        <pc:graphicFrameChg chg="add del mod">
          <ac:chgData name="Arav Barot" userId="2aabccd7-f410-4c9c-8764-2e3ea0dd7040" providerId="ADAL" clId="{6545EF83-34ED-4EBF-8118-20E7C988DC66}" dt="2023-11-10T14:11:42.858" v="29573" actId="14100"/>
          <ac:graphicFrameMkLst>
            <pc:docMk/>
            <pc:sldMk cId="3433144530" sldId="2147473147"/>
            <ac:graphicFrameMk id="7" creationId="{01A41167-88C8-49F5-9F2A-1E9081FBD62F}"/>
          </ac:graphicFrameMkLst>
        </pc:graphicFrameChg>
        <pc:cxnChg chg="add del">
          <ac:chgData name="Arav Barot" userId="2aabccd7-f410-4c9c-8764-2e3ea0dd7040" providerId="ADAL" clId="{6545EF83-34ED-4EBF-8118-20E7C988DC66}" dt="2023-10-31T15:20:35.883" v="11163" actId="11529"/>
          <ac:cxnSpMkLst>
            <pc:docMk/>
            <pc:sldMk cId="3433144530" sldId="2147473147"/>
            <ac:cxnSpMk id="9" creationId="{BEE56EBE-DFCC-FE41-118D-98CC3BCB2D8A}"/>
          </ac:cxnSpMkLst>
        </pc:cxnChg>
        <pc:cxnChg chg="add mod">
          <ac:chgData name="Arav Barot" userId="2aabccd7-f410-4c9c-8764-2e3ea0dd7040" providerId="ADAL" clId="{6545EF83-34ED-4EBF-8118-20E7C988DC66}" dt="2023-11-03T13:36:21.554" v="14714"/>
          <ac:cxnSpMkLst>
            <pc:docMk/>
            <pc:sldMk cId="3433144530" sldId="2147473147"/>
            <ac:cxnSpMk id="11" creationId="{84756187-5758-68FA-B677-6DD97825AD9B}"/>
          </ac:cxnSpMkLst>
        </pc:cxnChg>
        <pc:cxnChg chg="add mod">
          <ac:chgData name="Arav Barot" userId="2aabccd7-f410-4c9c-8764-2e3ea0dd7040" providerId="ADAL" clId="{6545EF83-34ED-4EBF-8118-20E7C988DC66}" dt="2023-11-03T13:36:21.554" v="14714"/>
          <ac:cxnSpMkLst>
            <pc:docMk/>
            <pc:sldMk cId="3433144530" sldId="2147473147"/>
            <ac:cxnSpMk id="14" creationId="{0E7B1B07-9819-759C-EBD8-161ACFD17AD1}"/>
          </ac:cxnSpMkLst>
        </pc:cxnChg>
        <pc:cxnChg chg="add mod">
          <ac:chgData name="Arav Barot" userId="2aabccd7-f410-4c9c-8764-2e3ea0dd7040" providerId="ADAL" clId="{6545EF83-34ED-4EBF-8118-20E7C988DC66}" dt="2023-11-03T13:36:21.554" v="14714"/>
          <ac:cxnSpMkLst>
            <pc:docMk/>
            <pc:sldMk cId="3433144530" sldId="2147473147"/>
            <ac:cxnSpMk id="16" creationId="{99BFB4DF-FCE4-7529-127B-CC220C2CD595}"/>
          </ac:cxnSpMkLst>
        </pc:cxnChg>
      </pc:sldChg>
      <pc:sldChg chg="addSp modSp new mod ord modShow">
        <pc:chgData name="Arav Barot" userId="2aabccd7-f410-4c9c-8764-2e3ea0dd7040" providerId="ADAL" clId="{6545EF83-34ED-4EBF-8118-20E7C988DC66}" dt="2023-11-04T12:50:50.943" v="24016" actId="729"/>
        <pc:sldMkLst>
          <pc:docMk/>
          <pc:sldMk cId="1711726476" sldId="2147473148"/>
        </pc:sldMkLst>
        <pc:spChg chg="mod">
          <ac:chgData name="Arav Barot" userId="2aabccd7-f410-4c9c-8764-2e3ea0dd7040" providerId="ADAL" clId="{6545EF83-34ED-4EBF-8118-20E7C988DC66}" dt="2023-10-31T15:14:57.465" v="10792" actId="20577"/>
          <ac:spMkLst>
            <pc:docMk/>
            <pc:sldMk cId="1711726476" sldId="2147473148"/>
            <ac:spMk id="3" creationId="{A566D5D9-F14B-0C62-2EC3-627B4128499A}"/>
          </ac:spMkLst>
        </pc:spChg>
        <pc:spChg chg="add mod">
          <ac:chgData name="Arav Barot" userId="2aabccd7-f410-4c9c-8764-2e3ea0dd7040" providerId="ADAL" clId="{6545EF83-34ED-4EBF-8118-20E7C988DC66}" dt="2023-11-03T13:36:21.554" v="14714"/>
          <ac:spMkLst>
            <pc:docMk/>
            <pc:sldMk cId="1711726476" sldId="2147473148"/>
            <ac:spMk id="7" creationId="{0948C517-3F2E-EA49-1887-D9D0468CCB5A}"/>
          </ac:spMkLst>
        </pc:spChg>
        <pc:spChg chg="add mod">
          <ac:chgData name="Arav Barot" userId="2aabccd7-f410-4c9c-8764-2e3ea0dd7040" providerId="ADAL" clId="{6545EF83-34ED-4EBF-8118-20E7C988DC66}" dt="2023-11-03T13:42:09.239" v="14770" actId="34135"/>
          <ac:spMkLst>
            <pc:docMk/>
            <pc:sldMk cId="1711726476" sldId="2147473148"/>
            <ac:spMk id="8" creationId="{FE9561D6-3077-6DC2-2A9A-E8B1B200E44E}"/>
          </ac:spMkLst>
        </pc:spChg>
        <pc:spChg chg="add mod">
          <ac:chgData name="Arav Barot" userId="2aabccd7-f410-4c9c-8764-2e3ea0dd7040" providerId="ADAL" clId="{6545EF83-34ED-4EBF-8118-20E7C988DC66}" dt="2023-11-03T13:36:21.554" v="14714"/>
          <ac:spMkLst>
            <pc:docMk/>
            <pc:sldMk cId="1711726476" sldId="2147473148"/>
            <ac:spMk id="9" creationId="{E09E2AC3-613D-3AEC-6528-88BE82327118}"/>
          </ac:spMkLst>
        </pc:spChg>
      </pc:sldChg>
      <pc:sldChg chg="addSp delSp modSp new mod">
        <pc:chgData name="Arav Barot" userId="2aabccd7-f410-4c9c-8764-2e3ea0dd7040" providerId="ADAL" clId="{6545EF83-34ED-4EBF-8118-20E7C988DC66}" dt="2023-11-03T13:36:21.554" v="14714"/>
        <pc:sldMkLst>
          <pc:docMk/>
          <pc:sldMk cId="1342193621" sldId="2147473149"/>
        </pc:sldMkLst>
        <pc:spChg chg="del">
          <ac:chgData name="Arav Barot" userId="2aabccd7-f410-4c9c-8764-2e3ea0dd7040" providerId="ADAL" clId="{6545EF83-34ED-4EBF-8118-20E7C988DC66}" dt="2023-10-31T15:37:25.228" v="11447" actId="478"/>
          <ac:spMkLst>
            <pc:docMk/>
            <pc:sldMk cId="1342193621" sldId="2147473149"/>
            <ac:spMk id="3" creationId="{5FCDE4DE-456B-56AF-E60B-88185DED8B8C}"/>
          </ac:spMkLst>
        </pc:spChg>
        <pc:spChg chg="add mod">
          <ac:chgData name="Arav Barot" userId="2aabccd7-f410-4c9c-8764-2e3ea0dd7040" providerId="ADAL" clId="{6545EF83-34ED-4EBF-8118-20E7C988DC66}" dt="2023-11-03T13:36:21.554" v="14714"/>
          <ac:spMkLst>
            <pc:docMk/>
            <pc:sldMk cId="1342193621" sldId="2147473149"/>
            <ac:spMk id="7" creationId="{0EEE7BF5-31CA-0716-DD45-060947B40ACF}"/>
          </ac:spMkLst>
        </pc:spChg>
        <pc:spChg chg="add del mod">
          <ac:chgData name="Arav Barot" userId="2aabccd7-f410-4c9c-8764-2e3ea0dd7040" providerId="ADAL" clId="{6545EF83-34ED-4EBF-8118-20E7C988DC66}" dt="2023-10-31T15:40:33.889" v="11594"/>
          <ac:spMkLst>
            <pc:docMk/>
            <pc:sldMk cId="1342193621" sldId="2147473149"/>
            <ac:spMk id="8" creationId="{04D991E7-CB9E-9A66-4ABB-3F19E01E761E}"/>
          </ac:spMkLst>
        </pc:spChg>
        <pc:spChg chg="add mod">
          <ac:chgData name="Arav Barot" userId="2aabccd7-f410-4c9c-8764-2e3ea0dd7040" providerId="ADAL" clId="{6545EF83-34ED-4EBF-8118-20E7C988DC66}" dt="2023-11-03T13:36:21.554" v="14714"/>
          <ac:spMkLst>
            <pc:docMk/>
            <pc:sldMk cId="1342193621" sldId="2147473149"/>
            <ac:spMk id="9" creationId="{6D6A3413-0500-821D-EDAA-D6DDF8A3AB40}"/>
          </ac:spMkLst>
        </pc:spChg>
      </pc:sldChg>
      <pc:sldChg chg="addSp delSp modSp new mod">
        <pc:chgData name="Arav Barot" userId="2aabccd7-f410-4c9c-8764-2e3ea0dd7040" providerId="ADAL" clId="{6545EF83-34ED-4EBF-8118-20E7C988DC66}" dt="2023-11-04T12:45:45.674" v="23983" actId="242"/>
        <pc:sldMkLst>
          <pc:docMk/>
          <pc:sldMk cId="2836116360" sldId="2147473150"/>
        </pc:sldMkLst>
        <pc:spChg chg="mod">
          <ac:chgData name="Arav Barot" userId="2aabccd7-f410-4c9c-8764-2e3ea0dd7040" providerId="ADAL" clId="{6545EF83-34ED-4EBF-8118-20E7C988DC66}" dt="2023-11-03T21:13:39.786" v="23650" actId="20577"/>
          <ac:spMkLst>
            <pc:docMk/>
            <pc:sldMk cId="2836116360" sldId="2147473150"/>
            <ac:spMk id="2" creationId="{B9ED4CF6-5274-CBCE-2C4C-ACF38B52117E}"/>
          </ac:spMkLst>
        </pc:spChg>
        <pc:spChg chg="mod">
          <ac:chgData name="Arav Barot" userId="2aabccd7-f410-4c9c-8764-2e3ea0dd7040" providerId="ADAL" clId="{6545EF83-34ED-4EBF-8118-20E7C988DC66}" dt="2023-11-03T16:18:55.446" v="18591" actId="6549"/>
          <ac:spMkLst>
            <pc:docMk/>
            <pc:sldMk cId="2836116360" sldId="2147473150"/>
            <ac:spMk id="3" creationId="{CDC8E767-3DDA-8763-D404-B44FF493975E}"/>
          </ac:spMkLst>
        </pc:spChg>
        <pc:spChg chg="add del mod">
          <ac:chgData name="Arav Barot" userId="2aabccd7-f410-4c9c-8764-2e3ea0dd7040" providerId="ADAL" clId="{6545EF83-34ED-4EBF-8118-20E7C988DC66}" dt="2023-11-03T16:23:38.985" v="18904"/>
          <ac:spMkLst>
            <pc:docMk/>
            <pc:sldMk cId="2836116360" sldId="2147473150"/>
            <ac:spMk id="7" creationId="{A574A741-7236-B9CD-523F-F9A89D266A3F}"/>
          </ac:spMkLst>
        </pc:spChg>
        <pc:spChg chg="add mod">
          <ac:chgData name="Arav Barot" userId="2aabccd7-f410-4c9c-8764-2e3ea0dd7040" providerId="ADAL" clId="{6545EF83-34ED-4EBF-8118-20E7C988DC66}" dt="2023-11-03T13:40:11.200" v="14748" actId="34135"/>
          <ac:spMkLst>
            <pc:docMk/>
            <pc:sldMk cId="2836116360" sldId="2147473150"/>
            <ac:spMk id="8" creationId="{397F775A-624E-4FF5-4638-3F1FE0C52ACD}"/>
          </ac:spMkLst>
        </pc:spChg>
        <pc:spChg chg="add del mod">
          <ac:chgData name="Arav Barot" userId="2aabccd7-f410-4c9c-8764-2e3ea0dd7040" providerId="ADAL" clId="{6545EF83-34ED-4EBF-8118-20E7C988DC66}" dt="2023-11-02T08:26:10.693" v="12518" actId="478"/>
          <ac:spMkLst>
            <pc:docMk/>
            <pc:sldMk cId="2836116360" sldId="2147473150"/>
            <ac:spMk id="8" creationId="{D82B08B9-00FF-3716-AD41-E4FFC8598794}"/>
          </ac:spMkLst>
        </pc:spChg>
        <pc:spChg chg="add del mod">
          <ac:chgData name="Arav Barot" userId="2aabccd7-f410-4c9c-8764-2e3ea0dd7040" providerId="ADAL" clId="{6545EF83-34ED-4EBF-8118-20E7C988DC66}" dt="2023-11-03T16:23:41.965" v="18905" actId="478"/>
          <ac:spMkLst>
            <pc:docMk/>
            <pc:sldMk cId="2836116360" sldId="2147473150"/>
            <ac:spMk id="9" creationId="{E8A62934-3B5F-3C5E-990B-C4177809DF8A}"/>
          </ac:spMkLst>
        </pc:spChg>
        <pc:spChg chg="add del mod">
          <ac:chgData name="Arav Barot" userId="2aabccd7-f410-4c9c-8764-2e3ea0dd7040" providerId="ADAL" clId="{6545EF83-34ED-4EBF-8118-20E7C988DC66}" dt="2023-11-03T16:26:22.856" v="19023" actId="20577"/>
          <ac:spMkLst>
            <pc:docMk/>
            <pc:sldMk cId="2836116360" sldId="2147473150"/>
            <ac:spMk id="10" creationId="{E879F1F4-B29D-BD6C-1296-194B11741085}"/>
          </ac:spMkLst>
        </pc:spChg>
        <pc:spChg chg="add mod">
          <ac:chgData name="Arav Barot" userId="2aabccd7-f410-4c9c-8764-2e3ea0dd7040" providerId="ADAL" clId="{6545EF83-34ED-4EBF-8118-20E7C988DC66}" dt="2023-11-04T12:45:45.674" v="23983" actId="242"/>
          <ac:spMkLst>
            <pc:docMk/>
            <pc:sldMk cId="2836116360" sldId="2147473150"/>
            <ac:spMk id="11" creationId="{D435189A-188B-3209-3C31-8EFF9389871D}"/>
          </ac:spMkLst>
        </pc:spChg>
      </pc:sldChg>
      <pc:sldChg chg="addSp delSp modSp new mod ord setBg modShow">
        <pc:chgData name="Arav Barot" userId="2aabccd7-f410-4c9c-8764-2e3ea0dd7040" providerId="ADAL" clId="{6545EF83-34ED-4EBF-8118-20E7C988DC66}" dt="2023-11-14T09:06:59.523" v="29774" actId="729"/>
        <pc:sldMkLst>
          <pc:docMk/>
          <pc:sldMk cId="2252440996" sldId="2147473151"/>
        </pc:sldMkLst>
        <pc:spChg chg="mod">
          <ac:chgData name="Arav Barot" userId="2aabccd7-f410-4c9c-8764-2e3ea0dd7040" providerId="ADAL" clId="{6545EF83-34ED-4EBF-8118-20E7C988DC66}" dt="2023-11-03T12:48:58.981" v="13886" actId="20577"/>
          <ac:spMkLst>
            <pc:docMk/>
            <pc:sldMk cId="2252440996" sldId="2147473151"/>
            <ac:spMk id="2" creationId="{E2259D66-D25C-A8FC-6DF7-541F39638EEA}"/>
          </ac:spMkLst>
        </pc:spChg>
        <pc:spChg chg="mod">
          <ac:chgData name="Arav Barot" userId="2aabccd7-f410-4c9c-8764-2e3ea0dd7040" providerId="ADAL" clId="{6545EF83-34ED-4EBF-8118-20E7C988DC66}" dt="2023-11-02T12:47:24.868" v="13182" actId="20577"/>
          <ac:spMkLst>
            <pc:docMk/>
            <pc:sldMk cId="2252440996" sldId="2147473151"/>
            <ac:spMk id="3" creationId="{DC067B90-3939-899E-89E4-D6F28B7C273F}"/>
          </ac:spMkLst>
        </pc:spChg>
        <pc:spChg chg="add del mod">
          <ac:chgData name="Arav Barot" userId="2aabccd7-f410-4c9c-8764-2e3ea0dd7040" providerId="ADAL" clId="{6545EF83-34ED-4EBF-8118-20E7C988DC66}" dt="2023-11-03T12:44:26.087" v="13644" actId="478"/>
          <ac:spMkLst>
            <pc:docMk/>
            <pc:sldMk cId="2252440996" sldId="2147473151"/>
            <ac:spMk id="7" creationId="{71625AE7-EC62-BCC2-23B5-CFE01DB4DC98}"/>
          </ac:spMkLst>
        </pc:spChg>
        <pc:spChg chg="add del">
          <ac:chgData name="Arav Barot" userId="2aabccd7-f410-4c9c-8764-2e3ea0dd7040" providerId="ADAL" clId="{6545EF83-34ED-4EBF-8118-20E7C988DC66}" dt="2023-11-02T12:50:45.709" v="13224" actId="11529"/>
          <ac:spMkLst>
            <pc:docMk/>
            <pc:sldMk cId="2252440996" sldId="2147473151"/>
            <ac:spMk id="8" creationId="{A989D2C9-73B5-20A4-70CC-332FCE369601}"/>
          </ac:spMkLst>
        </pc:spChg>
        <pc:spChg chg="add del mod">
          <ac:chgData name="Arav Barot" userId="2aabccd7-f410-4c9c-8764-2e3ea0dd7040" providerId="ADAL" clId="{6545EF83-34ED-4EBF-8118-20E7C988DC66}" dt="2023-11-03T12:44:32.108" v="13646" actId="478"/>
          <ac:spMkLst>
            <pc:docMk/>
            <pc:sldMk cId="2252440996" sldId="2147473151"/>
            <ac:spMk id="9" creationId="{8ECD941B-1B34-680A-F772-A2DF27602683}"/>
          </ac:spMkLst>
        </pc:spChg>
        <pc:spChg chg="add del mod">
          <ac:chgData name="Arav Barot" userId="2aabccd7-f410-4c9c-8764-2e3ea0dd7040" providerId="ADAL" clId="{6545EF83-34ED-4EBF-8118-20E7C988DC66}" dt="2023-11-03T12:44:29.400" v="13645" actId="478"/>
          <ac:spMkLst>
            <pc:docMk/>
            <pc:sldMk cId="2252440996" sldId="2147473151"/>
            <ac:spMk id="10" creationId="{8FC0BEB2-750C-28E5-BAE4-0DA002E7617B}"/>
          </ac:spMkLst>
        </pc:spChg>
        <pc:spChg chg="add del mod">
          <ac:chgData name="Arav Barot" userId="2aabccd7-f410-4c9c-8764-2e3ea0dd7040" providerId="ADAL" clId="{6545EF83-34ED-4EBF-8118-20E7C988DC66}" dt="2023-11-02T12:53:43.739" v="13308" actId="478"/>
          <ac:spMkLst>
            <pc:docMk/>
            <pc:sldMk cId="2252440996" sldId="2147473151"/>
            <ac:spMk id="11" creationId="{38389861-3863-6C7E-584A-5634789F9C27}"/>
          </ac:spMkLst>
        </pc:spChg>
        <pc:spChg chg="add mod">
          <ac:chgData name="Arav Barot" userId="2aabccd7-f410-4c9c-8764-2e3ea0dd7040" providerId="ADAL" clId="{6545EF83-34ED-4EBF-8118-20E7C988DC66}" dt="2023-11-03T13:39:10.611" v="14734" actId="34135"/>
          <ac:spMkLst>
            <pc:docMk/>
            <pc:sldMk cId="2252440996" sldId="2147473151"/>
            <ac:spMk id="11" creationId="{F4E7D7F6-2B7C-D854-F55C-A82A43389599}"/>
          </ac:spMkLst>
        </pc:spChg>
        <pc:spChg chg="add del mod">
          <ac:chgData name="Arav Barot" userId="2aabccd7-f410-4c9c-8764-2e3ea0dd7040" providerId="ADAL" clId="{6545EF83-34ED-4EBF-8118-20E7C988DC66}" dt="2023-11-03T12:44:29.400" v="13645" actId="478"/>
          <ac:spMkLst>
            <pc:docMk/>
            <pc:sldMk cId="2252440996" sldId="2147473151"/>
            <ac:spMk id="12" creationId="{E998F91B-C669-FAE5-A008-F8C2BBA526FB}"/>
          </ac:spMkLst>
        </pc:spChg>
        <pc:spChg chg="add del mod">
          <ac:chgData name="Arav Barot" userId="2aabccd7-f410-4c9c-8764-2e3ea0dd7040" providerId="ADAL" clId="{6545EF83-34ED-4EBF-8118-20E7C988DC66}" dt="2023-11-03T12:44:29.400" v="13645" actId="478"/>
          <ac:spMkLst>
            <pc:docMk/>
            <pc:sldMk cId="2252440996" sldId="2147473151"/>
            <ac:spMk id="13" creationId="{6DCC95D0-3018-B325-A5B3-55C4BCC313A5}"/>
          </ac:spMkLst>
        </pc:spChg>
        <pc:spChg chg="add del mod">
          <ac:chgData name="Arav Barot" userId="2aabccd7-f410-4c9c-8764-2e3ea0dd7040" providerId="ADAL" clId="{6545EF83-34ED-4EBF-8118-20E7C988DC66}" dt="2023-11-03T12:44:29.400" v="13645" actId="478"/>
          <ac:spMkLst>
            <pc:docMk/>
            <pc:sldMk cId="2252440996" sldId="2147473151"/>
            <ac:spMk id="14" creationId="{CF87B434-B656-ED27-0666-D7DE1849977A}"/>
          </ac:spMkLst>
        </pc:spChg>
        <pc:spChg chg="add del mod">
          <ac:chgData name="Arav Barot" userId="2aabccd7-f410-4c9c-8764-2e3ea0dd7040" providerId="ADAL" clId="{6545EF83-34ED-4EBF-8118-20E7C988DC66}" dt="2023-11-03T12:44:29.400" v="13645" actId="478"/>
          <ac:spMkLst>
            <pc:docMk/>
            <pc:sldMk cId="2252440996" sldId="2147473151"/>
            <ac:spMk id="15" creationId="{4249E30B-C9FB-C5ED-81FF-88367D216642}"/>
          </ac:spMkLst>
        </pc:spChg>
        <pc:graphicFrameChg chg="add mod modGraphic">
          <ac:chgData name="Arav Barot" userId="2aabccd7-f410-4c9c-8764-2e3ea0dd7040" providerId="ADAL" clId="{6545EF83-34ED-4EBF-8118-20E7C988DC66}" dt="2023-11-07T08:56:23.011" v="24060" actId="1076"/>
          <ac:graphicFrameMkLst>
            <pc:docMk/>
            <pc:sldMk cId="2252440996" sldId="2147473151"/>
            <ac:graphicFrameMk id="8" creationId="{A458BE62-3036-9B29-2BAD-C1011335B1FE}"/>
          </ac:graphicFrameMkLst>
        </pc:graphicFrameChg>
      </pc:sldChg>
      <pc:sldChg chg="modSp new del mod">
        <pc:chgData name="Arav Barot" userId="2aabccd7-f410-4c9c-8764-2e3ea0dd7040" providerId="ADAL" clId="{6545EF83-34ED-4EBF-8118-20E7C988DC66}" dt="2023-11-03T15:54:09.505" v="17805" actId="47"/>
        <pc:sldMkLst>
          <pc:docMk/>
          <pc:sldMk cId="2472232563" sldId="2147473152"/>
        </pc:sldMkLst>
        <pc:spChg chg="mod">
          <ac:chgData name="Arav Barot" userId="2aabccd7-f410-4c9c-8764-2e3ea0dd7040" providerId="ADAL" clId="{6545EF83-34ED-4EBF-8118-20E7C988DC66}" dt="2023-11-03T13:36:21.554" v="14714"/>
          <ac:spMkLst>
            <pc:docMk/>
            <pc:sldMk cId="2472232563" sldId="2147473152"/>
            <ac:spMk id="3" creationId="{678A341C-622C-B713-C2EC-BE9DF7D0828D}"/>
          </ac:spMkLst>
        </pc:spChg>
      </pc:sldChg>
      <pc:sldChg chg="modSp add del mod">
        <pc:chgData name="Arav Barot" userId="2aabccd7-f410-4c9c-8764-2e3ea0dd7040" providerId="ADAL" clId="{6545EF83-34ED-4EBF-8118-20E7C988DC66}" dt="2023-11-03T21:27:55.272" v="23806" actId="47"/>
        <pc:sldMkLst>
          <pc:docMk/>
          <pc:sldMk cId="882639678" sldId="2147473153"/>
        </pc:sldMkLst>
        <pc:spChg chg="mod">
          <ac:chgData name="Arav Barot" userId="2aabccd7-f410-4c9c-8764-2e3ea0dd7040" providerId="ADAL" clId="{6545EF83-34ED-4EBF-8118-20E7C988DC66}" dt="2023-11-03T13:36:21.554" v="14714"/>
          <ac:spMkLst>
            <pc:docMk/>
            <pc:sldMk cId="882639678" sldId="2147473153"/>
            <ac:spMk id="3" creationId="{678A341C-622C-B713-C2EC-BE9DF7D0828D}"/>
          </ac:spMkLst>
        </pc:spChg>
      </pc:sldChg>
      <pc:sldChg chg="addSp delSp modSp new mod modNotesTx">
        <pc:chgData name="Arav Barot" userId="2aabccd7-f410-4c9c-8764-2e3ea0dd7040" providerId="ADAL" clId="{6545EF83-34ED-4EBF-8118-20E7C988DC66}" dt="2023-11-10T14:32:30.494" v="29641" actId="20577"/>
        <pc:sldMkLst>
          <pc:docMk/>
          <pc:sldMk cId="1994704970" sldId="2147473154"/>
        </pc:sldMkLst>
        <pc:spChg chg="mod">
          <ac:chgData name="Arav Barot" userId="2aabccd7-f410-4c9c-8764-2e3ea0dd7040" providerId="ADAL" clId="{6545EF83-34ED-4EBF-8118-20E7C988DC66}" dt="2023-11-03T12:51:49.328" v="13956" actId="20577"/>
          <ac:spMkLst>
            <pc:docMk/>
            <pc:sldMk cId="1994704970" sldId="2147473154"/>
            <ac:spMk id="2" creationId="{A7D5FEAA-4E6D-9B02-FB2B-642C17278AFA}"/>
          </ac:spMkLst>
        </pc:spChg>
        <pc:spChg chg="mod">
          <ac:chgData name="Arav Barot" userId="2aabccd7-f410-4c9c-8764-2e3ea0dd7040" providerId="ADAL" clId="{6545EF83-34ED-4EBF-8118-20E7C988DC66}" dt="2023-11-03T12:47:04.876" v="13862" actId="20577"/>
          <ac:spMkLst>
            <pc:docMk/>
            <pc:sldMk cId="1994704970" sldId="2147473154"/>
            <ac:spMk id="3" creationId="{151575FE-A76F-9E5C-6C02-E3745C174BDE}"/>
          </ac:spMkLst>
        </pc:spChg>
        <pc:spChg chg="add del mod">
          <ac:chgData name="Arav Barot" userId="2aabccd7-f410-4c9c-8764-2e3ea0dd7040" providerId="ADAL" clId="{6545EF83-34ED-4EBF-8118-20E7C988DC66}" dt="2023-11-03T13:49:41.427" v="14909" actId="478"/>
          <ac:spMkLst>
            <pc:docMk/>
            <pc:sldMk cId="1994704970" sldId="2147473154"/>
            <ac:spMk id="7" creationId="{22B07110-D0AF-ADF7-F336-A28FA837488D}"/>
          </ac:spMkLst>
        </pc:spChg>
        <pc:spChg chg="add del mod">
          <ac:chgData name="Arav Barot" userId="2aabccd7-f410-4c9c-8764-2e3ea0dd7040" providerId="ADAL" clId="{6545EF83-34ED-4EBF-8118-20E7C988DC66}" dt="2023-11-03T13:17:49.497" v="14470"/>
          <ac:spMkLst>
            <pc:docMk/>
            <pc:sldMk cId="1994704970" sldId="2147473154"/>
            <ac:spMk id="10" creationId="{DD320193-AECA-504E-4C23-404BF760F8BC}"/>
          </ac:spMkLst>
        </pc:spChg>
        <pc:spChg chg="add del mod">
          <ac:chgData name="Arav Barot" userId="2aabccd7-f410-4c9c-8764-2e3ea0dd7040" providerId="ADAL" clId="{6545EF83-34ED-4EBF-8118-20E7C988DC66}" dt="2023-11-03T13:52:49.315" v="14932" actId="478"/>
          <ac:spMkLst>
            <pc:docMk/>
            <pc:sldMk cId="1994704970" sldId="2147473154"/>
            <ac:spMk id="11" creationId="{F554CB20-9550-CBCD-2ACB-3E6A47DFC257}"/>
          </ac:spMkLst>
        </pc:spChg>
        <pc:spChg chg="add del mod">
          <ac:chgData name="Arav Barot" userId="2aabccd7-f410-4c9c-8764-2e3ea0dd7040" providerId="ADAL" clId="{6545EF83-34ED-4EBF-8118-20E7C988DC66}" dt="2023-11-03T13:20:35.418" v="14543" actId="478"/>
          <ac:spMkLst>
            <pc:docMk/>
            <pc:sldMk cId="1994704970" sldId="2147473154"/>
            <ac:spMk id="12" creationId="{DE61E66F-B245-8B61-6266-FE1D17102785}"/>
          </ac:spMkLst>
        </pc:spChg>
        <pc:spChg chg="add del mod">
          <ac:chgData name="Arav Barot" userId="2aabccd7-f410-4c9c-8764-2e3ea0dd7040" providerId="ADAL" clId="{6545EF83-34ED-4EBF-8118-20E7C988DC66}" dt="2023-11-03T13:52:46.221" v="14931" actId="478"/>
          <ac:spMkLst>
            <pc:docMk/>
            <pc:sldMk cId="1994704970" sldId="2147473154"/>
            <ac:spMk id="13" creationId="{554CB5BC-2DF4-20EE-587F-336CA551C1DC}"/>
          </ac:spMkLst>
        </pc:spChg>
        <pc:spChg chg="add mod">
          <ac:chgData name="Arav Barot" userId="2aabccd7-f410-4c9c-8764-2e3ea0dd7040" providerId="ADAL" clId="{6545EF83-34ED-4EBF-8118-20E7C988DC66}" dt="2023-11-03T13:38:53.556" v="14730" actId="34135"/>
          <ac:spMkLst>
            <pc:docMk/>
            <pc:sldMk cId="1994704970" sldId="2147473154"/>
            <ac:spMk id="14" creationId="{BC930F11-12AA-9D28-BA8F-6FAB3D058373}"/>
          </ac:spMkLst>
        </pc:spChg>
        <pc:spChg chg="add del mod">
          <ac:chgData name="Arav Barot" userId="2aabccd7-f410-4c9c-8764-2e3ea0dd7040" providerId="ADAL" clId="{6545EF83-34ED-4EBF-8118-20E7C988DC66}" dt="2023-11-03T13:39:48.914" v="14744"/>
          <ac:spMkLst>
            <pc:docMk/>
            <pc:sldMk cId="1994704970" sldId="2147473154"/>
            <ac:spMk id="15" creationId="{CF3BB146-170C-10C5-3CA8-1801D9965A0D}"/>
          </ac:spMkLst>
        </pc:spChg>
        <pc:spChg chg="add mod ord">
          <ac:chgData name="Arav Barot" userId="2aabccd7-f410-4c9c-8764-2e3ea0dd7040" providerId="ADAL" clId="{6545EF83-34ED-4EBF-8118-20E7C988DC66}" dt="2023-11-03T13:50:20.476" v="14915" actId="164"/>
          <ac:spMkLst>
            <pc:docMk/>
            <pc:sldMk cId="1994704970" sldId="2147473154"/>
            <ac:spMk id="16" creationId="{53000B99-93ED-DA45-222A-B3438C36F177}"/>
          </ac:spMkLst>
        </pc:spChg>
        <pc:spChg chg="add mod ord">
          <ac:chgData name="Arav Barot" userId="2aabccd7-f410-4c9c-8764-2e3ea0dd7040" providerId="ADAL" clId="{6545EF83-34ED-4EBF-8118-20E7C988DC66}" dt="2023-11-03T14:04:57.741" v="15491" actId="14100"/>
          <ac:spMkLst>
            <pc:docMk/>
            <pc:sldMk cId="1994704970" sldId="2147473154"/>
            <ac:spMk id="17" creationId="{96B4B88D-E829-89C3-74C4-7F1803FEAC2F}"/>
          </ac:spMkLst>
        </pc:spChg>
        <pc:spChg chg="add mod">
          <ac:chgData name="Arav Barot" userId="2aabccd7-f410-4c9c-8764-2e3ea0dd7040" providerId="ADAL" clId="{6545EF83-34ED-4EBF-8118-20E7C988DC66}" dt="2023-11-10T14:32:30.494" v="29641" actId="20577"/>
          <ac:spMkLst>
            <pc:docMk/>
            <pc:sldMk cId="1994704970" sldId="2147473154"/>
            <ac:spMk id="19" creationId="{5B212708-5FA3-8852-C454-AC8B1C4DA94C}"/>
          </ac:spMkLst>
        </pc:spChg>
        <pc:spChg chg="add del">
          <ac:chgData name="Arav Barot" userId="2aabccd7-f410-4c9c-8764-2e3ea0dd7040" providerId="ADAL" clId="{6545EF83-34ED-4EBF-8118-20E7C988DC66}" dt="2023-11-03T14:02:47.457" v="15178" actId="22"/>
          <ac:spMkLst>
            <pc:docMk/>
            <pc:sldMk cId="1994704970" sldId="2147473154"/>
            <ac:spMk id="21" creationId="{83F2431B-B40E-8003-09C7-17B9C9A2C5E9}"/>
          </ac:spMkLst>
        </pc:spChg>
        <pc:grpChg chg="add mod">
          <ac:chgData name="Arav Barot" userId="2aabccd7-f410-4c9c-8764-2e3ea0dd7040" providerId="ADAL" clId="{6545EF83-34ED-4EBF-8118-20E7C988DC66}" dt="2023-11-03T13:50:34.674" v="14918" actId="1076"/>
          <ac:grpSpMkLst>
            <pc:docMk/>
            <pc:sldMk cId="1994704970" sldId="2147473154"/>
            <ac:grpSpMk id="18" creationId="{E86E5CEB-7DFF-E7CE-79F8-BB41FD4B99D5}"/>
          </ac:grpSpMkLst>
        </pc:grpChg>
        <pc:picChg chg="add mod">
          <ac:chgData name="Arav Barot" userId="2aabccd7-f410-4c9c-8764-2e3ea0dd7040" providerId="ADAL" clId="{6545EF83-34ED-4EBF-8118-20E7C988DC66}" dt="2023-11-03T13:50:20.476" v="14915" actId="164"/>
          <ac:picMkLst>
            <pc:docMk/>
            <pc:sldMk cId="1994704970" sldId="2147473154"/>
            <ac:picMk id="9" creationId="{375ED59C-EDA4-004A-BD11-6FA618B92050}"/>
          </ac:picMkLst>
        </pc:picChg>
      </pc:sldChg>
      <pc:sldChg chg="addSp modSp add mod setBg modShow">
        <pc:chgData name="Arav Barot" userId="2aabccd7-f410-4c9c-8764-2e3ea0dd7040" providerId="ADAL" clId="{6545EF83-34ED-4EBF-8118-20E7C988DC66}" dt="2023-11-14T09:07:01.361" v="29775" actId="729"/>
        <pc:sldMkLst>
          <pc:docMk/>
          <pc:sldMk cId="389590637" sldId="2147473155"/>
        </pc:sldMkLst>
        <pc:spChg chg="add mod">
          <ac:chgData name="Arav Barot" userId="2aabccd7-f410-4c9c-8764-2e3ea0dd7040" providerId="ADAL" clId="{6545EF83-34ED-4EBF-8118-20E7C988DC66}" dt="2023-11-03T13:39:23.150" v="14736" actId="34135"/>
          <ac:spMkLst>
            <pc:docMk/>
            <pc:sldMk cId="389590637" sldId="2147473155"/>
            <ac:spMk id="7" creationId="{AFD904CB-3AEF-D905-6D50-5D78E9C9A40E}"/>
          </ac:spMkLst>
        </pc:spChg>
        <pc:graphicFrameChg chg="mod modGraphic">
          <ac:chgData name="Arav Barot" userId="2aabccd7-f410-4c9c-8764-2e3ea0dd7040" providerId="ADAL" clId="{6545EF83-34ED-4EBF-8118-20E7C988DC66}" dt="2023-11-07T15:37:47.697" v="27561" actId="20577"/>
          <ac:graphicFrameMkLst>
            <pc:docMk/>
            <pc:sldMk cId="389590637" sldId="2147473155"/>
            <ac:graphicFrameMk id="8" creationId="{A458BE62-3036-9B29-2BAD-C1011335B1FE}"/>
          </ac:graphicFrameMkLst>
        </pc:graphicFrameChg>
      </pc:sldChg>
      <pc:sldChg chg="modSp add del mod">
        <pc:chgData name="Arav Barot" userId="2aabccd7-f410-4c9c-8764-2e3ea0dd7040" providerId="ADAL" clId="{6545EF83-34ED-4EBF-8118-20E7C988DC66}" dt="2023-11-03T12:50:39.178" v="13928"/>
        <pc:sldMkLst>
          <pc:docMk/>
          <pc:sldMk cId="658468352" sldId="2147473156"/>
        </pc:sldMkLst>
        <pc:graphicFrameChg chg="modGraphic">
          <ac:chgData name="Arav Barot" userId="2aabccd7-f410-4c9c-8764-2e3ea0dd7040" providerId="ADAL" clId="{6545EF83-34ED-4EBF-8118-20E7C988DC66}" dt="2023-11-03T12:50:38.744" v="13927" actId="207"/>
          <ac:graphicFrameMkLst>
            <pc:docMk/>
            <pc:sldMk cId="658468352" sldId="2147473156"/>
            <ac:graphicFrameMk id="8" creationId="{A458BE62-3036-9B29-2BAD-C1011335B1FE}"/>
          </ac:graphicFrameMkLst>
        </pc:graphicFrameChg>
      </pc:sldChg>
      <pc:sldChg chg="addSp modSp add mod ord setBg">
        <pc:chgData name="Arav Barot" userId="2aabccd7-f410-4c9c-8764-2e3ea0dd7040" providerId="ADAL" clId="{6545EF83-34ED-4EBF-8118-20E7C988DC66}" dt="2023-11-07T15:37:29.719" v="27543" actId="20577"/>
        <pc:sldMkLst>
          <pc:docMk/>
          <pc:sldMk cId="1461363788" sldId="2147473156"/>
        </pc:sldMkLst>
        <pc:spChg chg="add mod">
          <ac:chgData name="Arav Barot" userId="2aabccd7-f410-4c9c-8764-2e3ea0dd7040" providerId="ADAL" clId="{6545EF83-34ED-4EBF-8118-20E7C988DC66}" dt="2023-11-03T13:39:43.816" v="14742" actId="34135"/>
          <ac:spMkLst>
            <pc:docMk/>
            <pc:sldMk cId="1461363788" sldId="2147473156"/>
            <ac:spMk id="7" creationId="{B4A08BCD-C7AB-BF51-6FC6-E65D9E0146CE}"/>
          </ac:spMkLst>
        </pc:spChg>
        <pc:graphicFrameChg chg="mod modGraphic">
          <ac:chgData name="Arav Barot" userId="2aabccd7-f410-4c9c-8764-2e3ea0dd7040" providerId="ADAL" clId="{6545EF83-34ED-4EBF-8118-20E7C988DC66}" dt="2023-11-07T15:37:29.719" v="27543" actId="20577"/>
          <ac:graphicFrameMkLst>
            <pc:docMk/>
            <pc:sldMk cId="1461363788" sldId="2147473156"/>
            <ac:graphicFrameMk id="8" creationId="{A458BE62-3036-9B29-2BAD-C1011335B1FE}"/>
          </ac:graphicFrameMkLst>
        </pc:graphicFrameChg>
      </pc:sldChg>
      <pc:sldChg chg="addSp delSp modSp add mod modNotesTx">
        <pc:chgData name="Arav Barot" userId="2aabccd7-f410-4c9c-8764-2e3ea0dd7040" providerId="ADAL" clId="{6545EF83-34ED-4EBF-8118-20E7C988DC66}" dt="2023-11-10T11:35:53.689" v="29552" actId="20577"/>
        <pc:sldMkLst>
          <pc:docMk/>
          <pc:sldMk cId="2933940914" sldId="2147473157"/>
        </pc:sldMkLst>
        <pc:spChg chg="mod">
          <ac:chgData name="Arav Barot" userId="2aabccd7-f410-4c9c-8764-2e3ea0dd7040" providerId="ADAL" clId="{6545EF83-34ED-4EBF-8118-20E7C988DC66}" dt="2023-11-03T14:05:38.909" v="15541" actId="20577"/>
          <ac:spMkLst>
            <pc:docMk/>
            <pc:sldMk cId="2933940914" sldId="2147473157"/>
            <ac:spMk id="3" creationId="{151575FE-A76F-9E5C-6C02-E3745C174BDE}"/>
          </ac:spMkLst>
        </pc:spChg>
        <pc:spChg chg="mod topLvl">
          <ac:chgData name="Arav Barot" userId="2aabccd7-f410-4c9c-8764-2e3ea0dd7040" providerId="ADAL" clId="{6545EF83-34ED-4EBF-8118-20E7C988DC66}" dt="2023-11-03T14:26:38.655" v="16717" actId="164"/>
          <ac:spMkLst>
            <pc:docMk/>
            <pc:sldMk cId="2933940914" sldId="2147473157"/>
            <ac:spMk id="16" creationId="{53000B99-93ED-DA45-222A-B3438C36F177}"/>
          </ac:spMkLst>
        </pc:spChg>
        <pc:spChg chg="mod">
          <ac:chgData name="Arav Barot" userId="2aabccd7-f410-4c9c-8764-2e3ea0dd7040" providerId="ADAL" clId="{6545EF83-34ED-4EBF-8118-20E7C988DC66}" dt="2023-11-03T14:35:46.567" v="17046" actId="20577"/>
          <ac:spMkLst>
            <pc:docMk/>
            <pc:sldMk cId="2933940914" sldId="2147473157"/>
            <ac:spMk id="17" creationId="{96B4B88D-E829-89C3-74C4-7F1803FEAC2F}"/>
          </ac:spMkLst>
        </pc:spChg>
        <pc:spChg chg="mod">
          <ac:chgData name="Arav Barot" userId="2aabccd7-f410-4c9c-8764-2e3ea0dd7040" providerId="ADAL" clId="{6545EF83-34ED-4EBF-8118-20E7C988DC66}" dt="2023-11-03T17:05:52.207" v="21102" actId="14100"/>
          <ac:spMkLst>
            <pc:docMk/>
            <pc:sldMk cId="2933940914" sldId="2147473157"/>
            <ac:spMk id="19" creationId="{5B212708-5FA3-8852-C454-AC8B1C4DA94C}"/>
          </ac:spMkLst>
        </pc:spChg>
        <pc:grpChg chg="add mod">
          <ac:chgData name="Arav Barot" userId="2aabccd7-f410-4c9c-8764-2e3ea0dd7040" providerId="ADAL" clId="{6545EF83-34ED-4EBF-8118-20E7C988DC66}" dt="2023-11-03T17:05:47.522" v="21101" actId="14100"/>
          <ac:grpSpMkLst>
            <pc:docMk/>
            <pc:sldMk cId="2933940914" sldId="2147473157"/>
            <ac:grpSpMk id="10" creationId="{0D0DE095-4B3F-9206-C483-43C02C1F1C80}"/>
          </ac:grpSpMkLst>
        </pc:grpChg>
        <pc:grpChg chg="del">
          <ac:chgData name="Arav Barot" userId="2aabccd7-f410-4c9c-8764-2e3ea0dd7040" providerId="ADAL" clId="{6545EF83-34ED-4EBF-8118-20E7C988DC66}" dt="2023-11-03T14:10:25.837" v="16177" actId="478"/>
          <ac:grpSpMkLst>
            <pc:docMk/>
            <pc:sldMk cId="2933940914" sldId="2147473157"/>
            <ac:grpSpMk id="18" creationId="{E86E5CEB-7DFF-E7CE-79F8-BB41FD4B99D5}"/>
          </ac:grpSpMkLst>
        </pc:grpChg>
        <pc:graphicFrameChg chg="add del modGraphic">
          <ac:chgData name="Arav Barot" userId="2aabccd7-f410-4c9c-8764-2e3ea0dd7040" providerId="ADAL" clId="{6545EF83-34ED-4EBF-8118-20E7C988DC66}" dt="2023-11-03T20:40:39.230" v="23043" actId="27309"/>
          <ac:graphicFrameMkLst>
            <pc:docMk/>
            <pc:sldMk cId="2933940914" sldId="2147473157"/>
            <ac:graphicFrameMk id="12" creationId="{066F2922-B8A8-37C7-0CE5-DA9C5D07CD21}"/>
          </ac:graphicFrameMkLst>
        </pc:graphicFrameChg>
        <pc:picChg chg="add mod">
          <ac:chgData name="Arav Barot" userId="2aabccd7-f410-4c9c-8764-2e3ea0dd7040" providerId="ADAL" clId="{6545EF83-34ED-4EBF-8118-20E7C988DC66}" dt="2023-11-03T14:34:53.657" v="17034" actId="14100"/>
          <ac:picMkLst>
            <pc:docMk/>
            <pc:sldMk cId="2933940914" sldId="2147473157"/>
            <ac:picMk id="8" creationId="{53B6485D-AF07-45B4-1A3B-026B704F85DD}"/>
          </ac:picMkLst>
        </pc:picChg>
        <pc:picChg chg="del topLvl">
          <ac:chgData name="Arav Barot" userId="2aabccd7-f410-4c9c-8764-2e3ea0dd7040" providerId="ADAL" clId="{6545EF83-34ED-4EBF-8118-20E7C988DC66}" dt="2023-11-03T14:10:25.837" v="16177" actId="478"/>
          <ac:picMkLst>
            <pc:docMk/>
            <pc:sldMk cId="2933940914" sldId="2147473157"/>
            <ac:picMk id="9" creationId="{375ED59C-EDA4-004A-BD11-6FA618B92050}"/>
          </ac:picMkLst>
        </pc:picChg>
      </pc:sldChg>
      <pc:sldChg chg="addSp delSp modSp new mod">
        <pc:chgData name="Arav Barot" userId="2aabccd7-f410-4c9c-8764-2e3ea0dd7040" providerId="ADAL" clId="{6545EF83-34ED-4EBF-8118-20E7C988DC66}" dt="2023-11-07T12:05:58.368" v="27101" actId="20577"/>
        <pc:sldMkLst>
          <pc:docMk/>
          <pc:sldMk cId="1667395650" sldId="2147473158"/>
        </pc:sldMkLst>
        <pc:spChg chg="mod">
          <ac:chgData name="Arav Barot" userId="2aabccd7-f410-4c9c-8764-2e3ea0dd7040" providerId="ADAL" clId="{6545EF83-34ED-4EBF-8118-20E7C988DC66}" dt="2023-11-07T12:05:58.368" v="27101" actId="20577"/>
          <ac:spMkLst>
            <pc:docMk/>
            <pc:sldMk cId="1667395650" sldId="2147473158"/>
            <ac:spMk id="3" creationId="{2C421CDF-87B4-67CE-FC60-171F8711FDDA}"/>
          </ac:spMkLst>
        </pc:spChg>
        <pc:picChg chg="add mod">
          <ac:chgData name="Arav Barot" userId="2aabccd7-f410-4c9c-8764-2e3ea0dd7040" providerId="ADAL" clId="{6545EF83-34ED-4EBF-8118-20E7C988DC66}" dt="2023-11-07T12:05:44.717" v="27054" actId="14100"/>
          <ac:picMkLst>
            <pc:docMk/>
            <pc:sldMk cId="1667395650" sldId="2147473158"/>
            <ac:picMk id="7" creationId="{200868C6-F020-2D6E-666C-73A07970E506}"/>
          </ac:picMkLst>
        </pc:picChg>
        <pc:picChg chg="add del mod">
          <ac:chgData name="Arav Barot" userId="2aabccd7-f410-4c9c-8764-2e3ea0dd7040" providerId="ADAL" clId="{6545EF83-34ED-4EBF-8118-20E7C988DC66}" dt="2023-11-07T12:05:41.266" v="27052" actId="478"/>
          <ac:picMkLst>
            <pc:docMk/>
            <pc:sldMk cId="1667395650" sldId="2147473158"/>
            <ac:picMk id="8" creationId="{20C1F325-A6B1-4111-453F-6DECF7C8FBC0}"/>
          </ac:picMkLst>
        </pc:picChg>
      </pc:sldChg>
      <pc:sldChg chg="modSp add mod ord setBg">
        <pc:chgData name="Arav Barot" userId="2aabccd7-f410-4c9c-8764-2e3ea0dd7040" providerId="ADAL" clId="{6545EF83-34ED-4EBF-8118-20E7C988DC66}" dt="2023-11-07T15:37:10.511" v="27525" actId="20577"/>
        <pc:sldMkLst>
          <pc:docMk/>
          <pc:sldMk cId="2115580233" sldId="2147473159"/>
        </pc:sldMkLst>
        <pc:graphicFrameChg chg="modGraphic">
          <ac:chgData name="Arav Barot" userId="2aabccd7-f410-4c9c-8764-2e3ea0dd7040" providerId="ADAL" clId="{6545EF83-34ED-4EBF-8118-20E7C988DC66}" dt="2023-11-07T15:37:10.511" v="27525" actId="20577"/>
          <ac:graphicFrameMkLst>
            <pc:docMk/>
            <pc:sldMk cId="2115580233" sldId="2147473159"/>
            <ac:graphicFrameMk id="8" creationId="{A458BE62-3036-9B29-2BAD-C1011335B1FE}"/>
          </ac:graphicFrameMkLst>
        </pc:graphicFrameChg>
      </pc:sldChg>
      <pc:sldChg chg="add del">
        <pc:chgData name="Arav Barot" userId="2aabccd7-f410-4c9c-8764-2e3ea0dd7040" providerId="ADAL" clId="{6545EF83-34ED-4EBF-8118-20E7C988DC66}" dt="2023-11-03T15:51:30.756" v="17789" actId="47"/>
        <pc:sldMkLst>
          <pc:docMk/>
          <pc:sldMk cId="3731922100" sldId="2147473159"/>
        </pc:sldMkLst>
      </pc:sldChg>
      <pc:sldChg chg="modSp add mod setBg">
        <pc:chgData name="Arav Barot" userId="2aabccd7-f410-4c9c-8764-2e3ea0dd7040" providerId="ADAL" clId="{6545EF83-34ED-4EBF-8118-20E7C988DC66}" dt="2023-11-07T15:36:44.925" v="27503" actId="20577"/>
        <pc:sldMkLst>
          <pc:docMk/>
          <pc:sldMk cId="3604445969" sldId="2147473160"/>
        </pc:sldMkLst>
        <pc:graphicFrameChg chg="modGraphic">
          <ac:chgData name="Arav Barot" userId="2aabccd7-f410-4c9c-8764-2e3ea0dd7040" providerId="ADAL" clId="{6545EF83-34ED-4EBF-8118-20E7C988DC66}" dt="2023-11-07T15:36:44.925" v="27503" actId="20577"/>
          <ac:graphicFrameMkLst>
            <pc:docMk/>
            <pc:sldMk cId="3604445969" sldId="2147473160"/>
            <ac:graphicFrameMk id="8" creationId="{A458BE62-3036-9B29-2BAD-C1011335B1FE}"/>
          </ac:graphicFrameMkLst>
        </pc:graphicFrameChg>
      </pc:sldChg>
      <pc:sldChg chg="addSp delSp modSp add mod">
        <pc:chgData name="Arav Barot" userId="2aabccd7-f410-4c9c-8764-2e3ea0dd7040" providerId="ADAL" clId="{6545EF83-34ED-4EBF-8118-20E7C988DC66}" dt="2023-11-10T16:25:56.094" v="29647"/>
        <pc:sldMkLst>
          <pc:docMk/>
          <pc:sldMk cId="2887313516" sldId="2147473161"/>
        </pc:sldMkLst>
        <pc:spChg chg="mod">
          <ac:chgData name="Arav Barot" userId="2aabccd7-f410-4c9c-8764-2e3ea0dd7040" providerId="ADAL" clId="{6545EF83-34ED-4EBF-8118-20E7C988DC66}" dt="2023-11-03T21:13:44.687" v="23651" actId="20577"/>
          <ac:spMkLst>
            <pc:docMk/>
            <pc:sldMk cId="2887313516" sldId="2147473161"/>
            <ac:spMk id="2" creationId="{B9ED4CF6-5274-CBCE-2C4C-ACF38B52117E}"/>
          </ac:spMkLst>
        </pc:spChg>
        <pc:spChg chg="mod">
          <ac:chgData name="Arav Barot" userId="2aabccd7-f410-4c9c-8764-2e3ea0dd7040" providerId="ADAL" clId="{6545EF83-34ED-4EBF-8118-20E7C988DC66}" dt="2023-11-03T16:41:22.117" v="19606" actId="20577"/>
          <ac:spMkLst>
            <pc:docMk/>
            <pc:sldMk cId="2887313516" sldId="2147473161"/>
            <ac:spMk id="3" creationId="{CDC8E767-3DDA-8763-D404-B44FF493975E}"/>
          </ac:spMkLst>
        </pc:spChg>
        <pc:spChg chg="mod">
          <ac:chgData name="Arav Barot" userId="2aabccd7-f410-4c9c-8764-2e3ea0dd7040" providerId="ADAL" clId="{6545EF83-34ED-4EBF-8118-20E7C988DC66}" dt="2023-11-03T16:47:09.691" v="19793" actId="20577"/>
          <ac:spMkLst>
            <pc:docMk/>
            <pc:sldMk cId="2887313516" sldId="2147473161"/>
            <ac:spMk id="10" creationId="{E879F1F4-B29D-BD6C-1296-194B11741085}"/>
          </ac:spMkLst>
        </pc:spChg>
        <pc:spChg chg="add del mod">
          <ac:chgData name="Arav Barot" userId="2aabccd7-f410-4c9c-8764-2e3ea0dd7040" providerId="ADAL" clId="{6545EF83-34ED-4EBF-8118-20E7C988DC66}" dt="2023-11-03T17:05:21.704" v="21098" actId="14100"/>
          <ac:spMkLst>
            <pc:docMk/>
            <pc:sldMk cId="2887313516" sldId="2147473161"/>
            <ac:spMk id="11" creationId="{D435189A-188B-3209-3C31-8EFF9389871D}"/>
          </ac:spMkLst>
        </pc:spChg>
        <pc:picChg chg="add mod">
          <ac:chgData name="Arav Barot" userId="2aabccd7-f410-4c9c-8764-2e3ea0dd7040" providerId="ADAL" clId="{6545EF83-34ED-4EBF-8118-20E7C988DC66}" dt="2023-11-03T16:56:34.797" v="20799" actId="1076"/>
          <ac:picMkLst>
            <pc:docMk/>
            <pc:sldMk cId="2887313516" sldId="2147473161"/>
            <ac:picMk id="9" creationId="{7AF43DDA-F4B6-2AFB-855D-899FC10BDA74}"/>
          </ac:picMkLst>
        </pc:picChg>
        <pc:inkChg chg="add">
          <ac:chgData name="Arav Barot" userId="2aabccd7-f410-4c9c-8764-2e3ea0dd7040" providerId="ADAL" clId="{6545EF83-34ED-4EBF-8118-20E7C988DC66}" dt="2023-11-10T16:25:56.094" v="29647"/>
          <ac:inkMkLst>
            <pc:docMk/>
            <pc:sldMk cId="2887313516" sldId="2147473161"/>
            <ac:inkMk id="7" creationId="{40FA0575-47F7-4999-09B5-ED3B446A15CF}"/>
          </ac:inkMkLst>
        </pc:inkChg>
      </pc:sldChg>
      <pc:sldChg chg="addSp delSp modSp add mod ord">
        <pc:chgData name="Arav Barot" userId="2aabccd7-f410-4c9c-8764-2e3ea0dd7040" providerId="ADAL" clId="{6545EF83-34ED-4EBF-8118-20E7C988DC66}" dt="2023-11-03T21:15:20.136" v="23655" actId="1076"/>
        <pc:sldMkLst>
          <pc:docMk/>
          <pc:sldMk cId="3700014627" sldId="2147473162"/>
        </pc:sldMkLst>
        <pc:spChg chg="mod">
          <ac:chgData name="Arav Barot" userId="2aabccd7-f410-4c9c-8764-2e3ea0dd7040" providerId="ADAL" clId="{6545EF83-34ED-4EBF-8118-20E7C988DC66}" dt="2023-11-03T17:42:31.722" v="22248" actId="20577"/>
          <ac:spMkLst>
            <pc:docMk/>
            <pc:sldMk cId="3700014627" sldId="2147473162"/>
            <ac:spMk id="2" creationId="{28398D24-1260-FA50-E9B8-57F8316BA5C0}"/>
          </ac:spMkLst>
        </pc:spChg>
        <pc:spChg chg="mod">
          <ac:chgData name="Arav Barot" userId="2aabccd7-f410-4c9c-8764-2e3ea0dd7040" providerId="ADAL" clId="{6545EF83-34ED-4EBF-8118-20E7C988DC66}" dt="2023-11-03T17:43:17.032" v="22318" actId="20577"/>
          <ac:spMkLst>
            <pc:docMk/>
            <pc:sldMk cId="3700014627" sldId="2147473162"/>
            <ac:spMk id="3" creationId="{18493CBC-A874-F2DB-AA26-AA788E46EFBC}"/>
          </ac:spMkLst>
        </pc:spChg>
        <pc:spChg chg="del">
          <ac:chgData name="Arav Barot" userId="2aabccd7-f410-4c9c-8764-2e3ea0dd7040" providerId="ADAL" clId="{6545EF83-34ED-4EBF-8118-20E7C988DC66}" dt="2023-11-03T17:06:54.895" v="21152" actId="478"/>
          <ac:spMkLst>
            <pc:docMk/>
            <pc:sldMk cId="3700014627" sldId="2147473162"/>
            <ac:spMk id="7" creationId="{83DBF058-54C8-0C54-BC76-7E63349ED74F}"/>
          </ac:spMkLst>
        </pc:spChg>
        <pc:spChg chg="del">
          <ac:chgData name="Arav Barot" userId="2aabccd7-f410-4c9c-8764-2e3ea0dd7040" providerId="ADAL" clId="{6545EF83-34ED-4EBF-8118-20E7C988DC66}" dt="2023-11-03T17:10:45.337" v="21222" actId="478"/>
          <ac:spMkLst>
            <pc:docMk/>
            <pc:sldMk cId="3700014627" sldId="2147473162"/>
            <ac:spMk id="8" creationId="{BD267A6C-BFC8-652B-2191-56AF47BE2F08}"/>
          </ac:spMkLst>
        </pc:spChg>
        <pc:spChg chg="del">
          <ac:chgData name="Arav Barot" userId="2aabccd7-f410-4c9c-8764-2e3ea0dd7040" providerId="ADAL" clId="{6545EF83-34ED-4EBF-8118-20E7C988DC66}" dt="2023-11-03T17:10:47.334" v="21223" actId="478"/>
          <ac:spMkLst>
            <pc:docMk/>
            <pc:sldMk cId="3700014627" sldId="2147473162"/>
            <ac:spMk id="10" creationId="{1F5B6ED7-2F30-56D8-8885-C0DA2F73DEAD}"/>
          </ac:spMkLst>
        </pc:spChg>
        <pc:spChg chg="add mod">
          <ac:chgData name="Arav Barot" userId="2aabccd7-f410-4c9c-8764-2e3ea0dd7040" providerId="ADAL" clId="{6545EF83-34ED-4EBF-8118-20E7C988DC66}" dt="2023-11-03T17:21:27.320" v="21533" actId="1076"/>
          <ac:spMkLst>
            <pc:docMk/>
            <pc:sldMk cId="3700014627" sldId="2147473162"/>
            <ac:spMk id="11" creationId="{3BA581DF-D8F3-DAC5-0677-8F930E2C3666}"/>
          </ac:spMkLst>
        </pc:spChg>
        <pc:spChg chg="add del mod">
          <ac:chgData name="Arav Barot" userId="2aabccd7-f410-4c9c-8764-2e3ea0dd7040" providerId="ADAL" clId="{6545EF83-34ED-4EBF-8118-20E7C988DC66}" dt="2023-11-03T20:44:08.401" v="23067" actId="478"/>
          <ac:spMkLst>
            <pc:docMk/>
            <pc:sldMk cId="3700014627" sldId="2147473162"/>
            <ac:spMk id="12" creationId="{735DFD9F-3B80-0272-2D99-D911FEA95728}"/>
          </ac:spMkLst>
        </pc:spChg>
        <pc:spChg chg="add mod">
          <ac:chgData name="Arav Barot" userId="2aabccd7-f410-4c9c-8764-2e3ea0dd7040" providerId="ADAL" clId="{6545EF83-34ED-4EBF-8118-20E7C988DC66}" dt="2023-11-03T17:38:40.865" v="22204" actId="1076"/>
          <ac:spMkLst>
            <pc:docMk/>
            <pc:sldMk cId="3700014627" sldId="2147473162"/>
            <ac:spMk id="13" creationId="{50C7AF31-C8A2-B677-97BD-36BF5C76B877}"/>
          </ac:spMkLst>
        </pc:spChg>
        <pc:spChg chg="add mod">
          <ac:chgData name="Arav Barot" userId="2aabccd7-f410-4c9c-8764-2e3ea0dd7040" providerId="ADAL" clId="{6545EF83-34ED-4EBF-8118-20E7C988DC66}" dt="2023-11-03T17:37:45.061" v="22193" actId="164"/>
          <ac:spMkLst>
            <pc:docMk/>
            <pc:sldMk cId="3700014627" sldId="2147473162"/>
            <ac:spMk id="14" creationId="{EBA7BA33-35BF-0556-D393-6DD72486A9B1}"/>
          </ac:spMkLst>
        </pc:spChg>
        <pc:spChg chg="add mod">
          <ac:chgData name="Arav Barot" userId="2aabccd7-f410-4c9c-8764-2e3ea0dd7040" providerId="ADAL" clId="{6545EF83-34ED-4EBF-8118-20E7C988DC66}" dt="2023-11-03T17:38:06.216" v="22195" actId="164"/>
          <ac:spMkLst>
            <pc:docMk/>
            <pc:sldMk cId="3700014627" sldId="2147473162"/>
            <ac:spMk id="18" creationId="{BC1A9E8F-21B7-5F4E-ED54-3E5A8B3D412C}"/>
          </ac:spMkLst>
        </pc:spChg>
        <pc:spChg chg="add mod">
          <ac:chgData name="Arav Barot" userId="2aabccd7-f410-4c9c-8764-2e3ea0dd7040" providerId="ADAL" clId="{6545EF83-34ED-4EBF-8118-20E7C988DC66}" dt="2023-11-03T17:38:14.934" v="22196" actId="164"/>
          <ac:spMkLst>
            <pc:docMk/>
            <pc:sldMk cId="3700014627" sldId="2147473162"/>
            <ac:spMk id="23" creationId="{020F2FD9-C870-A4A7-720A-160EA1DD2E77}"/>
          </ac:spMkLst>
        </pc:spChg>
        <pc:spChg chg="add mod">
          <ac:chgData name="Arav Barot" userId="2aabccd7-f410-4c9c-8764-2e3ea0dd7040" providerId="ADAL" clId="{6545EF83-34ED-4EBF-8118-20E7C988DC66}" dt="2023-11-03T21:15:20.136" v="23655" actId="1076"/>
          <ac:spMkLst>
            <pc:docMk/>
            <pc:sldMk cId="3700014627" sldId="2147473162"/>
            <ac:spMk id="58" creationId="{6DCCC2EA-2DE6-4137-419B-384E4F51C9E6}"/>
          </ac:spMkLst>
        </pc:spChg>
        <pc:spChg chg="add mod">
          <ac:chgData name="Arav Barot" userId="2aabccd7-f410-4c9c-8764-2e3ea0dd7040" providerId="ADAL" clId="{6545EF83-34ED-4EBF-8118-20E7C988DC66}" dt="2023-11-03T21:15:15.364" v="23654" actId="1076"/>
          <ac:spMkLst>
            <pc:docMk/>
            <pc:sldMk cId="3700014627" sldId="2147473162"/>
            <ac:spMk id="59" creationId="{F3B2B324-7DA7-4F53-5126-6C18539CC14D}"/>
          </ac:spMkLst>
        </pc:spChg>
        <pc:spChg chg="add mod">
          <ac:chgData name="Arav Barot" userId="2aabccd7-f410-4c9c-8764-2e3ea0dd7040" providerId="ADAL" clId="{6545EF83-34ED-4EBF-8118-20E7C988DC66}" dt="2023-11-03T21:15:01.688" v="23653" actId="1076"/>
          <ac:spMkLst>
            <pc:docMk/>
            <pc:sldMk cId="3700014627" sldId="2147473162"/>
            <ac:spMk id="60" creationId="{FBE796B2-8AEC-B0B9-3882-75C31DD4E184}"/>
          </ac:spMkLst>
        </pc:spChg>
        <pc:spChg chg="add mod">
          <ac:chgData name="Arav Barot" userId="2aabccd7-f410-4c9c-8764-2e3ea0dd7040" providerId="ADAL" clId="{6545EF83-34ED-4EBF-8118-20E7C988DC66}" dt="2023-11-03T17:38:14.934" v="22196" actId="164"/>
          <ac:spMkLst>
            <pc:docMk/>
            <pc:sldMk cId="3700014627" sldId="2147473162"/>
            <ac:spMk id="61" creationId="{7A28C35D-E11C-E221-6EC2-99A95F760AE5}"/>
          </ac:spMkLst>
        </pc:spChg>
        <pc:grpChg chg="add mod">
          <ac:chgData name="Arav Barot" userId="2aabccd7-f410-4c9c-8764-2e3ea0dd7040" providerId="ADAL" clId="{6545EF83-34ED-4EBF-8118-20E7C988DC66}" dt="2023-11-03T17:38:56.250" v="22206" actId="1076"/>
          <ac:grpSpMkLst>
            <pc:docMk/>
            <pc:sldMk cId="3700014627" sldId="2147473162"/>
            <ac:grpSpMk id="62" creationId="{38F8903D-32DC-C731-B0FC-84888B09C6FD}"/>
          </ac:grpSpMkLst>
        </pc:grpChg>
        <pc:grpChg chg="add mod">
          <ac:chgData name="Arav Barot" userId="2aabccd7-f410-4c9c-8764-2e3ea0dd7040" providerId="ADAL" clId="{6545EF83-34ED-4EBF-8118-20E7C988DC66}" dt="2023-11-03T17:39:17.612" v="22209" actId="1076"/>
          <ac:grpSpMkLst>
            <pc:docMk/>
            <pc:sldMk cId="3700014627" sldId="2147473162"/>
            <ac:grpSpMk id="65" creationId="{7B230263-5E93-34F7-9878-52F89FA4BB6D}"/>
          </ac:grpSpMkLst>
        </pc:grpChg>
        <pc:grpChg chg="add mod">
          <ac:chgData name="Arav Barot" userId="2aabccd7-f410-4c9c-8764-2e3ea0dd7040" providerId="ADAL" clId="{6545EF83-34ED-4EBF-8118-20E7C988DC66}" dt="2023-11-03T17:38:31.060" v="22198" actId="1076"/>
          <ac:grpSpMkLst>
            <pc:docMk/>
            <pc:sldMk cId="3700014627" sldId="2147473162"/>
            <ac:grpSpMk id="68" creationId="{F276CE97-0F4A-B845-AAF0-CD67DCCBE0BA}"/>
          </ac:grpSpMkLst>
        </pc:grpChg>
        <pc:grpChg chg="add mod">
          <ac:chgData name="Arav Barot" userId="2aabccd7-f410-4c9c-8764-2e3ea0dd7040" providerId="ADAL" clId="{6545EF83-34ED-4EBF-8118-20E7C988DC66}" dt="2023-11-03T17:38:19.448" v="22197" actId="1076"/>
          <ac:grpSpMkLst>
            <pc:docMk/>
            <pc:sldMk cId="3700014627" sldId="2147473162"/>
            <ac:grpSpMk id="71" creationId="{14E3A925-CA30-D69D-23AC-F2AB6342F746}"/>
          </ac:grpSpMkLst>
        </pc:grpChg>
        <pc:cxnChg chg="add mod">
          <ac:chgData name="Arav Barot" userId="2aabccd7-f410-4c9c-8764-2e3ea0dd7040" providerId="ADAL" clId="{6545EF83-34ED-4EBF-8118-20E7C988DC66}" dt="2023-11-03T17:39:17.612" v="22209" actId="1076"/>
          <ac:cxnSpMkLst>
            <pc:docMk/>
            <pc:sldMk cId="3700014627" sldId="2147473162"/>
            <ac:cxnSpMk id="16" creationId="{B6000E5F-972B-044C-EC2A-5E2180B92823}"/>
          </ac:cxnSpMkLst>
        </pc:cxnChg>
        <pc:cxnChg chg="add mod">
          <ac:chgData name="Arav Barot" userId="2aabccd7-f410-4c9c-8764-2e3ea0dd7040" providerId="ADAL" clId="{6545EF83-34ED-4EBF-8118-20E7C988DC66}" dt="2023-11-03T17:39:17.612" v="22209" actId="1076"/>
          <ac:cxnSpMkLst>
            <pc:docMk/>
            <pc:sldMk cId="3700014627" sldId="2147473162"/>
            <ac:cxnSpMk id="20" creationId="{114707C4-BD65-F6EF-958C-5226D4D5D543}"/>
          </ac:cxnSpMkLst>
        </pc:cxnChg>
        <pc:cxnChg chg="add mod">
          <ac:chgData name="Arav Barot" userId="2aabccd7-f410-4c9c-8764-2e3ea0dd7040" providerId="ADAL" clId="{6545EF83-34ED-4EBF-8118-20E7C988DC66}" dt="2023-11-03T17:38:31.060" v="22198" actId="1076"/>
          <ac:cxnSpMkLst>
            <pc:docMk/>
            <pc:sldMk cId="3700014627" sldId="2147473162"/>
            <ac:cxnSpMk id="54" creationId="{8B067B53-272B-1029-0E12-180A7F5292DC}"/>
          </ac:cxnSpMkLst>
        </pc:cxnChg>
      </pc:sldChg>
      <pc:sldChg chg="modSp add mod setBg">
        <pc:chgData name="Arav Barot" userId="2aabccd7-f410-4c9c-8764-2e3ea0dd7040" providerId="ADAL" clId="{6545EF83-34ED-4EBF-8118-20E7C988DC66}" dt="2023-11-07T15:36:18.831" v="27477" actId="20577"/>
        <pc:sldMkLst>
          <pc:docMk/>
          <pc:sldMk cId="3942461327" sldId="2147473163"/>
        </pc:sldMkLst>
        <pc:graphicFrameChg chg="modGraphic">
          <ac:chgData name="Arav Barot" userId="2aabccd7-f410-4c9c-8764-2e3ea0dd7040" providerId="ADAL" clId="{6545EF83-34ED-4EBF-8118-20E7C988DC66}" dt="2023-11-07T15:36:18.831" v="27477" actId="20577"/>
          <ac:graphicFrameMkLst>
            <pc:docMk/>
            <pc:sldMk cId="3942461327" sldId="2147473163"/>
            <ac:graphicFrameMk id="8" creationId="{A458BE62-3036-9B29-2BAD-C1011335B1FE}"/>
          </ac:graphicFrameMkLst>
        </pc:graphicFrameChg>
      </pc:sldChg>
      <pc:sldChg chg="add del setBg">
        <pc:chgData name="Arav Barot" userId="2aabccd7-f410-4c9c-8764-2e3ea0dd7040" providerId="ADAL" clId="{6545EF83-34ED-4EBF-8118-20E7C988DC66}" dt="2023-11-04T12:35:35.160" v="23899"/>
        <pc:sldMkLst>
          <pc:docMk/>
          <pc:sldMk cId="1979193675" sldId="2147473164"/>
        </pc:sldMkLst>
      </pc:sldChg>
      <pc:sldChg chg="modSp add mod setBg">
        <pc:chgData name="Arav Barot" userId="2aabccd7-f410-4c9c-8764-2e3ea0dd7040" providerId="ADAL" clId="{6545EF83-34ED-4EBF-8118-20E7C988DC66}" dt="2023-11-04T12:52:08.489" v="24022" actId="403"/>
        <pc:sldMkLst>
          <pc:docMk/>
          <pc:sldMk cId="2340397703" sldId="2147473164"/>
        </pc:sldMkLst>
        <pc:graphicFrameChg chg="modGraphic">
          <ac:chgData name="Arav Barot" userId="2aabccd7-f410-4c9c-8764-2e3ea0dd7040" providerId="ADAL" clId="{6545EF83-34ED-4EBF-8118-20E7C988DC66}" dt="2023-11-04T12:52:08.489" v="24022" actId="403"/>
          <ac:graphicFrameMkLst>
            <pc:docMk/>
            <pc:sldMk cId="2340397703" sldId="2147473164"/>
            <ac:graphicFrameMk id="8" creationId="{A458BE62-3036-9B29-2BAD-C1011335B1FE}"/>
          </ac:graphicFrameMkLst>
        </pc:graphicFrameChg>
      </pc:sldChg>
      <pc:sldChg chg="add del">
        <pc:chgData name="Arav Barot" userId="2aabccd7-f410-4c9c-8764-2e3ea0dd7040" providerId="ADAL" clId="{6545EF83-34ED-4EBF-8118-20E7C988DC66}" dt="2023-11-04T12:36:17.757" v="23929" actId="47"/>
        <pc:sldMkLst>
          <pc:docMk/>
          <pc:sldMk cId="2416018940" sldId="2147473164"/>
        </pc:sldMkLst>
      </pc:sldChg>
      <pc:sldChg chg="new del">
        <pc:chgData name="Arav Barot" userId="2aabccd7-f410-4c9c-8764-2e3ea0dd7040" providerId="ADAL" clId="{6545EF83-34ED-4EBF-8118-20E7C988DC66}" dt="2023-11-04T12:35:29.413" v="23897" actId="47"/>
        <pc:sldMkLst>
          <pc:docMk/>
          <pc:sldMk cId="3108074587" sldId="2147473164"/>
        </pc:sldMkLst>
      </pc:sldChg>
      <pc:sldChg chg="new del">
        <pc:chgData name="Arav Barot" userId="2aabccd7-f410-4c9c-8764-2e3ea0dd7040" providerId="ADAL" clId="{6545EF83-34ED-4EBF-8118-20E7C988DC66}" dt="2023-11-04T12:50:42.821" v="24015" actId="47"/>
        <pc:sldMkLst>
          <pc:docMk/>
          <pc:sldMk cId="3201850623" sldId="2147473164"/>
        </pc:sldMkLst>
      </pc:sldChg>
      <pc:sldChg chg="addSp delSp modSp add mod">
        <pc:chgData name="Arav Barot" userId="2aabccd7-f410-4c9c-8764-2e3ea0dd7040" providerId="ADAL" clId="{6545EF83-34ED-4EBF-8118-20E7C988DC66}" dt="2023-11-07T08:56:48.940" v="24067" actId="403"/>
        <pc:sldMkLst>
          <pc:docMk/>
          <pc:sldMk cId="1208467510" sldId="2147473165"/>
        </pc:sldMkLst>
        <pc:graphicFrameChg chg="add mod modGraphic">
          <ac:chgData name="Arav Barot" userId="2aabccd7-f410-4c9c-8764-2e3ea0dd7040" providerId="ADAL" clId="{6545EF83-34ED-4EBF-8118-20E7C988DC66}" dt="2023-11-07T08:56:48.940" v="24067" actId="403"/>
          <ac:graphicFrameMkLst>
            <pc:docMk/>
            <pc:sldMk cId="1208467510" sldId="2147473165"/>
            <ac:graphicFrameMk id="7" creationId="{0537CC1C-57CA-F7F8-EB9C-11FF26669BCC}"/>
          </ac:graphicFrameMkLst>
        </pc:graphicFrameChg>
        <pc:graphicFrameChg chg="del">
          <ac:chgData name="Arav Barot" userId="2aabccd7-f410-4c9c-8764-2e3ea0dd7040" providerId="ADAL" clId="{6545EF83-34ED-4EBF-8118-20E7C988DC66}" dt="2023-11-07T08:56:15.699" v="24059" actId="478"/>
          <ac:graphicFrameMkLst>
            <pc:docMk/>
            <pc:sldMk cId="1208467510" sldId="2147473165"/>
            <ac:graphicFrameMk id="8" creationId="{A458BE62-3036-9B29-2BAD-C1011335B1FE}"/>
          </ac:graphicFrameMkLst>
        </pc:graphicFrameChg>
      </pc:sldChg>
      <pc:sldChg chg="addSp delSp modSp new mod modShow">
        <pc:chgData name="Arav Barot" userId="2aabccd7-f410-4c9c-8764-2e3ea0dd7040" providerId="ADAL" clId="{6545EF83-34ED-4EBF-8118-20E7C988DC66}" dt="2023-11-07T15:53:04.839" v="28766" actId="1076"/>
        <pc:sldMkLst>
          <pc:docMk/>
          <pc:sldMk cId="685667255" sldId="2147473166"/>
        </pc:sldMkLst>
        <pc:spChg chg="mod">
          <ac:chgData name="Arav Barot" userId="2aabccd7-f410-4c9c-8764-2e3ea0dd7040" providerId="ADAL" clId="{6545EF83-34ED-4EBF-8118-20E7C988DC66}" dt="2023-11-07T08:57:37.973" v="24088" actId="20577"/>
          <ac:spMkLst>
            <pc:docMk/>
            <pc:sldMk cId="685667255" sldId="2147473166"/>
            <ac:spMk id="2" creationId="{C17794AD-D951-85B0-D20A-AF1467060A1C}"/>
          </ac:spMkLst>
        </pc:spChg>
        <pc:spChg chg="mod">
          <ac:chgData name="Arav Barot" userId="2aabccd7-f410-4c9c-8764-2e3ea0dd7040" providerId="ADAL" clId="{6545EF83-34ED-4EBF-8118-20E7C988DC66}" dt="2023-11-07T15:45:55.435" v="28431" actId="20577"/>
          <ac:spMkLst>
            <pc:docMk/>
            <pc:sldMk cId="685667255" sldId="2147473166"/>
            <ac:spMk id="3" creationId="{E91B9828-BEA6-40E8-77A0-7CF18F111FF1}"/>
          </ac:spMkLst>
        </pc:spChg>
        <pc:spChg chg="add mod">
          <ac:chgData name="Arav Barot" userId="2aabccd7-f410-4c9c-8764-2e3ea0dd7040" providerId="ADAL" clId="{6545EF83-34ED-4EBF-8118-20E7C988DC66}" dt="2023-11-07T15:51:05.604" v="28762" actId="20577"/>
          <ac:spMkLst>
            <pc:docMk/>
            <pc:sldMk cId="685667255" sldId="2147473166"/>
            <ac:spMk id="7" creationId="{5740C6BA-E7C6-9AD5-0E14-45642B2051B5}"/>
          </ac:spMkLst>
        </pc:spChg>
        <pc:spChg chg="add del mod">
          <ac:chgData name="Arav Barot" userId="2aabccd7-f410-4c9c-8764-2e3ea0dd7040" providerId="ADAL" clId="{6545EF83-34ED-4EBF-8118-20E7C988DC66}" dt="2023-11-07T12:01:49.729" v="26994" actId="478"/>
          <ac:spMkLst>
            <pc:docMk/>
            <pc:sldMk cId="685667255" sldId="2147473166"/>
            <ac:spMk id="7" creationId="{F3352A44-8C1A-8B3B-6789-855AE837A72F}"/>
          </ac:spMkLst>
        </pc:spChg>
        <pc:spChg chg="add mod">
          <ac:chgData name="Arav Barot" userId="2aabccd7-f410-4c9c-8764-2e3ea0dd7040" providerId="ADAL" clId="{6545EF83-34ED-4EBF-8118-20E7C988DC66}" dt="2023-11-07T15:46:38.670" v="28474" actId="20577"/>
          <ac:spMkLst>
            <pc:docMk/>
            <pc:sldMk cId="685667255" sldId="2147473166"/>
            <ac:spMk id="8" creationId="{36F8D5D5-6C2C-A75A-BD3B-813FB1E651AC}"/>
          </ac:spMkLst>
        </pc:spChg>
        <pc:spChg chg="add del mod">
          <ac:chgData name="Arav Barot" userId="2aabccd7-f410-4c9c-8764-2e3ea0dd7040" providerId="ADAL" clId="{6545EF83-34ED-4EBF-8118-20E7C988DC66}" dt="2023-11-07T08:58:39.476" v="24121" actId="478"/>
          <ac:spMkLst>
            <pc:docMk/>
            <pc:sldMk cId="685667255" sldId="2147473166"/>
            <ac:spMk id="8" creationId="{F460B97D-CF10-46A9-843F-82D172322AFE}"/>
          </ac:spMkLst>
        </pc:spChg>
        <pc:spChg chg="add mod">
          <ac:chgData name="Arav Barot" userId="2aabccd7-f410-4c9c-8764-2e3ea0dd7040" providerId="ADAL" clId="{6545EF83-34ED-4EBF-8118-20E7C988DC66}" dt="2023-11-07T15:48:05.783" v="28545" actId="313"/>
          <ac:spMkLst>
            <pc:docMk/>
            <pc:sldMk cId="685667255" sldId="2147473166"/>
            <ac:spMk id="9" creationId="{6582BFD7-D747-8994-DDF3-6C4593AA62D4}"/>
          </ac:spMkLst>
        </pc:spChg>
        <pc:spChg chg="add del mod">
          <ac:chgData name="Arav Barot" userId="2aabccd7-f410-4c9c-8764-2e3ea0dd7040" providerId="ADAL" clId="{6545EF83-34ED-4EBF-8118-20E7C988DC66}" dt="2023-11-07T09:08:50.353" v="24173" actId="767"/>
          <ac:spMkLst>
            <pc:docMk/>
            <pc:sldMk cId="685667255" sldId="2147473166"/>
            <ac:spMk id="9" creationId="{F49C724E-B110-D92E-8FF1-6DD3E9DC3FFD}"/>
          </ac:spMkLst>
        </pc:spChg>
        <pc:spChg chg="add mod">
          <ac:chgData name="Arav Barot" userId="2aabccd7-f410-4c9c-8764-2e3ea0dd7040" providerId="ADAL" clId="{6545EF83-34ED-4EBF-8118-20E7C988DC66}" dt="2023-11-07T15:46:22.058" v="28434" actId="1076"/>
          <ac:spMkLst>
            <pc:docMk/>
            <pc:sldMk cId="685667255" sldId="2147473166"/>
            <ac:spMk id="10" creationId="{EE69DFA5-F47E-9E2E-034D-24AE7DFFB739}"/>
          </ac:spMkLst>
        </pc:spChg>
        <pc:spChg chg="add del mod">
          <ac:chgData name="Arav Barot" userId="2aabccd7-f410-4c9c-8764-2e3ea0dd7040" providerId="ADAL" clId="{6545EF83-34ED-4EBF-8118-20E7C988DC66}" dt="2023-11-07T12:03:25.683" v="27029" actId="478"/>
          <ac:spMkLst>
            <pc:docMk/>
            <pc:sldMk cId="685667255" sldId="2147473166"/>
            <ac:spMk id="11" creationId="{B8220C8B-6158-B1CB-B22A-663E077B12C5}"/>
          </ac:spMkLst>
        </pc:spChg>
        <pc:picChg chg="add mod">
          <ac:chgData name="Arav Barot" userId="2aabccd7-f410-4c9c-8764-2e3ea0dd7040" providerId="ADAL" clId="{6545EF83-34ED-4EBF-8118-20E7C988DC66}" dt="2023-11-07T15:53:04.839" v="28766" actId="1076"/>
          <ac:picMkLst>
            <pc:docMk/>
            <pc:sldMk cId="685667255" sldId="2147473166"/>
            <ac:picMk id="12" creationId="{AC2929E1-D06D-95A2-CF79-DB58B6B22FEC}"/>
          </ac:picMkLst>
        </pc:picChg>
        <pc:picChg chg="add del mod">
          <ac:chgData name="Arav Barot" userId="2aabccd7-f410-4c9c-8764-2e3ea0dd7040" providerId="ADAL" clId="{6545EF83-34ED-4EBF-8118-20E7C988DC66}" dt="2023-11-07T12:03:23.642" v="27028"/>
          <ac:picMkLst>
            <pc:docMk/>
            <pc:sldMk cId="685667255" sldId="2147473166"/>
            <ac:picMk id="13" creationId="{656736AB-C183-9AA5-D86B-E463588483B9}"/>
          </ac:picMkLst>
        </pc:picChg>
      </pc:sldChg>
      <pc:sldChg chg="addSp delSp modSp new mod modShow">
        <pc:chgData name="Arav Barot" userId="2aabccd7-f410-4c9c-8764-2e3ea0dd7040" providerId="ADAL" clId="{6545EF83-34ED-4EBF-8118-20E7C988DC66}" dt="2023-11-07T15:22:02.589" v="27434" actId="729"/>
        <pc:sldMkLst>
          <pc:docMk/>
          <pc:sldMk cId="3924617425" sldId="2147473167"/>
        </pc:sldMkLst>
        <pc:spChg chg="mod">
          <ac:chgData name="Arav Barot" userId="2aabccd7-f410-4c9c-8764-2e3ea0dd7040" providerId="ADAL" clId="{6545EF83-34ED-4EBF-8118-20E7C988DC66}" dt="2023-11-07T10:00:00.365" v="25552" actId="20577"/>
          <ac:spMkLst>
            <pc:docMk/>
            <pc:sldMk cId="3924617425" sldId="2147473167"/>
            <ac:spMk id="2" creationId="{E5DDB4B4-7CCB-45FE-C9B9-AABBC1FABB93}"/>
          </ac:spMkLst>
        </pc:spChg>
        <pc:spChg chg="mod">
          <ac:chgData name="Arav Barot" userId="2aabccd7-f410-4c9c-8764-2e3ea0dd7040" providerId="ADAL" clId="{6545EF83-34ED-4EBF-8118-20E7C988DC66}" dt="2023-11-07T09:14:59.140" v="24572" actId="20577"/>
          <ac:spMkLst>
            <pc:docMk/>
            <pc:sldMk cId="3924617425" sldId="2147473167"/>
            <ac:spMk id="3" creationId="{D543B3AB-EB46-5960-0A90-141CE9B2D618}"/>
          </ac:spMkLst>
        </pc:spChg>
        <pc:spChg chg="add mod">
          <ac:chgData name="Arav Barot" userId="2aabccd7-f410-4c9c-8764-2e3ea0dd7040" providerId="ADAL" clId="{6545EF83-34ED-4EBF-8118-20E7C988DC66}" dt="2023-11-07T12:03:58.518" v="27035" actId="14100"/>
          <ac:spMkLst>
            <pc:docMk/>
            <pc:sldMk cId="3924617425" sldId="2147473167"/>
            <ac:spMk id="7" creationId="{28346AD0-9E14-1A3D-82D3-BE50A4173FC0}"/>
          </ac:spMkLst>
        </pc:spChg>
        <pc:spChg chg="mod">
          <ac:chgData name="Arav Barot" userId="2aabccd7-f410-4c9c-8764-2e3ea0dd7040" providerId="ADAL" clId="{6545EF83-34ED-4EBF-8118-20E7C988DC66}" dt="2023-11-07T09:39:36.497" v="25463" actId="20577"/>
          <ac:spMkLst>
            <pc:docMk/>
            <pc:sldMk cId="3924617425" sldId="2147473167"/>
            <ac:spMk id="9" creationId="{45E6582B-129E-BC36-387C-CC9A0D3E57B6}"/>
          </ac:spMkLst>
        </pc:spChg>
        <pc:spChg chg="mod">
          <ac:chgData name="Arav Barot" userId="2aabccd7-f410-4c9c-8764-2e3ea0dd7040" providerId="ADAL" clId="{6545EF83-34ED-4EBF-8118-20E7C988DC66}" dt="2023-11-07T09:38:45.862" v="25369" actId="20577"/>
          <ac:spMkLst>
            <pc:docMk/>
            <pc:sldMk cId="3924617425" sldId="2147473167"/>
            <ac:spMk id="10" creationId="{CF5A16AE-0DB4-6FBE-A0DF-B8B24D1A5030}"/>
          </ac:spMkLst>
        </pc:spChg>
        <pc:spChg chg="mod">
          <ac:chgData name="Arav Barot" userId="2aabccd7-f410-4c9c-8764-2e3ea0dd7040" providerId="ADAL" clId="{6545EF83-34ED-4EBF-8118-20E7C988DC66}" dt="2023-11-07T09:36:52.350" v="25151" actId="242"/>
          <ac:spMkLst>
            <pc:docMk/>
            <pc:sldMk cId="3924617425" sldId="2147473167"/>
            <ac:spMk id="13" creationId="{A6AB0C58-2F11-0DFF-229E-699BD1208EB1}"/>
          </ac:spMkLst>
        </pc:spChg>
        <pc:spChg chg="mod">
          <ac:chgData name="Arav Barot" userId="2aabccd7-f410-4c9c-8764-2e3ea0dd7040" providerId="ADAL" clId="{6545EF83-34ED-4EBF-8118-20E7C988DC66}" dt="2023-11-07T09:27:58.602" v="24575"/>
          <ac:spMkLst>
            <pc:docMk/>
            <pc:sldMk cId="3924617425" sldId="2147473167"/>
            <ac:spMk id="14" creationId="{B32DB338-9EF7-A6F6-7CB0-71A4D10E94D0}"/>
          </ac:spMkLst>
        </pc:spChg>
        <pc:spChg chg="mod">
          <ac:chgData name="Arav Barot" userId="2aabccd7-f410-4c9c-8764-2e3ea0dd7040" providerId="ADAL" clId="{6545EF83-34ED-4EBF-8118-20E7C988DC66}" dt="2023-11-07T09:27:58.602" v="24575"/>
          <ac:spMkLst>
            <pc:docMk/>
            <pc:sldMk cId="3924617425" sldId="2147473167"/>
            <ac:spMk id="16" creationId="{03C8E862-E00A-6D8C-635C-CB1C48EEBD83}"/>
          </ac:spMkLst>
        </pc:spChg>
        <pc:spChg chg="mod">
          <ac:chgData name="Arav Barot" userId="2aabccd7-f410-4c9c-8764-2e3ea0dd7040" providerId="ADAL" clId="{6545EF83-34ED-4EBF-8118-20E7C988DC66}" dt="2023-11-07T09:27:58.602" v="24575"/>
          <ac:spMkLst>
            <pc:docMk/>
            <pc:sldMk cId="3924617425" sldId="2147473167"/>
            <ac:spMk id="18" creationId="{7C002528-2693-EEAA-0483-50C716EF461B}"/>
          </ac:spMkLst>
        </pc:spChg>
        <pc:spChg chg="mod">
          <ac:chgData name="Arav Barot" userId="2aabccd7-f410-4c9c-8764-2e3ea0dd7040" providerId="ADAL" clId="{6545EF83-34ED-4EBF-8118-20E7C988DC66}" dt="2023-11-07T09:27:58.602" v="24575"/>
          <ac:spMkLst>
            <pc:docMk/>
            <pc:sldMk cId="3924617425" sldId="2147473167"/>
            <ac:spMk id="20" creationId="{5507DAA9-D159-189B-C932-9D772522B0DA}"/>
          </ac:spMkLst>
        </pc:spChg>
        <pc:spChg chg="mod">
          <ac:chgData name="Arav Barot" userId="2aabccd7-f410-4c9c-8764-2e3ea0dd7040" providerId="ADAL" clId="{6545EF83-34ED-4EBF-8118-20E7C988DC66}" dt="2023-11-07T09:38:26.025" v="25288" actId="20577"/>
          <ac:spMkLst>
            <pc:docMk/>
            <pc:sldMk cId="3924617425" sldId="2147473167"/>
            <ac:spMk id="23" creationId="{292307EA-E175-8648-4715-47F19E1948C2}"/>
          </ac:spMkLst>
        </pc:spChg>
        <pc:spChg chg="mod">
          <ac:chgData name="Arav Barot" userId="2aabccd7-f410-4c9c-8764-2e3ea0dd7040" providerId="ADAL" clId="{6545EF83-34ED-4EBF-8118-20E7C988DC66}" dt="2023-11-07T09:34:50.386" v="24873" actId="20577"/>
          <ac:spMkLst>
            <pc:docMk/>
            <pc:sldMk cId="3924617425" sldId="2147473167"/>
            <ac:spMk id="24" creationId="{28ED8263-826A-F156-5E9A-2AFFAE0320D9}"/>
          </ac:spMkLst>
        </pc:spChg>
        <pc:spChg chg="add mod">
          <ac:chgData name="Arav Barot" userId="2aabccd7-f410-4c9c-8764-2e3ea0dd7040" providerId="ADAL" clId="{6545EF83-34ED-4EBF-8118-20E7C988DC66}" dt="2023-11-07T09:52:32.579" v="25505" actId="1076"/>
          <ac:spMkLst>
            <pc:docMk/>
            <pc:sldMk cId="3924617425" sldId="2147473167"/>
            <ac:spMk id="29" creationId="{0526E3EA-8308-1D8D-BA39-66913950FB73}"/>
          </ac:spMkLst>
        </pc:spChg>
        <pc:spChg chg="add mod">
          <ac:chgData name="Arav Barot" userId="2aabccd7-f410-4c9c-8764-2e3ea0dd7040" providerId="ADAL" clId="{6545EF83-34ED-4EBF-8118-20E7C988DC66}" dt="2023-11-07T09:52:51.340" v="25533" actId="20577"/>
          <ac:spMkLst>
            <pc:docMk/>
            <pc:sldMk cId="3924617425" sldId="2147473167"/>
            <ac:spMk id="30" creationId="{67A99AF4-AD4C-2A09-BCDF-184BE71BB46D}"/>
          </ac:spMkLst>
        </pc:spChg>
        <pc:grpChg chg="add mod">
          <ac:chgData name="Arav Barot" userId="2aabccd7-f410-4c9c-8764-2e3ea0dd7040" providerId="ADAL" clId="{6545EF83-34ED-4EBF-8118-20E7C988DC66}" dt="2023-11-07T09:27:58.602" v="24575"/>
          <ac:grpSpMkLst>
            <pc:docMk/>
            <pc:sldMk cId="3924617425" sldId="2147473167"/>
            <ac:grpSpMk id="8" creationId="{238E9BD7-8ACF-E4CB-9B26-C1F9760D2B4E}"/>
          </ac:grpSpMkLst>
        </pc:grpChg>
        <pc:grpChg chg="add mod">
          <ac:chgData name="Arav Barot" userId="2aabccd7-f410-4c9c-8764-2e3ea0dd7040" providerId="ADAL" clId="{6545EF83-34ED-4EBF-8118-20E7C988DC66}" dt="2023-11-07T09:27:58.602" v="24575"/>
          <ac:grpSpMkLst>
            <pc:docMk/>
            <pc:sldMk cId="3924617425" sldId="2147473167"/>
            <ac:grpSpMk id="12" creationId="{0D35F546-2495-F4D4-37F4-81B35476FFC4}"/>
          </ac:grpSpMkLst>
        </pc:grpChg>
        <pc:grpChg chg="add del mod">
          <ac:chgData name="Arav Barot" userId="2aabccd7-f410-4c9c-8764-2e3ea0dd7040" providerId="ADAL" clId="{6545EF83-34ED-4EBF-8118-20E7C988DC66}" dt="2023-11-07T09:38:50.294" v="25370" actId="478"/>
          <ac:grpSpMkLst>
            <pc:docMk/>
            <pc:sldMk cId="3924617425" sldId="2147473167"/>
            <ac:grpSpMk id="15" creationId="{41F5364A-DDBD-D6CF-3F58-DAED6CF84491}"/>
          </ac:grpSpMkLst>
        </pc:grpChg>
        <pc:grpChg chg="mod">
          <ac:chgData name="Arav Barot" userId="2aabccd7-f410-4c9c-8764-2e3ea0dd7040" providerId="ADAL" clId="{6545EF83-34ED-4EBF-8118-20E7C988DC66}" dt="2023-11-07T09:27:58.602" v="24575"/>
          <ac:grpSpMkLst>
            <pc:docMk/>
            <pc:sldMk cId="3924617425" sldId="2147473167"/>
            <ac:grpSpMk id="17" creationId="{9856BC64-AF77-DD2D-DAC8-A13FCA80151C}"/>
          </ac:grpSpMkLst>
        </pc:grpChg>
        <pc:grpChg chg="add mod">
          <ac:chgData name="Arav Barot" userId="2aabccd7-f410-4c9c-8764-2e3ea0dd7040" providerId="ADAL" clId="{6545EF83-34ED-4EBF-8118-20E7C988DC66}" dt="2023-11-07T09:34:41.372" v="24825" actId="1076"/>
          <ac:grpSpMkLst>
            <pc:docMk/>
            <pc:sldMk cId="3924617425" sldId="2147473167"/>
            <ac:grpSpMk id="22" creationId="{D8F5938B-24D5-2397-036F-A796292A934C}"/>
          </ac:grpSpMkLst>
        </pc:grpChg>
        <pc:picChg chg="add del mod">
          <ac:chgData name="Arav Barot" userId="2aabccd7-f410-4c9c-8764-2e3ea0dd7040" providerId="ADAL" clId="{6545EF83-34ED-4EBF-8118-20E7C988DC66}" dt="2023-11-07T09:45:59.064" v="25464" actId="478"/>
          <ac:picMkLst>
            <pc:docMk/>
            <pc:sldMk cId="3924617425" sldId="2147473167"/>
            <ac:picMk id="11" creationId="{351E6519-E62F-AA28-9002-D99047E98D2A}"/>
          </ac:picMkLst>
        </pc:picChg>
        <pc:picChg chg="add mod modCrop">
          <ac:chgData name="Arav Barot" userId="2aabccd7-f410-4c9c-8764-2e3ea0dd7040" providerId="ADAL" clId="{6545EF83-34ED-4EBF-8118-20E7C988DC66}" dt="2023-11-07T09:51:39.003" v="25480" actId="1076"/>
          <ac:picMkLst>
            <pc:docMk/>
            <pc:sldMk cId="3924617425" sldId="2147473167"/>
            <ac:picMk id="26" creationId="{7B90BBE9-B40B-A8EB-7F35-EE2FEA7E7BA2}"/>
          </ac:picMkLst>
        </pc:picChg>
        <pc:picChg chg="add mod modCrop">
          <ac:chgData name="Arav Barot" userId="2aabccd7-f410-4c9c-8764-2e3ea0dd7040" providerId="ADAL" clId="{6545EF83-34ED-4EBF-8118-20E7C988DC66}" dt="2023-11-07T09:51:34.258" v="25479" actId="1076"/>
          <ac:picMkLst>
            <pc:docMk/>
            <pc:sldMk cId="3924617425" sldId="2147473167"/>
            <ac:picMk id="28" creationId="{181F8E81-BD8C-9036-CADA-AAE99FA57380}"/>
          </ac:picMkLst>
        </pc:picChg>
        <pc:cxnChg chg="mod">
          <ac:chgData name="Arav Barot" userId="2aabccd7-f410-4c9c-8764-2e3ea0dd7040" providerId="ADAL" clId="{6545EF83-34ED-4EBF-8118-20E7C988DC66}" dt="2023-11-07T09:38:50.294" v="25370" actId="478"/>
          <ac:cxnSpMkLst>
            <pc:docMk/>
            <pc:sldMk cId="3924617425" sldId="2147473167"/>
            <ac:cxnSpMk id="19" creationId="{DA976E68-66F1-307A-167E-8E073707F82B}"/>
          </ac:cxnSpMkLst>
        </pc:cxnChg>
        <pc:cxnChg chg="mod">
          <ac:chgData name="Arav Barot" userId="2aabccd7-f410-4c9c-8764-2e3ea0dd7040" providerId="ADAL" clId="{6545EF83-34ED-4EBF-8118-20E7C988DC66}" dt="2023-11-07T09:38:50.294" v="25370" actId="478"/>
          <ac:cxnSpMkLst>
            <pc:docMk/>
            <pc:sldMk cId="3924617425" sldId="2147473167"/>
            <ac:cxnSpMk id="21" creationId="{3AB30BC1-8DE0-501B-12C6-1282D51FBEB9}"/>
          </ac:cxnSpMkLst>
        </pc:cxnChg>
      </pc:sldChg>
      <pc:sldChg chg="addSp delSp modSp new mod modShow">
        <pc:chgData name="Arav Barot" userId="2aabccd7-f410-4c9c-8764-2e3ea0dd7040" providerId="ADAL" clId="{6545EF83-34ED-4EBF-8118-20E7C988DC66}" dt="2023-11-07T15:22:01.924" v="27433" actId="729"/>
        <pc:sldMkLst>
          <pc:docMk/>
          <pc:sldMk cId="2559157231" sldId="2147473168"/>
        </pc:sldMkLst>
        <pc:spChg chg="mod">
          <ac:chgData name="Arav Barot" userId="2aabccd7-f410-4c9c-8764-2e3ea0dd7040" providerId="ADAL" clId="{6545EF83-34ED-4EBF-8118-20E7C988DC66}" dt="2023-11-07T11:00:25.716" v="25590" actId="20577"/>
          <ac:spMkLst>
            <pc:docMk/>
            <pc:sldMk cId="2559157231" sldId="2147473168"/>
            <ac:spMk id="2" creationId="{FBB36A22-642F-A63D-FE42-AE9738AEAF97}"/>
          </ac:spMkLst>
        </pc:spChg>
        <pc:spChg chg="mod">
          <ac:chgData name="Arav Barot" userId="2aabccd7-f410-4c9c-8764-2e3ea0dd7040" providerId="ADAL" clId="{6545EF83-34ED-4EBF-8118-20E7C988DC66}" dt="2023-11-07T11:00:14.588" v="25565" actId="20577"/>
          <ac:spMkLst>
            <pc:docMk/>
            <pc:sldMk cId="2559157231" sldId="2147473168"/>
            <ac:spMk id="3" creationId="{F57EA96B-5CAC-B8BC-1264-4ECE6E51BEB7}"/>
          </ac:spMkLst>
        </pc:spChg>
        <pc:spChg chg="add mod">
          <ac:chgData name="Arav Barot" userId="2aabccd7-f410-4c9c-8764-2e3ea0dd7040" providerId="ADAL" clId="{6545EF83-34ED-4EBF-8118-20E7C988DC66}" dt="2023-11-07T11:05:22.457" v="25961" actId="14100"/>
          <ac:spMkLst>
            <pc:docMk/>
            <pc:sldMk cId="2559157231" sldId="2147473168"/>
            <ac:spMk id="12" creationId="{509C7A5E-E235-FF49-CE07-D6137D0B514D}"/>
          </ac:spMkLst>
        </pc:spChg>
        <pc:spChg chg="add mod">
          <ac:chgData name="Arav Barot" userId="2aabccd7-f410-4c9c-8764-2e3ea0dd7040" providerId="ADAL" clId="{6545EF83-34ED-4EBF-8118-20E7C988DC66}" dt="2023-11-07T11:05:32.347" v="25963" actId="14100"/>
          <ac:spMkLst>
            <pc:docMk/>
            <pc:sldMk cId="2559157231" sldId="2147473168"/>
            <ac:spMk id="13" creationId="{5B060DCA-DCEC-5563-2D77-0A6C3584E377}"/>
          </ac:spMkLst>
        </pc:spChg>
        <pc:spChg chg="add mod">
          <ac:chgData name="Arav Barot" userId="2aabccd7-f410-4c9c-8764-2e3ea0dd7040" providerId="ADAL" clId="{6545EF83-34ED-4EBF-8118-20E7C988DC66}" dt="2023-11-07T11:05:42.548" v="25965" actId="14100"/>
          <ac:spMkLst>
            <pc:docMk/>
            <pc:sldMk cId="2559157231" sldId="2147473168"/>
            <ac:spMk id="14" creationId="{0F3449D7-CB66-0794-9EFD-2FCF25D1DA3C}"/>
          </ac:spMkLst>
        </pc:spChg>
        <pc:spChg chg="add mod">
          <ac:chgData name="Arav Barot" userId="2aabccd7-f410-4c9c-8764-2e3ea0dd7040" providerId="ADAL" clId="{6545EF83-34ED-4EBF-8118-20E7C988DC66}" dt="2023-11-07T11:05:47.548" v="25966" actId="1076"/>
          <ac:spMkLst>
            <pc:docMk/>
            <pc:sldMk cId="2559157231" sldId="2147473168"/>
            <ac:spMk id="15" creationId="{ADE31141-AFCA-EB3F-8608-E868F8482E8D}"/>
          </ac:spMkLst>
        </pc:spChg>
        <pc:spChg chg="add del mod">
          <ac:chgData name="Arav Barot" userId="2aabccd7-f410-4c9c-8764-2e3ea0dd7040" providerId="ADAL" clId="{6545EF83-34ED-4EBF-8118-20E7C988DC66}" dt="2023-11-07T11:04:22.723" v="25930" actId="478"/>
          <ac:spMkLst>
            <pc:docMk/>
            <pc:sldMk cId="2559157231" sldId="2147473168"/>
            <ac:spMk id="16" creationId="{D3F1DB55-4C81-F615-0980-DB880E9810E9}"/>
          </ac:spMkLst>
        </pc:spChg>
        <pc:spChg chg="add mod ord">
          <ac:chgData name="Arav Barot" userId="2aabccd7-f410-4c9c-8764-2e3ea0dd7040" providerId="ADAL" clId="{6545EF83-34ED-4EBF-8118-20E7C988DC66}" dt="2023-11-07T11:04:10.686" v="25926" actId="1076"/>
          <ac:spMkLst>
            <pc:docMk/>
            <pc:sldMk cId="2559157231" sldId="2147473168"/>
            <ac:spMk id="17" creationId="{72CC10EE-A958-BA5D-B9CE-99F1A909FDEC}"/>
          </ac:spMkLst>
        </pc:spChg>
        <pc:spChg chg="add mod">
          <ac:chgData name="Arav Barot" userId="2aabccd7-f410-4c9c-8764-2e3ea0dd7040" providerId="ADAL" clId="{6545EF83-34ED-4EBF-8118-20E7C988DC66}" dt="2023-11-07T11:06:43.735" v="26074" actId="20577"/>
          <ac:spMkLst>
            <pc:docMk/>
            <pc:sldMk cId="2559157231" sldId="2147473168"/>
            <ac:spMk id="42" creationId="{7E777977-9884-8D3F-6917-5C2ABD3FD38B}"/>
          </ac:spMkLst>
        </pc:spChg>
        <pc:cxnChg chg="add mod">
          <ac:chgData name="Arav Barot" userId="2aabccd7-f410-4c9c-8764-2e3ea0dd7040" providerId="ADAL" clId="{6545EF83-34ED-4EBF-8118-20E7C988DC66}" dt="2023-11-07T11:05:32.347" v="25963" actId="14100"/>
          <ac:cxnSpMkLst>
            <pc:docMk/>
            <pc:sldMk cId="2559157231" sldId="2147473168"/>
            <ac:cxnSpMk id="7" creationId="{6701F7FC-E36D-F7FF-A1A3-A815AA58190F}"/>
          </ac:cxnSpMkLst>
        </pc:cxnChg>
        <pc:cxnChg chg="add mod">
          <ac:chgData name="Arav Barot" userId="2aabccd7-f410-4c9c-8764-2e3ea0dd7040" providerId="ADAL" clId="{6545EF83-34ED-4EBF-8118-20E7C988DC66}" dt="2023-11-07T11:05:42.548" v="25965" actId="14100"/>
          <ac:cxnSpMkLst>
            <pc:docMk/>
            <pc:sldMk cId="2559157231" sldId="2147473168"/>
            <ac:cxnSpMk id="8" creationId="{E68C6B60-ADA0-EDF9-9881-977574DACDB0}"/>
          </ac:cxnSpMkLst>
        </pc:cxnChg>
        <pc:cxnChg chg="add mod">
          <ac:chgData name="Arav Barot" userId="2aabccd7-f410-4c9c-8764-2e3ea0dd7040" providerId="ADAL" clId="{6545EF83-34ED-4EBF-8118-20E7C988DC66}" dt="2023-11-07T11:05:47.548" v="25966" actId="1076"/>
          <ac:cxnSpMkLst>
            <pc:docMk/>
            <pc:sldMk cId="2559157231" sldId="2147473168"/>
            <ac:cxnSpMk id="9" creationId="{943E4890-46DF-DF90-2FCB-4DD4F58531B0}"/>
          </ac:cxnSpMkLst>
        </pc:cxnChg>
        <pc:cxnChg chg="add del mod">
          <ac:chgData name="Arav Barot" userId="2aabccd7-f410-4c9c-8764-2e3ea0dd7040" providerId="ADAL" clId="{6545EF83-34ED-4EBF-8118-20E7C988DC66}" dt="2023-11-07T11:04:23.613" v="25931" actId="478"/>
          <ac:cxnSpMkLst>
            <pc:docMk/>
            <pc:sldMk cId="2559157231" sldId="2147473168"/>
            <ac:cxnSpMk id="10" creationId="{6B7D471C-B073-A236-1B7E-8442D2AB80FC}"/>
          </ac:cxnSpMkLst>
        </pc:cxnChg>
        <pc:cxnChg chg="add del mod">
          <ac:chgData name="Arav Barot" userId="2aabccd7-f410-4c9c-8764-2e3ea0dd7040" providerId="ADAL" clId="{6545EF83-34ED-4EBF-8118-20E7C988DC66}" dt="2023-11-07T11:04:21.622" v="25929" actId="478"/>
          <ac:cxnSpMkLst>
            <pc:docMk/>
            <pc:sldMk cId="2559157231" sldId="2147473168"/>
            <ac:cxnSpMk id="11" creationId="{2888E8EC-0B30-0501-8AEC-AFCB27199A4E}"/>
          </ac:cxnSpMkLst>
        </pc:cxnChg>
        <pc:cxnChg chg="add mod">
          <ac:chgData name="Arav Barot" userId="2aabccd7-f410-4c9c-8764-2e3ea0dd7040" providerId="ADAL" clId="{6545EF83-34ED-4EBF-8118-20E7C988DC66}" dt="2023-11-07T11:06:16.367" v="25972" actId="14100"/>
          <ac:cxnSpMkLst>
            <pc:docMk/>
            <pc:sldMk cId="2559157231" sldId="2147473168"/>
            <ac:cxnSpMk id="43" creationId="{23F1297D-9623-6043-1FF0-815178DFE2BE}"/>
          </ac:cxnSpMkLst>
        </pc:cxnChg>
      </pc:sldChg>
      <pc:sldChg chg="addSp delSp modSp new mod modShow">
        <pc:chgData name="Arav Barot" userId="2aabccd7-f410-4c9c-8764-2e3ea0dd7040" providerId="ADAL" clId="{6545EF83-34ED-4EBF-8118-20E7C988DC66}" dt="2023-11-07T15:22:04.312" v="27436" actId="1076"/>
        <pc:sldMkLst>
          <pc:docMk/>
          <pc:sldMk cId="1595344461" sldId="2147473169"/>
        </pc:sldMkLst>
        <pc:spChg chg="mod">
          <ac:chgData name="Arav Barot" userId="2aabccd7-f410-4c9c-8764-2e3ea0dd7040" providerId="ADAL" clId="{6545EF83-34ED-4EBF-8118-20E7C988DC66}" dt="2023-11-07T11:19:54.363" v="26100" actId="20577"/>
          <ac:spMkLst>
            <pc:docMk/>
            <pc:sldMk cId="1595344461" sldId="2147473169"/>
            <ac:spMk id="2" creationId="{7EFEB05E-83F5-13EF-113A-EAB87CBB6AFC}"/>
          </ac:spMkLst>
        </pc:spChg>
        <pc:spChg chg="mod">
          <ac:chgData name="Arav Barot" userId="2aabccd7-f410-4c9c-8764-2e3ea0dd7040" providerId="ADAL" clId="{6545EF83-34ED-4EBF-8118-20E7C988DC66}" dt="2023-11-07T11:20:20.642" v="26144" actId="20577"/>
          <ac:spMkLst>
            <pc:docMk/>
            <pc:sldMk cId="1595344461" sldId="2147473169"/>
            <ac:spMk id="3" creationId="{D0DF1E83-CB4A-C1B6-8C59-9D2A4C9E082D}"/>
          </ac:spMkLst>
        </pc:spChg>
        <pc:spChg chg="add del mod">
          <ac:chgData name="Arav Barot" userId="2aabccd7-f410-4c9c-8764-2e3ea0dd7040" providerId="ADAL" clId="{6545EF83-34ED-4EBF-8118-20E7C988DC66}" dt="2023-11-07T11:20:40.052" v="26148"/>
          <ac:spMkLst>
            <pc:docMk/>
            <pc:sldMk cId="1595344461" sldId="2147473169"/>
            <ac:spMk id="11" creationId="{E8F97E12-2E37-1572-7BEC-6FD516219FF1}"/>
          </ac:spMkLst>
        </pc:spChg>
        <pc:spChg chg="add del mod">
          <ac:chgData name="Arav Barot" userId="2aabccd7-f410-4c9c-8764-2e3ea0dd7040" providerId="ADAL" clId="{6545EF83-34ED-4EBF-8118-20E7C988DC66}" dt="2023-11-07T11:20:39.699" v="26147"/>
          <ac:spMkLst>
            <pc:docMk/>
            <pc:sldMk cId="1595344461" sldId="2147473169"/>
            <ac:spMk id="12" creationId="{937979EE-B613-9F17-FAD1-26978788F3D1}"/>
          </ac:spMkLst>
        </pc:spChg>
        <pc:spChg chg="mod">
          <ac:chgData name="Arav Barot" userId="2aabccd7-f410-4c9c-8764-2e3ea0dd7040" providerId="ADAL" clId="{6545EF83-34ED-4EBF-8118-20E7C988DC66}" dt="2023-11-07T12:05:03.363" v="27043" actId="14100"/>
          <ac:spMkLst>
            <pc:docMk/>
            <pc:sldMk cId="1595344461" sldId="2147473169"/>
            <ac:spMk id="14" creationId="{71674AEA-4128-5B0D-C903-C96623A9B67D}"/>
          </ac:spMkLst>
        </pc:spChg>
        <pc:spChg chg="mod">
          <ac:chgData name="Arav Barot" userId="2aabccd7-f410-4c9c-8764-2e3ea0dd7040" providerId="ADAL" clId="{6545EF83-34ED-4EBF-8118-20E7C988DC66}" dt="2023-11-07T11:20:48.952" v="26149"/>
          <ac:spMkLst>
            <pc:docMk/>
            <pc:sldMk cId="1595344461" sldId="2147473169"/>
            <ac:spMk id="15" creationId="{83EB7DE4-B9A2-3F13-A3D2-D709E96F01F6}"/>
          </ac:spMkLst>
        </pc:spChg>
        <pc:spChg chg="add mod ord">
          <ac:chgData name="Arav Barot" userId="2aabccd7-f410-4c9c-8764-2e3ea0dd7040" providerId="ADAL" clId="{6545EF83-34ED-4EBF-8118-20E7C988DC66}" dt="2023-11-07T12:09:29.549" v="27426" actId="14100"/>
          <ac:spMkLst>
            <pc:docMk/>
            <pc:sldMk cId="1595344461" sldId="2147473169"/>
            <ac:spMk id="18" creationId="{3C727850-9ED1-E9C8-6184-767D618BB88F}"/>
          </ac:spMkLst>
        </pc:spChg>
        <pc:spChg chg="mod">
          <ac:chgData name="Arav Barot" userId="2aabccd7-f410-4c9c-8764-2e3ea0dd7040" providerId="ADAL" clId="{6545EF83-34ED-4EBF-8118-20E7C988DC66}" dt="2023-11-07T12:09:16.779" v="27424" actId="242"/>
          <ac:spMkLst>
            <pc:docMk/>
            <pc:sldMk cId="1595344461" sldId="2147473169"/>
            <ac:spMk id="22" creationId="{04D539E2-9410-0066-CF82-F9DBA8A12DA6}"/>
          </ac:spMkLst>
        </pc:spChg>
        <pc:spChg chg="mod">
          <ac:chgData name="Arav Barot" userId="2aabccd7-f410-4c9c-8764-2e3ea0dd7040" providerId="ADAL" clId="{6545EF83-34ED-4EBF-8118-20E7C988DC66}" dt="2023-11-07T12:06:23.931" v="27137" actId="20577"/>
          <ac:spMkLst>
            <pc:docMk/>
            <pc:sldMk cId="1595344461" sldId="2147473169"/>
            <ac:spMk id="23" creationId="{908F8E59-76B1-1069-1A3A-25C3F3F8007F}"/>
          </ac:spMkLst>
        </pc:spChg>
        <pc:grpChg chg="add mod">
          <ac:chgData name="Arav Barot" userId="2aabccd7-f410-4c9c-8764-2e3ea0dd7040" providerId="ADAL" clId="{6545EF83-34ED-4EBF-8118-20E7C988DC66}" dt="2023-11-07T11:20:48.952" v="26149"/>
          <ac:grpSpMkLst>
            <pc:docMk/>
            <pc:sldMk cId="1595344461" sldId="2147473169"/>
            <ac:grpSpMk id="13" creationId="{EEF4572A-0DDD-46F1-5C3A-295A0C82B413}"/>
          </ac:grpSpMkLst>
        </pc:grpChg>
        <pc:grpChg chg="add mod">
          <ac:chgData name="Arav Barot" userId="2aabccd7-f410-4c9c-8764-2e3ea0dd7040" providerId="ADAL" clId="{6545EF83-34ED-4EBF-8118-20E7C988DC66}" dt="2023-11-07T12:09:26.775" v="27425" actId="1076"/>
          <ac:grpSpMkLst>
            <pc:docMk/>
            <pc:sldMk cId="1595344461" sldId="2147473169"/>
            <ac:grpSpMk id="21" creationId="{0C60099F-CEB8-9C49-0894-9D5B2BCBD3BB}"/>
          </ac:grpSpMkLst>
        </pc:grpChg>
        <pc:picChg chg="add del mod">
          <ac:chgData name="Arav Barot" userId="2aabccd7-f410-4c9c-8764-2e3ea0dd7040" providerId="ADAL" clId="{6545EF83-34ED-4EBF-8118-20E7C988DC66}" dt="2023-11-07T11:19:34.635" v="26079"/>
          <ac:picMkLst>
            <pc:docMk/>
            <pc:sldMk cId="1595344461" sldId="2147473169"/>
            <ac:picMk id="8" creationId="{2F66DBE6-5BAB-EE14-939D-4A75C0D60E69}"/>
          </ac:picMkLst>
        </pc:picChg>
        <pc:picChg chg="add del mod">
          <ac:chgData name="Arav Barot" userId="2aabccd7-f410-4c9c-8764-2e3ea0dd7040" providerId="ADAL" clId="{6545EF83-34ED-4EBF-8118-20E7C988DC66}" dt="2023-11-07T11:19:33.939" v="26078"/>
          <ac:picMkLst>
            <pc:docMk/>
            <pc:sldMk cId="1595344461" sldId="2147473169"/>
            <ac:picMk id="10" creationId="{16901430-3F6A-CE1D-7943-0124D7F40049}"/>
          </ac:picMkLst>
        </pc:picChg>
        <pc:picChg chg="add mod">
          <ac:chgData name="Arav Barot" userId="2aabccd7-f410-4c9c-8764-2e3ea0dd7040" providerId="ADAL" clId="{6545EF83-34ED-4EBF-8118-20E7C988DC66}" dt="2023-11-07T15:22:04.312" v="27436" actId="1076"/>
          <ac:picMkLst>
            <pc:docMk/>
            <pc:sldMk cId="1595344461" sldId="2147473169"/>
            <ac:picMk id="17" creationId="{6FDCFDCE-0797-36EE-A828-D50B1FF7BD64}"/>
          </ac:picMkLst>
        </pc:picChg>
        <pc:picChg chg="add del mod">
          <ac:chgData name="Arav Barot" userId="2aabccd7-f410-4c9c-8764-2e3ea0dd7040" providerId="ADAL" clId="{6545EF83-34ED-4EBF-8118-20E7C988DC66}" dt="2023-11-07T12:05:33.383" v="27050" actId="21"/>
          <ac:picMkLst>
            <pc:docMk/>
            <pc:sldMk cId="1595344461" sldId="2147473169"/>
            <ac:picMk id="20" creationId="{89AF4176-08A8-637D-DC62-46B340947FCB}"/>
          </ac:picMkLst>
        </pc:picChg>
      </pc:sldChg>
      <pc:sldMasterChg chg="modSp setBg modSldLayout">
        <pc:chgData name="Arav Barot" userId="2aabccd7-f410-4c9c-8764-2e3ea0dd7040" providerId="ADAL" clId="{6545EF83-34ED-4EBF-8118-20E7C988DC66}" dt="2023-11-03T13:36:21.554" v="14714"/>
        <pc:sldMasterMkLst>
          <pc:docMk/>
          <pc:sldMasterMk cId="3187980257" sldId="2147483817"/>
        </pc:sldMasterMkLst>
        <pc:spChg chg="mod">
          <ac:chgData name="Arav Barot" userId="2aabccd7-f410-4c9c-8764-2e3ea0dd7040" providerId="ADAL" clId="{6545EF83-34ED-4EBF-8118-20E7C988DC66}" dt="2023-11-03T13:36:21.554" v="14714"/>
          <ac:spMkLst>
            <pc:docMk/>
            <pc:sldMasterMk cId="3187980257" sldId="2147483817"/>
            <ac:spMk id="10" creationId="{8347BD7C-C358-F44B-AA54-409401A4675B}"/>
          </ac:spMkLst>
        </pc:spChg>
        <pc:spChg chg="mod">
          <ac:chgData name="Arav Barot" userId="2aabccd7-f410-4c9c-8764-2e3ea0dd7040" providerId="ADAL" clId="{6545EF83-34ED-4EBF-8118-20E7C988DC66}" dt="2023-11-03T13:36:21.554" v="14714"/>
          <ac:spMkLst>
            <pc:docMk/>
            <pc:sldMasterMk cId="3187980257" sldId="2147483817"/>
            <ac:spMk id="11" creationId="{CF317480-CA0B-9043-A99D-1B1FFF140361}"/>
          </ac:spMkLst>
        </pc:spChg>
        <pc:spChg chg="mod">
          <ac:chgData name="Arav Barot" userId="2aabccd7-f410-4c9c-8764-2e3ea0dd7040" providerId="ADAL" clId="{6545EF83-34ED-4EBF-8118-20E7C988DC66}" dt="2023-11-03T13:36:21.554" v="14714"/>
          <ac:spMkLst>
            <pc:docMk/>
            <pc:sldMasterMk cId="3187980257" sldId="2147483817"/>
            <ac:spMk id="12" creationId="{73AD3961-E89C-0C43-8D9D-27B72C97D478}"/>
          </ac:spMkLst>
        </pc:spChg>
        <pc:spChg chg="mod">
          <ac:chgData name="Arav Barot" userId="2aabccd7-f410-4c9c-8764-2e3ea0dd7040" providerId="ADAL" clId="{6545EF83-34ED-4EBF-8118-20E7C988DC66}" dt="2023-11-03T13:36:21.554" v="14714"/>
          <ac:spMkLst>
            <pc:docMk/>
            <pc:sldMasterMk cId="3187980257" sldId="2147483817"/>
            <ac:spMk id="13" creationId="{9B330CFF-DB8A-4E42-AA0F-E9A32C99241B}"/>
          </ac:spMkLst>
        </pc:spChg>
        <pc:spChg chg="mod">
          <ac:chgData name="Arav Barot" userId="2aabccd7-f410-4c9c-8764-2e3ea0dd7040" providerId="ADAL" clId="{6545EF83-34ED-4EBF-8118-20E7C988DC66}" dt="2023-11-03T13:36:21.554" v="14714"/>
          <ac:spMkLst>
            <pc:docMk/>
            <pc:sldMasterMk cId="3187980257" sldId="2147483817"/>
            <ac:spMk id="15" creationId="{A68400A4-883C-004A-A7F2-D037699194F5}"/>
          </ac:spMkLst>
        </pc:spChg>
        <pc:graphicFrameChg chg="mod">
          <ac:chgData name="Arav Barot" userId="2aabccd7-f410-4c9c-8764-2e3ea0dd7040" providerId="ADAL" clId="{6545EF83-34ED-4EBF-8118-20E7C988DC66}" dt="2023-11-03T13:36:21.554" v="14714"/>
          <ac:graphicFrameMkLst>
            <pc:docMk/>
            <pc:sldMasterMk cId="3187980257" sldId="2147483817"/>
            <ac:graphicFrameMk id="3" creationId="{F74A0543-E343-4C32-B3A8-51A1B23102E8}"/>
          </ac:graphicFrameMkLst>
        </pc:graphicFrameChg>
        <pc:sldLayoutChg chg="modSp setBg">
          <pc:chgData name="Arav Barot" userId="2aabccd7-f410-4c9c-8764-2e3ea0dd7040" providerId="ADAL" clId="{6545EF83-34ED-4EBF-8118-20E7C988DC66}" dt="2023-11-03T13:36:21.554" v="14714"/>
          <pc:sldLayoutMkLst>
            <pc:docMk/>
            <pc:sldMasterMk cId="3187980257" sldId="2147483817"/>
            <pc:sldLayoutMk cId="678216947" sldId="2147483818"/>
          </pc:sldLayoutMkLst>
          <pc:spChg chg="mod">
            <ac:chgData name="Arav Barot" userId="2aabccd7-f410-4c9c-8764-2e3ea0dd7040" providerId="ADAL" clId="{6545EF83-34ED-4EBF-8118-20E7C988DC66}" dt="2023-11-03T13:36:21.554" v="14714"/>
            <ac:spMkLst>
              <pc:docMk/>
              <pc:sldMasterMk cId="3187980257" sldId="2147483817"/>
              <pc:sldLayoutMk cId="678216947" sldId="2147483818"/>
              <ac:spMk id="4" creationId="{727AC7F0-38B5-1048-BABC-6A7888E99218}"/>
            </ac:spMkLst>
          </pc:spChg>
          <pc:spChg chg="mod">
            <ac:chgData name="Arav Barot" userId="2aabccd7-f410-4c9c-8764-2e3ea0dd7040" providerId="ADAL" clId="{6545EF83-34ED-4EBF-8118-20E7C988DC66}" dt="2023-11-03T13:36:21.554" v="14714"/>
            <ac:spMkLst>
              <pc:docMk/>
              <pc:sldMasterMk cId="3187980257" sldId="2147483817"/>
              <pc:sldLayoutMk cId="678216947" sldId="2147483818"/>
              <ac:spMk id="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678216947" sldId="2147483818"/>
              <ac:spMk id="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678216947" sldId="2147483818"/>
              <ac:spMk id="13" creationId="{5D6F72E9-8CD9-904E-BD9A-8D7491FB3811}"/>
            </ac:spMkLst>
          </pc:spChg>
          <pc:spChg chg="mod">
            <ac:chgData name="Arav Barot" userId="2aabccd7-f410-4c9c-8764-2e3ea0dd7040" providerId="ADAL" clId="{6545EF83-34ED-4EBF-8118-20E7C988DC66}" dt="2023-11-03T13:36:21.554" v="14714"/>
            <ac:spMkLst>
              <pc:docMk/>
              <pc:sldMasterMk cId="3187980257" sldId="2147483817"/>
              <pc:sldLayoutMk cId="678216947" sldId="2147483818"/>
              <ac:spMk id="14" creationId="{CC35A305-6374-ED4C-B66C-3BD49CF8A2A9}"/>
            </ac:spMkLst>
          </pc:spChg>
          <pc:spChg chg="mod">
            <ac:chgData name="Arav Barot" userId="2aabccd7-f410-4c9c-8764-2e3ea0dd7040" providerId="ADAL" clId="{6545EF83-34ED-4EBF-8118-20E7C988DC66}" dt="2023-11-03T13:36:21.554" v="14714"/>
            <ac:spMkLst>
              <pc:docMk/>
              <pc:sldMasterMk cId="3187980257" sldId="2147483817"/>
              <pc:sldLayoutMk cId="678216947" sldId="2147483818"/>
              <ac:spMk id="15" creationId="{3C9E4EE1-F541-2D45-AAE2-81E09BBF0FD0}"/>
            </ac:spMkLst>
          </pc:spChg>
          <pc:spChg chg="mod">
            <ac:chgData name="Arav Barot" userId="2aabccd7-f410-4c9c-8764-2e3ea0dd7040" providerId="ADAL" clId="{6545EF83-34ED-4EBF-8118-20E7C988DC66}" dt="2023-11-03T13:36:21.554" v="14714"/>
            <ac:spMkLst>
              <pc:docMk/>
              <pc:sldMasterMk cId="3187980257" sldId="2147483817"/>
              <pc:sldLayoutMk cId="678216947" sldId="2147483818"/>
              <ac:spMk id="22" creationId="{72BE5529-C37F-6946-9AB7-D0252912549D}"/>
            </ac:spMkLst>
          </pc:spChg>
          <pc:picChg chg="mod">
            <ac:chgData name="Arav Barot" userId="2aabccd7-f410-4c9c-8764-2e3ea0dd7040" providerId="ADAL" clId="{6545EF83-34ED-4EBF-8118-20E7C988DC66}" dt="2023-11-03T13:36:21.554" v="14714"/>
            <ac:picMkLst>
              <pc:docMk/>
              <pc:sldMasterMk cId="3187980257" sldId="2147483817"/>
              <pc:sldLayoutMk cId="678216947" sldId="2147483818"/>
              <ac:picMk id="12" creationId="{F4A43431-46A9-5A41-87C3-0F44E36C5C6F}"/>
            </ac:picMkLst>
          </pc:picChg>
          <pc:picChg chg="mod">
            <ac:chgData name="Arav Barot" userId="2aabccd7-f410-4c9c-8764-2e3ea0dd7040" providerId="ADAL" clId="{6545EF83-34ED-4EBF-8118-20E7C988DC66}" dt="2023-11-03T13:36:21.554" v="14714"/>
            <ac:picMkLst>
              <pc:docMk/>
              <pc:sldMasterMk cId="3187980257" sldId="2147483817"/>
              <pc:sldLayoutMk cId="678216947" sldId="2147483818"/>
              <ac:picMk id="16" creationId="{E9D52F2D-157E-4E49-822F-FCDA9B4DD100}"/>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359591164" sldId="2147483819"/>
          </pc:sldLayoutMkLst>
          <pc:spChg chg="mod">
            <ac:chgData name="Arav Barot" userId="2aabccd7-f410-4c9c-8764-2e3ea0dd7040" providerId="ADAL" clId="{6545EF83-34ED-4EBF-8118-20E7C988DC66}" dt="2023-11-03T13:36:21.554" v="14714"/>
            <ac:spMkLst>
              <pc:docMk/>
              <pc:sldMasterMk cId="3187980257" sldId="2147483817"/>
              <pc:sldLayoutMk cId="3359591164" sldId="2147483819"/>
              <ac:spMk id="3" creationId="{02E38D53-B9C2-8C4D-9B4D-2DCA657FC538}"/>
            </ac:spMkLst>
          </pc:spChg>
          <pc:spChg chg="mod">
            <ac:chgData name="Arav Barot" userId="2aabccd7-f410-4c9c-8764-2e3ea0dd7040" providerId="ADAL" clId="{6545EF83-34ED-4EBF-8118-20E7C988DC66}" dt="2023-11-03T13:36:21.554" v="14714"/>
            <ac:spMkLst>
              <pc:docMk/>
              <pc:sldMasterMk cId="3187980257" sldId="2147483817"/>
              <pc:sldLayoutMk cId="3359591164" sldId="2147483819"/>
              <ac:spMk id="4" creationId="{3BE681BA-592A-5047-9AD9-7EA40D099B0A}"/>
            </ac:spMkLst>
          </pc:spChg>
          <pc:spChg chg="mod">
            <ac:chgData name="Arav Barot" userId="2aabccd7-f410-4c9c-8764-2e3ea0dd7040" providerId="ADAL" clId="{6545EF83-34ED-4EBF-8118-20E7C988DC66}" dt="2023-11-03T13:36:21.554" v="14714"/>
            <ac:spMkLst>
              <pc:docMk/>
              <pc:sldMasterMk cId="3187980257" sldId="2147483817"/>
              <pc:sldLayoutMk cId="3359591164" sldId="2147483819"/>
              <ac:spMk id="5" creationId="{F3A1D6D2-74E2-CD43-A62B-E74FF4DF68FF}"/>
            </ac:spMkLst>
          </pc:spChg>
          <pc:spChg chg="mod">
            <ac:chgData name="Arav Barot" userId="2aabccd7-f410-4c9c-8764-2e3ea0dd7040" providerId="ADAL" clId="{6545EF83-34ED-4EBF-8118-20E7C988DC66}" dt="2023-11-03T13:36:21.554" v="14714"/>
            <ac:spMkLst>
              <pc:docMk/>
              <pc:sldMasterMk cId="3187980257" sldId="2147483817"/>
              <pc:sldLayoutMk cId="3359591164" sldId="2147483819"/>
              <ac:spMk id="16" creationId="{1A4AA961-EEC0-B242-A2EB-258EC808F765}"/>
            </ac:spMkLst>
          </pc:spChg>
          <pc:spChg chg="mod">
            <ac:chgData name="Arav Barot" userId="2aabccd7-f410-4c9c-8764-2e3ea0dd7040" providerId="ADAL" clId="{6545EF83-34ED-4EBF-8118-20E7C988DC66}" dt="2023-11-03T13:36:21.554" v="14714"/>
            <ac:spMkLst>
              <pc:docMk/>
              <pc:sldMasterMk cId="3187980257" sldId="2147483817"/>
              <pc:sldLayoutMk cId="3359591164" sldId="2147483819"/>
              <ac:spMk id="18" creationId="{1601C9F1-E284-0545-8320-360C4DB5B7C5}"/>
            </ac:spMkLst>
          </pc:spChg>
          <pc:spChg chg="mod">
            <ac:chgData name="Arav Barot" userId="2aabccd7-f410-4c9c-8764-2e3ea0dd7040" providerId="ADAL" clId="{6545EF83-34ED-4EBF-8118-20E7C988DC66}" dt="2023-11-03T13:36:21.554" v="14714"/>
            <ac:spMkLst>
              <pc:docMk/>
              <pc:sldMasterMk cId="3187980257" sldId="2147483817"/>
              <pc:sldLayoutMk cId="3359591164" sldId="2147483819"/>
              <ac:spMk id="19" creationId="{E08A88AE-F782-7648-A6F6-47846F5DC0DF}"/>
            </ac:spMkLst>
          </pc:spChg>
          <pc:picChg chg="mod">
            <ac:chgData name="Arav Barot" userId="2aabccd7-f410-4c9c-8764-2e3ea0dd7040" providerId="ADAL" clId="{6545EF83-34ED-4EBF-8118-20E7C988DC66}" dt="2023-11-03T13:36:21.554" v="14714"/>
            <ac:picMkLst>
              <pc:docMk/>
              <pc:sldMasterMk cId="3187980257" sldId="2147483817"/>
              <pc:sldLayoutMk cId="3359591164" sldId="2147483819"/>
              <ac:picMk id="20" creationId="{4F0A64D2-4697-0A40-9A6B-8DD8A78004C3}"/>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731968944" sldId="2147483820"/>
          </pc:sldLayoutMkLst>
          <pc:spChg chg="mod">
            <ac:chgData name="Arav Barot" userId="2aabccd7-f410-4c9c-8764-2e3ea0dd7040" providerId="ADAL" clId="{6545EF83-34ED-4EBF-8118-20E7C988DC66}" dt="2023-11-03T13:36:21.554" v="14714"/>
            <ac:spMkLst>
              <pc:docMk/>
              <pc:sldMasterMk cId="3187980257" sldId="2147483817"/>
              <pc:sldLayoutMk cId="1731968944" sldId="2147483820"/>
              <ac:spMk id="3" creationId="{0A39C9FE-7ED5-7243-B900-C8A1E77A9EC7}"/>
            </ac:spMkLst>
          </pc:spChg>
          <pc:spChg chg="mod">
            <ac:chgData name="Arav Barot" userId="2aabccd7-f410-4c9c-8764-2e3ea0dd7040" providerId="ADAL" clId="{6545EF83-34ED-4EBF-8118-20E7C988DC66}" dt="2023-11-03T13:36:21.554" v="14714"/>
            <ac:spMkLst>
              <pc:docMk/>
              <pc:sldMasterMk cId="3187980257" sldId="2147483817"/>
              <pc:sldLayoutMk cId="1731968944" sldId="2147483820"/>
              <ac:spMk id="4" creationId="{72CF6480-DF6E-B149-9203-3123490FAAF8}"/>
            </ac:spMkLst>
          </pc:spChg>
          <pc:spChg chg="mod">
            <ac:chgData name="Arav Barot" userId="2aabccd7-f410-4c9c-8764-2e3ea0dd7040" providerId="ADAL" clId="{6545EF83-34ED-4EBF-8118-20E7C988DC66}" dt="2023-11-03T13:36:21.554" v="14714"/>
            <ac:spMkLst>
              <pc:docMk/>
              <pc:sldMasterMk cId="3187980257" sldId="2147483817"/>
              <pc:sldLayoutMk cId="1731968944" sldId="2147483820"/>
              <ac:spMk id="5" creationId="{B68BE9BD-ECDE-E04D-97F2-583C23D9ECBD}"/>
            </ac:spMkLst>
          </pc:spChg>
          <pc:spChg chg="mod">
            <ac:chgData name="Arav Barot" userId="2aabccd7-f410-4c9c-8764-2e3ea0dd7040" providerId="ADAL" clId="{6545EF83-34ED-4EBF-8118-20E7C988DC66}" dt="2023-11-03T13:36:21.554" v="14714"/>
            <ac:spMkLst>
              <pc:docMk/>
              <pc:sldMasterMk cId="3187980257" sldId="2147483817"/>
              <pc:sldLayoutMk cId="1731968944" sldId="2147483820"/>
              <ac:spMk id="12" creationId="{2A0E2E59-82F0-014A-9D6A-3A8083ED1439}"/>
            </ac:spMkLst>
          </pc:spChg>
          <pc:spChg chg="mod">
            <ac:chgData name="Arav Barot" userId="2aabccd7-f410-4c9c-8764-2e3ea0dd7040" providerId="ADAL" clId="{6545EF83-34ED-4EBF-8118-20E7C988DC66}" dt="2023-11-03T13:36:21.554" v="14714"/>
            <ac:spMkLst>
              <pc:docMk/>
              <pc:sldMasterMk cId="3187980257" sldId="2147483817"/>
              <pc:sldLayoutMk cId="1731968944" sldId="2147483820"/>
              <ac:spMk id="18" creationId="{9E0F4B9F-5213-4E4C-8722-DC071C708F4A}"/>
            </ac:spMkLst>
          </pc:spChg>
          <pc:spChg chg="mod">
            <ac:chgData name="Arav Barot" userId="2aabccd7-f410-4c9c-8764-2e3ea0dd7040" providerId="ADAL" clId="{6545EF83-34ED-4EBF-8118-20E7C988DC66}" dt="2023-11-03T13:36:21.554" v="14714"/>
            <ac:spMkLst>
              <pc:docMk/>
              <pc:sldMasterMk cId="3187980257" sldId="2147483817"/>
              <pc:sldLayoutMk cId="1731968944" sldId="2147483820"/>
              <ac:spMk id="19" creationId="{794F9ABA-8847-F94E-BEE3-5811F5F7029C}"/>
            </ac:spMkLst>
          </pc:spChg>
          <pc:picChg chg="mod">
            <ac:chgData name="Arav Barot" userId="2aabccd7-f410-4c9c-8764-2e3ea0dd7040" providerId="ADAL" clId="{6545EF83-34ED-4EBF-8118-20E7C988DC66}" dt="2023-11-03T13:36:21.554" v="14714"/>
            <ac:picMkLst>
              <pc:docMk/>
              <pc:sldMasterMk cId="3187980257" sldId="2147483817"/>
              <pc:sldLayoutMk cId="1731968944" sldId="2147483820"/>
              <ac:picMk id="9" creationId="{78F46092-2993-FC42-95A1-DDDB094753D6}"/>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431487825" sldId="2147483821"/>
          </pc:sldLayoutMkLst>
          <pc:spChg chg="mod">
            <ac:chgData name="Arav Barot" userId="2aabccd7-f410-4c9c-8764-2e3ea0dd7040" providerId="ADAL" clId="{6545EF83-34ED-4EBF-8118-20E7C988DC66}" dt="2023-11-03T13:36:21.554" v="14714"/>
            <ac:spMkLst>
              <pc:docMk/>
              <pc:sldMasterMk cId="3187980257" sldId="2147483817"/>
              <pc:sldLayoutMk cId="2431487825" sldId="2147483821"/>
              <ac:spMk id="8" creationId="{4B410FE0-9BA9-C34D-9E87-B08F0E9C8F46}"/>
            </ac:spMkLst>
          </pc:spChg>
          <pc:spChg chg="mod">
            <ac:chgData name="Arav Barot" userId="2aabccd7-f410-4c9c-8764-2e3ea0dd7040" providerId="ADAL" clId="{6545EF83-34ED-4EBF-8118-20E7C988DC66}" dt="2023-11-03T13:36:21.554" v="14714"/>
            <ac:spMkLst>
              <pc:docMk/>
              <pc:sldMasterMk cId="3187980257" sldId="2147483817"/>
              <pc:sldLayoutMk cId="2431487825" sldId="2147483821"/>
              <ac:spMk id="12" creationId="{D2D9C474-36BD-F442-8219-2692502B7EFB}"/>
            </ac:spMkLst>
          </pc:spChg>
          <pc:spChg chg="mod">
            <ac:chgData name="Arav Barot" userId="2aabccd7-f410-4c9c-8764-2e3ea0dd7040" providerId="ADAL" clId="{6545EF83-34ED-4EBF-8118-20E7C988DC66}" dt="2023-11-03T13:36:21.554" v="14714"/>
            <ac:spMkLst>
              <pc:docMk/>
              <pc:sldMasterMk cId="3187980257" sldId="2147483817"/>
              <pc:sldLayoutMk cId="2431487825" sldId="2147483821"/>
              <ac:spMk id="13" creationId="{6DB2E95F-417D-3B4E-A09A-E0B9DAD08DAE}"/>
            </ac:spMkLst>
          </pc:spChg>
          <pc:spChg chg="mod">
            <ac:chgData name="Arav Barot" userId="2aabccd7-f410-4c9c-8764-2e3ea0dd7040" providerId="ADAL" clId="{6545EF83-34ED-4EBF-8118-20E7C988DC66}" dt="2023-11-03T13:36:21.554" v="14714"/>
            <ac:spMkLst>
              <pc:docMk/>
              <pc:sldMasterMk cId="3187980257" sldId="2147483817"/>
              <pc:sldLayoutMk cId="2431487825" sldId="2147483821"/>
              <ac:spMk id="15" creationId="{864A111D-9271-0C4A-A0FF-E3A89790F5E4}"/>
            </ac:spMkLst>
          </pc:spChg>
          <pc:spChg chg="mod">
            <ac:chgData name="Arav Barot" userId="2aabccd7-f410-4c9c-8764-2e3ea0dd7040" providerId="ADAL" clId="{6545EF83-34ED-4EBF-8118-20E7C988DC66}" dt="2023-11-03T13:36:21.554" v="14714"/>
            <ac:spMkLst>
              <pc:docMk/>
              <pc:sldMasterMk cId="3187980257" sldId="2147483817"/>
              <pc:sldLayoutMk cId="2431487825" sldId="2147483821"/>
              <ac:spMk id="18" creationId="{012CDCAD-01B2-A44E-B825-73F57A328FCC}"/>
            </ac:spMkLst>
          </pc:spChg>
          <pc:spChg chg="mod">
            <ac:chgData name="Arav Barot" userId="2aabccd7-f410-4c9c-8764-2e3ea0dd7040" providerId="ADAL" clId="{6545EF83-34ED-4EBF-8118-20E7C988DC66}" dt="2023-11-03T13:36:21.554" v="14714"/>
            <ac:spMkLst>
              <pc:docMk/>
              <pc:sldMasterMk cId="3187980257" sldId="2147483817"/>
              <pc:sldLayoutMk cId="2431487825" sldId="2147483821"/>
              <ac:spMk id="19" creationId="{6C6977D3-AD93-A743-A3F4-6720C61FA8A0}"/>
            </ac:spMkLst>
          </pc:spChg>
          <pc:picChg chg="mod">
            <ac:chgData name="Arav Barot" userId="2aabccd7-f410-4c9c-8764-2e3ea0dd7040" providerId="ADAL" clId="{6545EF83-34ED-4EBF-8118-20E7C988DC66}" dt="2023-11-03T13:36:21.554" v="14714"/>
            <ac:picMkLst>
              <pc:docMk/>
              <pc:sldMasterMk cId="3187980257" sldId="2147483817"/>
              <pc:sldLayoutMk cId="2431487825" sldId="2147483821"/>
              <ac:picMk id="14" creationId="{2114F27B-F2DA-9541-B881-7F2EECE21009}"/>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85666054" sldId="2147483822"/>
          </pc:sldLayoutMkLst>
          <pc:spChg chg="mod">
            <ac:chgData name="Arav Barot" userId="2aabccd7-f410-4c9c-8764-2e3ea0dd7040" providerId="ADAL" clId="{6545EF83-34ED-4EBF-8118-20E7C988DC66}" dt="2023-11-03T13:36:21.554" v="14714"/>
            <ac:spMkLst>
              <pc:docMk/>
              <pc:sldMasterMk cId="3187980257" sldId="2147483817"/>
              <pc:sldLayoutMk cId="285666054" sldId="2147483822"/>
              <ac:spMk id="8" creationId="{7CD38AF9-A5E9-8E42-B58D-35A3AFD58076}"/>
            </ac:spMkLst>
          </pc:spChg>
          <pc:spChg chg="mod">
            <ac:chgData name="Arav Barot" userId="2aabccd7-f410-4c9c-8764-2e3ea0dd7040" providerId="ADAL" clId="{6545EF83-34ED-4EBF-8118-20E7C988DC66}" dt="2023-11-03T13:36:21.554" v="14714"/>
            <ac:spMkLst>
              <pc:docMk/>
              <pc:sldMasterMk cId="3187980257" sldId="2147483817"/>
              <pc:sldLayoutMk cId="285666054" sldId="2147483822"/>
              <ac:spMk id="12" creationId="{EEC6F914-7489-FA4A-BC02-30D3BFF568EC}"/>
            </ac:spMkLst>
          </pc:spChg>
          <pc:spChg chg="mod">
            <ac:chgData name="Arav Barot" userId="2aabccd7-f410-4c9c-8764-2e3ea0dd7040" providerId="ADAL" clId="{6545EF83-34ED-4EBF-8118-20E7C988DC66}" dt="2023-11-03T13:36:21.554" v="14714"/>
            <ac:spMkLst>
              <pc:docMk/>
              <pc:sldMasterMk cId="3187980257" sldId="2147483817"/>
              <pc:sldLayoutMk cId="285666054" sldId="2147483822"/>
              <ac:spMk id="13" creationId="{C51A6F4F-9D93-914B-9B62-EFC729279A0D}"/>
            </ac:spMkLst>
          </pc:spChg>
          <pc:spChg chg="mod">
            <ac:chgData name="Arav Barot" userId="2aabccd7-f410-4c9c-8764-2e3ea0dd7040" providerId="ADAL" clId="{6545EF83-34ED-4EBF-8118-20E7C988DC66}" dt="2023-11-03T13:36:21.554" v="14714"/>
            <ac:spMkLst>
              <pc:docMk/>
              <pc:sldMasterMk cId="3187980257" sldId="2147483817"/>
              <pc:sldLayoutMk cId="285666054" sldId="2147483822"/>
              <ac:spMk id="15" creationId="{3EBB4378-E8FA-C145-A6A9-5013C7271854}"/>
            </ac:spMkLst>
          </pc:spChg>
          <pc:spChg chg="mod">
            <ac:chgData name="Arav Barot" userId="2aabccd7-f410-4c9c-8764-2e3ea0dd7040" providerId="ADAL" clId="{6545EF83-34ED-4EBF-8118-20E7C988DC66}" dt="2023-11-03T13:36:21.554" v="14714"/>
            <ac:spMkLst>
              <pc:docMk/>
              <pc:sldMasterMk cId="3187980257" sldId="2147483817"/>
              <pc:sldLayoutMk cId="285666054" sldId="2147483822"/>
              <ac:spMk id="16" creationId="{BFCCB505-4E53-5544-8FBA-D1715C8C5A53}"/>
            </ac:spMkLst>
          </pc:spChg>
          <pc:spChg chg="mod">
            <ac:chgData name="Arav Barot" userId="2aabccd7-f410-4c9c-8764-2e3ea0dd7040" providerId="ADAL" clId="{6545EF83-34ED-4EBF-8118-20E7C988DC66}" dt="2023-11-03T13:36:21.554" v="14714"/>
            <ac:spMkLst>
              <pc:docMk/>
              <pc:sldMasterMk cId="3187980257" sldId="2147483817"/>
              <pc:sldLayoutMk cId="285666054" sldId="2147483822"/>
              <ac:spMk id="17" creationId="{98CF640D-420C-BD45-B7B2-7776A83D2092}"/>
            </ac:spMkLst>
          </pc:spChg>
          <pc:picChg chg="mod">
            <ac:chgData name="Arav Barot" userId="2aabccd7-f410-4c9c-8764-2e3ea0dd7040" providerId="ADAL" clId="{6545EF83-34ED-4EBF-8118-20E7C988DC66}" dt="2023-11-03T13:36:21.554" v="14714"/>
            <ac:picMkLst>
              <pc:docMk/>
              <pc:sldMasterMk cId="3187980257" sldId="2147483817"/>
              <pc:sldLayoutMk cId="285666054" sldId="2147483822"/>
              <ac:picMk id="14" creationId="{CC6966F1-EA51-0A41-A5F4-5DC0A24DB77C}"/>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626697198" sldId="2147483823"/>
          </pc:sldLayoutMkLst>
          <pc:spChg chg="mod">
            <ac:chgData name="Arav Barot" userId="2aabccd7-f410-4c9c-8764-2e3ea0dd7040" providerId="ADAL" clId="{6545EF83-34ED-4EBF-8118-20E7C988DC66}" dt="2023-11-03T13:36:21.554" v="14714"/>
            <ac:spMkLst>
              <pc:docMk/>
              <pc:sldMasterMk cId="3187980257" sldId="2147483817"/>
              <pc:sldLayoutMk cId="1626697198" sldId="2147483823"/>
              <ac:spMk id="8" creationId="{B2277509-B0DF-6544-A7AA-B7E288CD583F}"/>
            </ac:spMkLst>
          </pc:spChg>
          <pc:spChg chg="mod">
            <ac:chgData name="Arav Barot" userId="2aabccd7-f410-4c9c-8764-2e3ea0dd7040" providerId="ADAL" clId="{6545EF83-34ED-4EBF-8118-20E7C988DC66}" dt="2023-11-03T13:36:21.554" v="14714"/>
            <ac:spMkLst>
              <pc:docMk/>
              <pc:sldMasterMk cId="3187980257" sldId="2147483817"/>
              <pc:sldLayoutMk cId="1626697198" sldId="2147483823"/>
              <ac:spMk id="10" creationId="{8CE08755-C4C3-5A41-A0C3-B8F77BB204D5}"/>
            </ac:spMkLst>
          </pc:spChg>
          <pc:spChg chg="mod">
            <ac:chgData name="Arav Barot" userId="2aabccd7-f410-4c9c-8764-2e3ea0dd7040" providerId="ADAL" clId="{6545EF83-34ED-4EBF-8118-20E7C988DC66}" dt="2023-11-03T13:36:21.554" v="14714"/>
            <ac:spMkLst>
              <pc:docMk/>
              <pc:sldMasterMk cId="3187980257" sldId="2147483817"/>
              <pc:sldLayoutMk cId="1626697198" sldId="2147483823"/>
              <ac:spMk id="12" creationId="{CF270E6A-E48C-A541-AD2F-2362D549DCCF}"/>
            </ac:spMkLst>
          </pc:spChg>
          <pc:spChg chg="mod">
            <ac:chgData name="Arav Barot" userId="2aabccd7-f410-4c9c-8764-2e3ea0dd7040" providerId="ADAL" clId="{6545EF83-34ED-4EBF-8118-20E7C988DC66}" dt="2023-11-03T13:36:21.554" v="14714"/>
            <ac:spMkLst>
              <pc:docMk/>
              <pc:sldMasterMk cId="3187980257" sldId="2147483817"/>
              <pc:sldLayoutMk cId="1626697198" sldId="2147483823"/>
              <ac:spMk id="13" creationId="{C8689D35-717C-F14E-9756-60131CF79006}"/>
            </ac:spMkLst>
          </pc:spChg>
          <pc:spChg chg="mod">
            <ac:chgData name="Arav Barot" userId="2aabccd7-f410-4c9c-8764-2e3ea0dd7040" providerId="ADAL" clId="{6545EF83-34ED-4EBF-8118-20E7C988DC66}" dt="2023-11-03T13:36:21.554" v="14714"/>
            <ac:spMkLst>
              <pc:docMk/>
              <pc:sldMasterMk cId="3187980257" sldId="2147483817"/>
              <pc:sldLayoutMk cId="1626697198" sldId="2147483823"/>
              <ac:spMk id="14" creationId="{41E7B7D7-FCBB-964E-BAF0-EB40BECFC02D}"/>
            </ac:spMkLst>
          </pc:spChg>
          <pc:spChg chg="mod">
            <ac:chgData name="Arav Barot" userId="2aabccd7-f410-4c9c-8764-2e3ea0dd7040" providerId="ADAL" clId="{6545EF83-34ED-4EBF-8118-20E7C988DC66}" dt="2023-11-03T13:36:21.554" v="14714"/>
            <ac:spMkLst>
              <pc:docMk/>
              <pc:sldMasterMk cId="3187980257" sldId="2147483817"/>
              <pc:sldLayoutMk cId="1626697198" sldId="2147483823"/>
              <ac:spMk id="15" creationId="{72AD8D7C-8A1E-A048-80BC-F50FC3F81077}"/>
            </ac:spMkLst>
          </pc:spChg>
          <pc:picChg chg="mod">
            <ac:chgData name="Arav Barot" userId="2aabccd7-f410-4c9c-8764-2e3ea0dd7040" providerId="ADAL" clId="{6545EF83-34ED-4EBF-8118-20E7C988DC66}" dt="2023-11-03T13:36:21.554" v="14714"/>
            <ac:picMkLst>
              <pc:docMk/>
              <pc:sldMasterMk cId="3187980257" sldId="2147483817"/>
              <pc:sldLayoutMk cId="1626697198" sldId="2147483823"/>
              <ac:picMk id="16" creationId="{F8DB3917-BDA4-5544-AA4E-EB90795AEE3A}"/>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207073421" sldId="2147483824"/>
          </pc:sldLayoutMkLst>
          <pc:spChg chg="mod">
            <ac:chgData name="Arav Barot" userId="2aabccd7-f410-4c9c-8764-2e3ea0dd7040" providerId="ADAL" clId="{6545EF83-34ED-4EBF-8118-20E7C988DC66}" dt="2023-11-03T13:36:21.554" v="14714"/>
            <ac:spMkLst>
              <pc:docMk/>
              <pc:sldMasterMk cId="3187980257" sldId="2147483817"/>
              <pc:sldLayoutMk cId="2207073421" sldId="2147483824"/>
              <ac:spMk id="8" creationId="{3560DB00-0093-6944-BDD8-CB2199B25205}"/>
            </ac:spMkLst>
          </pc:spChg>
          <pc:spChg chg="mod">
            <ac:chgData name="Arav Barot" userId="2aabccd7-f410-4c9c-8764-2e3ea0dd7040" providerId="ADAL" clId="{6545EF83-34ED-4EBF-8118-20E7C988DC66}" dt="2023-11-03T13:36:21.554" v="14714"/>
            <ac:spMkLst>
              <pc:docMk/>
              <pc:sldMasterMk cId="3187980257" sldId="2147483817"/>
              <pc:sldLayoutMk cId="2207073421" sldId="2147483824"/>
              <ac:spMk id="13" creationId="{D2AF6CE8-E122-9147-B930-3A738D2EE508}"/>
            </ac:spMkLst>
          </pc:spChg>
          <pc:spChg chg="mod">
            <ac:chgData name="Arav Barot" userId="2aabccd7-f410-4c9c-8764-2e3ea0dd7040" providerId="ADAL" clId="{6545EF83-34ED-4EBF-8118-20E7C988DC66}" dt="2023-11-03T13:36:21.554" v="14714"/>
            <ac:spMkLst>
              <pc:docMk/>
              <pc:sldMasterMk cId="3187980257" sldId="2147483817"/>
              <pc:sldLayoutMk cId="2207073421" sldId="2147483824"/>
              <ac:spMk id="15" creationId="{45E3D455-8565-BF44-B4F2-7BE266357492}"/>
            </ac:spMkLst>
          </pc:spChg>
          <pc:spChg chg="mod">
            <ac:chgData name="Arav Barot" userId="2aabccd7-f410-4c9c-8764-2e3ea0dd7040" providerId="ADAL" clId="{6545EF83-34ED-4EBF-8118-20E7C988DC66}" dt="2023-11-03T13:36:21.554" v="14714"/>
            <ac:spMkLst>
              <pc:docMk/>
              <pc:sldMasterMk cId="3187980257" sldId="2147483817"/>
              <pc:sldLayoutMk cId="2207073421" sldId="2147483824"/>
              <ac:spMk id="16" creationId="{5C160E3D-FFD5-FA49-9408-864D54260D3F}"/>
            </ac:spMkLst>
          </pc:spChg>
          <pc:picChg chg="mod">
            <ac:chgData name="Arav Barot" userId="2aabccd7-f410-4c9c-8764-2e3ea0dd7040" providerId="ADAL" clId="{6545EF83-34ED-4EBF-8118-20E7C988DC66}" dt="2023-11-03T13:36:21.554" v="14714"/>
            <ac:picMkLst>
              <pc:docMk/>
              <pc:sldMasterMk cId="3187980257" sldId="2147483817"/>
              <pc:sldLayoutMk cId="2207073421" sldId="2147483824"/>
              <ac:picMk id="3" creationId="{44F8E06C-28B5-7C4A-ACB4-558900B7966D}"/>
            </ac:picMkLst>
          </pc:picChg>
          <pc:picChg chg="mod">
            <ac:chgData name="Arav Barot" userId="2aabccd7-f410-4c9c-8764-2e3ea0dd7040" providerId="ADAL" clId="{6545EF83-34ED-4EBF-8118-20E7C988DC66}" dt="2023-11-03T13:36:21.554" v="14714"/>
            <ac:picMkLst>
              <pc:docMk/>
              <pc:sldMasterMk cId="3187980257" sldId="2147483817"/>
              <pc:sldLayoutMk cId="2207073421" sldId="2147483824"/>
              <ac:picMk id="12" creationId="{8AF49EE0-1BBB-438F-8CBF-01F1E8507F96}"/>
            </ac:picMkLst>
          </pc:picChg>
          <pc:picChg chg="mod">
            <ac:chgData name="Arav Barot" userId="2aabccd7-f410-4c9c-8764-2e3ea0dd7040" providerId="ADAL" clId="{6545EF83-34ED-4EBF-8118-20E7C988DC66}" dt="2023-11-03T13:36:21.554" v="14714"/>
            <ac:picMkLst>
              <pc:docMk/>
              <pc:sldMasterMk cId="3187980257" sldId="2147483817"/>
              <pc:sldLayoutMk cId="2207073421" sldId="2147483824"/>
              <ac:picMk id="14" creationId="{1CA1942A-CB4D-9943-A331-C74423A8336F}"/>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4079365290" sldId="2147483825"/>
          </pc:sldLayoutMkLst>
          <pc:spChg chg="mod">
            <ac:chgData name="Arav Barot" userId="2aabccd7-f410-4c9c-8764-2e3ea0dd7040" providerId="ADAL" clId="{6545EF83-34ED-4EBF-8118-20E7C988DC66}" dt="2023-11-03T13:36:21.554" v="14714"/>
            <ac:spMkLst>
              <pc:docMk/>
              <pc:sldMasterMk cId="3187980257" sldId="2147483817"/>
              <pc:sldLayoutMk cId="4079365290" sldId="2147483825"/>
              <ac:spMk id="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1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19"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1"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3" creationId="{DE32AC4D-1322-7346-A456-B5F9D0B7975E}"/>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4"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6"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29"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3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31" creationId="{D98578FB-1B83-7749-A494-CCF5A31699C7}"/>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32" creationId="{31900D05-ECE8-F94F-8255-98CC29FBFED6}"/>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33" creationId="{390ECFE4-F8BA-4A47-B64A-ACDC132E7727}"/>
            </ac:spMkLst>
          </pc:spChg>
          <pc:spChg chg="mod">
            <ac:chgData name="Arav Barot" userId="2aabccd7-f410-4c9c-8764-2e3ea0dd7040" providerId="ADAL" clId="{6545EF83-34ED-4EBF-8118-20E7C988DC66}" dt="2023-11-03T13:36:21.554" v="14714"/>
            <ac:spMkLst>
              <pc:docMk/>
              <pc:sldMasterMk cId="3187980257" sldId="2147483817"/>
              <pc:sldLayoutMk cId="4079365290" sldId="2147483825"/>
              <ac:spMk id="37" creationId="{7A2D1DE3-5E41-4644-913D-9C8C4413A2AE}"/>
            </ac:spMkLst>
          </pc:spChg>
          <pc:picChg chg="mod">
            <ac:chgData name="Arav Barot" userId="2aabccd7-f410-4c9c-8764-2e3ea0dd7040" providerId="ADAL" clId="{6545EF83-34ED-4EBF-8118-20E7C988DC66}" dt="2023-11-03T13:36:21.554" v="14714"/>
            <ac:picMkLst>
              <pc:docMk/>
              <pc:sldMasterMk cId="3187980257" sldId="2147483817"/>
              <pc:sldLayoutMk cId="4079365290" sldId="2147483825"/>
              <ac:picMk id="36" creationId="{8905F514-D44F-054D-A262-0F304748BD2C}"/>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414329483" sldId="2147483826"/>
          </pc:sldLayoutMkLst>
          <pc:spChg chg="mod">
            <ac:chgData name="Arav Barot" userId="2aabccd7-f410-4c9c-8764-2e3ea0dd7040" providerId="ADAL" clId="{6545EF83-34ED-4EBF-8118-20E7C988DC66}" dt="2023-11-03T13:36:21.554" v="14714"/>
            <ac:spMkLst>
              <pc:docMk/>
              <pc:sldMasterMk cId="3187980257" sldId="2147483817"/>
              <pc:sldLayoutMk cId="2414329483" sldId="2147483826"/>
              <ac:spMk id="15" creationId="{26E0D0C4-5FD4-0642-B295-C0224EA483C1}"/>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16" creationId="{2F5BDD0F-AFD4-C74B-8245-DADD56631763}"/>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0" creationId="{529899BB-35A1-EB43-9FE1-4B345A3C340F}"/>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1" creationId="{281474C2-7C1C-164E-B8DF-CA1BDD3F09F2}"/>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4" creationId="{1929BA3D-2DB2-7D4B-8D31-151F8FA52AA1}"/>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5" creationId="{80D0FE5D-D131-E449-BA58-0293D206948D}"/>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6" creationId="{4699D371-5BBA-7643-877D-C0B8709832F8}"/>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7"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8" creationId="{8A136441-DA92-7443-9D56-109D5F1E4F1D}"/>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29" creationId="{68A7F23F-E98A-9240-9D1B-255DEFB68AF1}"/>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0" creationId="{9AF51274-9E33-084E-B38E-EB0B1621A489}"/>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1"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4"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6" creationId="{04C7FA5A-190D-884A-B561-2A2E094EAE67}"/>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39" creationId="{EC96074D-80C6-48BC-BD61-10874A2F0E84}"/>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41" creationId="{88C8DB49-3E2E-466B-95F5-98BC64378DCB}"/>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42" creationId="{801F6CE0-26C6-4C81-8171-2751482FB2B9}"/>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43" creationId="{9C040585-FD13-8648-AC59-B2CF40EEA679}"/>
            </ac:spMkLst>
          </pc:spChg>
          <pc:spChg chg="mod">
            <ac:chgData name="Arav Barot" userId="2aabccd7-f410-4c9c-8764-2e3ea0dd7040" providerId="ADAL" clId="{6545EF83-34ED-4EBF-8118-20E7C988DC66}" dt="2023-11-03T13:36:21.554" v="14714"/>
            <ac:spMkLst>
              <pc:docMk/>
              <pc:sldMasterMk cId="3187980257" sldId="2147483817"/>
              <pc:sldLayoutMk cId="2414329483" sldId="2147483826"/>
              <ac:spMk id="45" creationId="{7009E667-5EE1-C849-8502-BBF980A745E4}"/>
            </ac:spMkLst>
          </pc:spChg>
          <pc:picChg chg="mod">
            <ac:chgData name="Arav Barot" userId="2aabccd7-f410-4c9c-8764-2e3ea0dd7040" providerId="ADAL" clId="{6545EF83-34ED-4EBF-8118-20E7C988DC66}" dt="2023-11-03T13:36:21.554" v="14714"/>
            <ac:picMkLst>
              <pc:docMk/>
              <pc:sldMasterMk cId="3187980257" sldId="2147483817"/>
              <pc:sldLayoutMk cId="2414329483" sldId="2147483826"/>
              <ac:picMk id="44" creationId="{A7B2A008-3B86-654E-A43F-7EB1F0EACCD6}"/>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665426707" sldId="2147483827"/>
          </pc:sldLayoutMkLst>
          <pc:spChg chg="mod">
            <ac:chgData name="Arav Barot" userId="2aabccd7-f410-4c9c-8764-2e3ea0dd7040" providerId="ADAL" clId="{6545EF83-34ED-4EBF-8118-20E7C988DC66}" dt="2023-11-03T13:36:21.554" v="14714"/>
            <ac:spMkLst>
              <pc:docMk/>
              <pc:sldMasterMk cId="3187980257" sldId="2147483817"/>
              <pc:sldLayoutMk cId="3665426707" sldId="2147483827"/>
              <ac:spMk id="15" creationId="{26E0D0C4-5FD4-0642-B295-C0224EA483C1}"/>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16" creationId="{2F5BDD0F-AFD4-C74B-8245-DADD56631763}"/>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18" creationId="{E747F29B-F6DB-E74A-8874-F2B248E9CC88}"/>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20" creationId="{DD686842-45DD-A743-A86B-048D3769C80E}"/>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24" creationId="{15045353-A334-CD47-B40A-8525BB81AECD}"/>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26" creationId="{F6CC0ABD-C6B6-449C-A856-6992733EC329}"/>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27" creationId="{8BAD62F0-E82B-4F15-9424-8B7A3CB4A9F0}"/>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30" creationId="{645A298A-EE45-4BB7-A7BB-9F68A893C106}"/>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63" creationId="{FC09CB9E-CDCA-234D-8688-7D8EF2276D70}"/>
            </ac:spMkLst>
          </pc:spChg>
          <pc:spChg chg="mod">
            <ac:chgData name="Arav Barot" userId="2aabccd7-f410-4c9c-8764-2e3ea0dd7040" providerId="ADAL" clId="{6545EF83-34ED-4EBF-8118-20E7C988DC66}" dt="2023-11-03T13:36:21.554" v="14714"/>
            <ac:spMkLst>
              <pc:docMk/>
              <pc:sldMasterMk cId="3187980257" sldId="2147483817"/>
              <pc:sldLayoutMk cId="3665426707" sldId="2147483827"/>
              <ac:spMk id="64" creationId="{0D45B477-E217-AE43-AE6B-0194F68198D8}"/>
            </ac:spMkLst>
          </pc:spChg>
          <pc:picChg chg="mod">
            <ac:chgData name="Arav Barot" userId="2aabccd7-f410-4c9c-8764-2e3ea0dd7040" providerId="ADAL" clId="{6545EF83-34ED-4EBF-8118-20E7C988DC66}" dt="2023-11-03T13:36:21.554" v="14714"/>
            <ac:picMkLst>
              <pc:docMk/>
              <pc:sldMasterMk cId="3187980257" sldId="2147483817"/>
              <pc:sldLayoutMk cId="3665426707" sldId="2147483827"/>
              <ac:picMk id="17" creationId="{2032916B-69A7-4AA7-9047-F38B2CD89B76}"/>
            </ac:picMkLst>
          </pc:picChg>
          <pc:picChg chg="mod">
            <ac:chgData name="Arav Barot" userId="2aabccd7-f410-4c9c-8764-2e3ea0dd7040" providerId="ADAL" clId="{6545EF83-34ED-4EBF-8118-20E7C988DC66}" dt="2023-11-03T13:36:21.554" v="14714"/>
            <ac:picMkLst>
              <pc:docMk/>
              <pc:sldMasterMk cId="3187980257" sldId="2147483817"/>
              <pc:sldLayoutMk cId="3665426707" sldId="2147483827"/>
              <ac:picMk id="19" creationId="{7CD14DDA-3B32-DD44-8C4B-C6CB59232D4D}"/>
            </ac:picMkLst>
          </pc:picChg>
          <pc:picChg chg="mod">
            <ac:chgData name="Arav Barot" userId="2aabccd7-f410-4c9c-8764-2e3ea0dd7040" providerId="ADAL" clId="{6545EF83-34ED-4EBF-8118-20E7C988DC66}" dt="2023-11-03T13:36:21.554" v="14714"/>
            <ac:picMkLst>
              <pc:docMk/>
              <pc:sldMasterMk cId="3187980257" sldId="2147483817"/>
              <pc:sldLayoutMk cId="3665426707" sldId="2147483827"/>
              <ac:picMk id="28" creationId="{2479A389-35E1-C04E-BD47-C2126F0E891B}"/>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4197228975" sldId="2147483828"/>
          </pc:sldLayoutMkLst>
          <pc:spChg chg="mod">
            <ac:chgData name="Arav Barot" userId="2aabccd7-f410-4c9c-8764-2e3ea0dd7040" providerId="ADAL" clId="{6545EF83-34ED-4EBF-8118-20E7C988DC66}" dt="2023-11-03T13:36:21.554" v="14714"/>
            <ac:spMkLst>
              <pc:docMk/>
              <pc:sldMasterMk cId="3187980257" sldId="2147483817"/>
              <pc:sldLayoutMk cId="4197228975" sldId="2147483828"/>
              <ac:spMk id="6" creationId="{4BDD2A89-7917-0B4B-B30C-B92C65C03A71}"/>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15" creationId="{26E0D0C4-5FD4-0642-B295-C0224EA483C1}"/>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16" creationId="{2F5BDD0F-AFD4-C74B-8245-DADD56631763}"/>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21" creationId="{A5B7DC72-AC07-F04E-A773-A9E70288F8E5}"/>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24" creationId="{E32D963E-1C3C-8A42-A538-DAEF9AE7846D}"/>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27" creationId="{744DFB4A-4ACD-D24A-B7E4-2615CAA5D6F5}"/>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28" creationId="{C90A7146-3D90-404F-997B-A820E22D1F4E}"/>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33" creationId="{023F7B08-00F6-8845-BEE0-BC2159A38DB7}"/>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35" creationId="{FD16761B-6D7A-3044-B3AD-8B9639F5C665}"/>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36" creationId="{BF571AF9-B96A-414A-9B75-96EC7E38B78A}"/>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37" creationId="{39B8D964-9596-CB4C-905D-4CC58796DBB3}"/>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38" creationId="{30EDCDDA-3A4F-7844-B2AD-5947E0813061}"/>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39" creationId="{15B2E6AC-D309-324D-9AC7-3D2B4E6A972B}"/>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41" creationId="{E9DC6518-0600-024E-AAB6-30632633F7CB}"/>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42" creationId="{848C9ADB-8ADC-2D4F-8681-534AEDA43DA8}"/>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43" creationId="{76F353EE-5659-6E4F-9D67-B860651791D2}"/>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47" creationId="{E21AEF62-E2C3-854F-9097-02ABF7ECB967}"/>
            </ac:spMkLst>
          </pc:spChg>
          <pc:spChg chg="mod">
            <ac:chgData name="Arav Barot" userId="2aabccd7-f410-4c9c-8764-2e3ea0dd7040" providerId="ADAL" clId="{6545EF83-34ED-4EBF-8118-20E7C988DC66}" dt="2023-11-03T13:36:21.554" v="14714"/>
            <ac:spMkLst>
              <pc:docMk/>
              <pc:sldMasterMk cId="3187980257" sldId="2147483817"/>
              <pc:sldLayoutMk cId="4197228975" sldId="2147483828"/>
              <ac:spMk id="48" creationId="{ED0DAA96-B960-2F4C-A0AD-B7D6A72FA097}"/>
            </ac:spMkLst>
          </pc:spChg>
          <pc:grpChg chg="mod">
            <ac:chgData name="Arav Barot" userId="2aabccd7-f410-4c9c-8764-2e3ea0dd7040" providerId="ADAL" clId="{6545EF83-34ED-4EBF-8118-20E7C988DC66}" dt="2023-11-03T13:36:21.554" v="14714"/>
            <ac:grpSpMkLst>
              <pc:docMk/>
              <pc:sldMasterMk cId="3187980257" sldId="2147483817"/>
              <pc:sldLayoutMk cId="4197228975" sldId="2147483828"/>
              <ac:grpSpMk id="2" creationId="{154FB1E1-E5C0-9F41-B2D9-61818F1FBEC4}"/>
            </ac:grpSpMkLst>
          </pc:grpChg>
          <pc:picChg chg="mod">
            <ac:chgData name="Arav Barot" userId="2aabccd7-f410-4c9c-8764-2e3ea0dd7040" providerId="ADAL" clId="{6545EF83-34ED-4EBF-8118-20E7C988DC66}" dt="2023-11-03T13:36:21.554" v="14714"/>
            <ac:picMkLst>
              <pc:docMk/>
              <pc:sldMasterMk cId="3187980257" sldId="2147483817"/>
              <pc:sldLayoutMk cId="4197228975" sldId="2147483828"/>
              <ac:picMk id="25" creationId="{A7709B7F-E46F-5F44-B782-911809B06674}"/>
            </ac:picMkLst>
          </pc:picChg>
          <pc:picChg chg="mod">
            <ac:chgData name="Arav Barot" userId="2aabccd7-f410-4c9c-8764-2e3ea0dd7040" providerId="ADAL" clId="{6545EF83-34ED-4EBF-8118-20E7C988DC66}" dt="2023-11-03T13:36:21.554" v="14714"/>
            <ac:picMkLst>
              <pc:docMk/>
              <pc:sldMasterMk cId="3187980257" sldId="2147483817"/>
              <pc:sldLayoutMk cId="4197228975" sldId="2147483828"/>
              <ac:picMk id="29" creationId="{A9A7CE4A-C685-BB4C-8DD5-29CD20B9B653}"/>
            </ac:picMkLst>
          </pc:picChg>
          <pc:picChg chg="mod">
            <ac:chgData name="Arav Barot" userId="2aabccd7-f410-4c9c-8764-2e3ea0dd7040" providerId="ADAL" clId="{6545EF83-34ED-4EBF-8118-20E7C988DC66}" dt="2023-11-03T13:36:21.554" v="14714"/>
            <ac:picMkLst>
              <pc:docMk/>
              <pc:sldMasterMk cId="3187980257" sldId="2147483817"/>
              <pc:sldLayoutMk cId="4197228975" sldId="2147483828"/>
              <ac:picMk id="46" creationId="{23D0D7AC-251E-4350-A406-98DEF21509B6}"/>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427235215" sldId="2147483829"/>
          </pc:sldLayoutMkLst>
          <pc:spChg chg="mod">
            <ac:chgData name="Arav Barot" userId="2aabccd7-f410-4c9c-8764-2e3ea0dd7040" providerId="ADAL" clId="{6545EF83-34ED-4EBF-8118-20E7C988DC66}" dt="2023-11-03T13:36:21.554" v="14714"/>
            <ac:spMkLst>
              <pc:docMk/>
              <pc:sldMasterMk cId="3187980257" sldId="2147483817"/>
              <pc:sldLayoutMk cId="1427235215" sldId="2147483829"/>
              <ac:spMk id="8" creationId="{8329AEEC-1E23-AD45-98D7-6A4483104018}"/>
            </ac:spMkLst>
          </pc:spChg>
          <pc:spChg chg="mod">
            <ac:chgData name="Arav Barot" userId="2aabccd7-f410-4c9c-8764-2e3ea0dd7040" providerId="ADAL" clId="{6545EF83-34ED-4EBF-8118-20E7C988DC66}" dt="2023-11-03T13:36:21.554" v="14714"/>
            <ac:spMkLst>
              <pc:docMk/>
              <pc:sldMasterMk cId="3187980257" sldId="2147483817"/>
              <pc:sldLayoutMk cId="1427235215" sldId="2147483829"/>
              <ac:spMk id="9" creationId="{C7005402-EAF2-514A-B38B-68125E005F6A}"/>
            </ac:spMkLst>
          </pc:spChg>
          <pc:spChg chg="mod">
            <ac:chgData name="Arav Barot" userId="2aabccd7-f410-4c9c-8764-2e3ea0dd7040" providerId="ADAL" clId="{6545EF83-34ED-4EBF-8118-20E7C988DC66}" dt="2023-11-03T13:36:21.554" v="14714"/>
            <ac:spMkLst>
              <pc:docMk/>
              <pc:sldMasterMk cId="3187980257" sldId="2147483817"/>
              <pc:sldLayoutMk cId="1427235215" sldId="2147483829"/>
              <ac:spMk id="10" creationId="{DC00AB42-2E28-7648-8A63-83302D5B1876}"/>
            </ac:spMkLst>
          </pc:spChg>
          <pc:spChg chg="mod">
            <ac:chgData name="Arav Barot" userId="2aabccd7-f410-4c9c-8764-2e3ea0dd7040" providerId="ADAL" clId="{6545EF83-34ED-4EBF-8118-20E7C988DC66}" dt="2023-11-03T13:36:21.554" v="14714"/>
            <ac:spMkLst>
              <pc:docMk/>
              <pc:sldMasterMk cId="3187980257" sldId="2147483817"/>
              <pc:sldLayoutMk cId="1427235215" sldId="2147483829"/>
              <ac:spMk id="11" creationId="{43F41E55-45C6-A04C-81A9-467605465BF3}"/>
            </ac:spMkLst>
          </pc:spChg>
          <pc:spChg chg="mod">
            <ac:chgData name="Arav Barot" userId="2aabccd7-f410-4c9c-8764-2e3ea0dd7040" providerId="ADAL" clId="{6545EF83-34ED-4EBF-8118-20E7C988DC66}" dt="2023-11-03T13:36:21.554" v="14714"/>
            <ac:spMkLst>
              <pc:docMk/>
              <pc:sldMasterMk cId="3187980257" sldId="2147483817"/>
              <pc:sldLayoutMk cId="1427235215" sldId="2147483829"/>
              <ac:spMk id="13" creationId="{EA5DF452-8078-B64F-806E-210DA1433C27}"/>
            </ac:spMkLst>
          </pc:spChg>
          <pc:picChg chg="mod">
            <ac:chgData name="Arav Barot" userId="2aabccd7-f410-4c9c-8764-2e3ea0dd7040" providerId="ADAL" clId="{6545EF83-34ED-4EBF-8118-20E7C988DC66}" dt="2023-11-03T13:36:21.554" v="14714"/>
            <ac:picMkLst>
              <pc:docMk/>
              <pc:sldMasterMk cId="3187980257" sldId="2147483817"/>
              <pc:sldLayoutMk cId="1427235215" sldId="2147483829"/>
              <ac:picMk id="15" creationId="{845F2D9B-2C3F-7D48-AF78-CD304E4A7F55}"/>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542183380" sldId="2147483830"/>
          </pc:sldLayoutMkLst>
          <pc:spChg chg="mod">
            <ac:chgData name="Arav Barot" userId="2aabccd7-f410-4c9c-8764-2e3ea0dd7040" providerId="ADAL" clId="{6545EF83-34ED-4EBF-8118-20E7C988DC66}" dt="2023-11-03T13:36:21.554" v="14714"/>
            <ac:spMkLst>
              <pc:docMk/>
              <pc:sldMasterMk cId="3187980257" sldId="2147483817"/>
              <pc:sldLayoutMk cId="1542183380" sldId="2147483830"/>
              <ac:spMk id="8" creationId="{1D32114B-A3CF-8B46-8691-17C64D5027D3}"/>
            </ac:spMkLst>
          </pc:spChg>
          <pc:spChg chg="mod">
            <ac:chgData name="Arav Barot" userId="2aabccd7-f410-4c9c-8764-2e3ea0dd7040" providerId="ADAL" clId="{6545EF83-34ED-4EBF-8118-20E7C988DC66}" dt="2023-11-03T13:36:21.554" v="14714"/>
            <ac:spMkLst>
              <pc:docMk/>
              <pc:sldMasterMk cId="3187980257" sldId="2147483817"/>
              <pc:sldLayoutMk cId="1542183380" sldId="2147483830"/>
              <ac:spMk id="9" creationId="{C7005402-EAF2-514A-B38B-68125E005F6A}"/>
            </ac:spMkLst>
          </pc:spChg>
          <pc:spChg chg="mod">
            <ac:chgData name="Arav Barot" userId="2aabccd7-f410-4c9c-8764-2e3ea0dd7040" providerId="ADAL" clId="{6545EF83-34ED-4EBF-8118-20E7C988DC66}" dt="2023-11-03T13:36:21.554" v="14714"/>
            <ac:spMkLst>
              <pc:docMk/>
              <pc:sldMasterMk cId="3187980257" sldId="2147483817"/>
              <pc:sldLayoutMk cId="1542183380" sldId="2147483830"/>
              <ac:spMk id="10" creationId="{365E4798-370B-7547-BC85-09F8897ED19F}"/>
            </ac:spMkLst>
          </pc:spChg>
          <pc:spChg chg="mod">
            <ac:chgData name="Arav Barot" userId="2aabccd7-f410-4c9c-8764-2e3ea0dd7040" providerId="ADAL" clId="{6545EF83-34ED-4EBF-8118-20E7C988DC66}" dt="2023-11-03T13:36:21.554" v="14714"/>
            <ac:spMkLst>
              <pc:docMk/>
              <pc:sldMasterMk cId="3187980257" sldId="2147483817"/>
              <pc:sldLayoutMk cId="1542183380" sldId="2147483830"/>
              <ac:spMk id="11" creationId="{43F41E55-45C6-A04C-81A9-467605465BF3}"/>
            </ac:spMkLst>
          </pc:spChg>
          <pc:spChg chg="mod">
            <ac:chgData name="Arav Barot" userId="2aabccd7-f410-4c9c-8764-2e3ea0dd7040" providerId="ADAL" clId="{6545EF83-34ED-4EBF-8118-20E7C988DC66}" dt="2023-11-03T13:36:21.554" v="14714"/>
            <ac:spMkLst>
              <pc:docMk/>
              <pc:sldMasterMk cId="3187980257" sldId="2147483817"/>
              <pc:sldLayoutMk cId="1542183380" sldId="2147483830"/>
              <ac:spMk id="14" creationId="{C6B75845-6FA1-BC4D-91F5-A5BFB9327AAE}"/>
            </ac:spMkLst>
          </pc:spChg>
          <pc:picChg chg="mod">
            <ac:chgData name="Arav Barot" userId="2aabccd7-f410-4c9c-8764-2e3ea0dd7040" providerId="ADAL" clId="{6545EF83-34ED-4EBF-8118-20E7C988DC66}" dt="2023-11-03T13:36:21.554" v="14714"/>
            <ac:picMkLst>
              <pc:docMk/>
              <pc:sldMasterMk cId="3187980257" sldId="2147483817"/>
              <pc:sldLayoutMk cId="1542183380" sldId="2147483830"/>
              <ac:picMk id="15" creationId="{9E594A77-614D-0342-895C-7A8FF465E86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993419595" sldId="2147483831"/>
          </pc:sldLayoutMkLst>
          <pc:spChg chg="mod">
            <ac:chgData name="Arav Barot" userId="2aabccd7-f410-4c9c-8764-2e3ea0dd7040" providerId="ADAL" clId="{6545EF83-34ED-4EBF-8118-20E7C988DC66}" dt="2023-11-03T13:36:21.554" v="14714"/>
            <ac:spMkLst>
              <pc:docMk/>
              <pc:sldMasterMk cId="3187980257" sldId="2147483817"/>
              <pc:sldLayoutMk cId="1993419595" sldId="2147483831"/>
              <ac:spMk id="8" creationId="{E95AC976-CAC2-C04B-BF9A-93036240D074}"/>
            </ac:spMkLst>
          </pc:spChg>
          <pc:spChg chg="mod">
            <ac:chgData name="Arav Barot" userId="2aabccd7-f410-4c9c-8764-2e3ea0dd7040" providerId="ADAL" clId="{6545EF83-34ED-4EBF-8118-20E7C988DC66}" dt="2023-11-03T13:36:21.554" v="14714"/>
            <ac:spMkLst>
              <pc:docMk/>
              <pc:sldMasterMk cId="3187980257" sldId="2147483817"/>
              <pc:sldLayoutMk cId="1993419595" sldId="2147483831"/>
              <ac:spMk id="9" creationId="{C7005402-EAF2-514A-B38B-68125E005F6A}"/>
            </ac:spMkLst>
          </pc:spChg>
          <pc:spChg chg="mod">
            <ac:chgData name="Arav Barot" userId="2aabccd7-f410-4c9c-8764-2e3ea0dd7040" providerId="ADAL" clId="{6545EF83-34ED-4EBF-8118-20E7C988DC66}" dt="2023-11-03T13:36:21.554" v="14714"/>
            <ac:spMkLst>
              <pc:docMk/>
              <pc:sldMasterMk cId="3187980257" sldId="2147483817"/>
              <pc:sldLayoutMk cId="1993419595" sldId="2147483831"/>
              <ac:spMk id="10" creationId="{9700ECC2-F279-8343-BE2E-ECAE37280F43}"/>
            </ac:spMkLst>
          </pc:spChg>
          <pc:spChg chg="mod">
            <ac:chgData name="Arav Barot" userId="2aabccd7-f410-4c9c-8764-2e3ea0dd7040" providerId="ADAL" clId="{6545EF83-34ED-4EBF-8118-20E7C988DC66}" dt="2023-11-03T13:36:21.554" v="14714"/>
            <ac:spMkLst>
              <pc:docMk/>
              <pc:sldMasterMk cId="3187980257" sldId="2147483817"/>
              <pc:sldLayoutMk cId="1993419595" sldId="2147483831"/>
              <ac:spMk id="11" creationId="{43F41E55-45C6-A04C-81A9-467605465BF3}"/>
            </ac:spMkLst>
          </pc:spChg>
          <pc:spChg chg="mod">
            <ac:chgData name="Arav Barot" userId="2aabccd7-f410-4c9c-8764-2e3ea0dd7040" providerId="ADAL" clId="{6545EF83-34ED-4EBF-8118-20E7C988DC66}" dt="2023-11-03T13:36:21.554" v="14714"/>
            <ac:spMkLst>
              <pc:docMk/>
              <pc:sldMasterMk cId="3187980257" sldId="2147483817"/>
              <pc:sldLayoutMk cId="1993419595" sldId="2147483831"/>
              <ac:spMk id="12" creationId="{73DA4228-1711-0546-9198-E5EFE76BE864}"/>
            </ac:spMkLst>
          </pc:spChg>
          <pc:picChg chg="mod">
            <ac:chgData name="Arav Barot" userId="2aabccd7-f410-4c9c-8764-2e3ea0dd7040" providerId="ADAL" clId="{6545EF83-34ED-4EBF-8118-20E7C988DC66}" dt="2023-11-03T13:36:21.554" v="14714"/>
            <ac:picMkLst>
              <pc:docMk/>
              <pc:sldMasterMk cId="3187980257" sldId="2147483817"/>
              <pc:sldLayoutMk cId="1993419595" sldId="2147483831"/>
              <ac:picMk id="13" creationId="{6E3C76D2-683C-8247-A929-24496CFA850B}"/>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4052501098" sldId="2147483832"/>
          </pc:sldLayoutMkLst>
          <pc:spChg chg="mod">
            <ac:chgData name="Arav Barot" userId="2aabccd7-f410-4c9c-8764-2e3ea0dd7040" providerId="ADAL" clId="{6545EF83-34ED-4EBF-8118-20E7C988DC66}" dt="2023-11-03T13:36:21.554" v="14714"/>
            <ac:spMkLst>
              <pc:docMk/>
              <pc:sldMasterMk cId="3187980257" sldId="2147483817"/>
              <pc:sldLayoutMk cId="4052501098" sldId="2147483832"/>
              <ac:spMk id="6" creationId="{38B4945C-2A41-EF4D-B1AD-AA76584AF5FC}"/>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10" creationId="{22582A4A-8131-8B42-838D-83CB74B735B5}"/>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12" creationId="{6BB5FF94-24B7-3745-8AE3-2DC16A65FD1E}"/>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14" creationId="{9F9CB8A0-63FA-224B-9D7B-13ED2074C231}"/>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15" creationId="{B869FD86-0753-B542-9A7B-C3055EAEC6C5}"/>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16" creationId="{7E485DF3-9C1C-6B40-B61B-2AEC1BB6DF01}"/>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17" creationId="{5F3B19B7-00F5-4A40-A8AA-2456D9CDFE0D}"/>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19" creationId="{3ED2DD28-397A-B840-BF6E-A903F63601AF}"/>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20" creationId="{C80DB332-A88C-9142-85CA-F1FE8061E6BB}"/>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23" creationId="{7986CE74-060F-42DE-AD11-51AAD15AEFE0}"/>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24" creationId="{A424129B-24DE-455E-9E41-C61330B5BA20}"/>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25" creationId="{0F29B88F-1EF8-466C-B1F1-62889A87237F}"/>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27" creationId="{ECD80740-053C-0F45-B0E0-64CCF36B9361}"/>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28" creationId="{EAC493E8-60F4-C248-A81F-765A3D9F3165}"/>
            </ac:spMkLst>
          </pc:spChg>
          <pc:spChg chg="mod">
            <ac:chgData name="Arav Barot" userId="2aabccd7-f410-4c9c-8764-2e3ea0dd7040" providerId="ADAL" clId="{6545EF83-34ED-4EBF-8118-20E7C988DC66}" dt="2023-11-03T13:36:21.554" v="14714"/>
            <ac:spMkLst>
              <pc:docMk/>
              <pc:sldMasterMk cId="3187980257" sldId="2147483817"/>
              <pc:sldLayoutMk cId="4052501098" sldId="2147483832"/>
              <ac:spMk id="32" creationId="{D8E8C8C2-7CEC-0146-9EDD-FA1F82AA02BF}"/>
            </ac:spMkLst>
          </pc:spChg>
          <pc:picChg chg="mod">
            <ac:chgData name="Arav Barot" userId="2aabccd7-f410-4c9c-8764-2e3ea0dd7040" providerId="ADAL" clId="{6545EF83-34ED-4EBF-8118-20E7C988DC66}" dt="2023-11-03T13:36:21.554" v="14714"/>
            <ac:picMkLst>
              <pc:docMk/>
              <pc:sldMasterMk cId="3187980257" sldId="2147483817"/>
              <pc:sldLayoutMk cId="4052501098" sldId="2147483832"/>
              <ac:picMk id="30" creationId="{2522E286-8CA0-B144-8CF9-814174CE1176}"/>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495941977" sldId="2147483833"/>
          </pc:sldLayoutMkLst>
          <pc:spChg chg="mod">
            <ac:chgData name="Arav Barot" userId="2aabccd7-f410-4c9c-8764-2e3ea0dd7040" providerId="ADAL" clId="{6545EF83-34ED-4EBF-8118-20E7C988DC66}" dt="2023-11-03T13:36:21.554" v="14714"/>
            <ac:spMkLst>
              <pc:docMk/>
              <pc:sldMasterMk cId="3187980257" sldId="2147483817"/>
              <pc:sldLayoutMk cId="3495941977" sldId="2147483833"/>
              <ac:spMk id="10" creationId="{22582A4A-8131-8B42-838D-83CB74B735B5}"/>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12" creationId="{6BB5FF94-24B7-3745-8AE3-2DC16A65FD1E}"/>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14" creationId="{7DEF4F13-1829-0248-A963-13C386379623}"/>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15" creationId="{B869FD86-0753-B542-9A7B-C3055EAEC6C5}"/>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16" creationId="{7E485DF3-9C1C-6B40-B61B-2AEC1BB6DF01}"/>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17" creationId="{5F3B19B7-00F5-4A40-A8AA-2456D9CDFE0D}"/>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19" creationId="{5711D99A-3B87-4C58-8132-839F09C04B05}"/>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20" creationId="{FF68D7A1-AD60-4A27-A847-50F24FBB3CD9}"/>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22" creationId="{D723F149-E109-43C1-8FC2-7BECC63D9FC5}"/>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24" creationId="{2A25B123-AE6C-A44F-AD0C-4DCFEDCEAC06}"/>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25" creationId="{23DE0A01-A589-6F4D-BEA9-14356282ED74}"/>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27" creationId="{09C494E3-809F-9D47-AC33-A1BD27B3D61A}"/>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28" creationId="{7B386C01-88BE-0D40-9AB3-E3A5D81DA4C3}"/>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29" creationId="{F76FAC86-378A-3742-BE0B-E841BF0FCF29}"/>
            </ac:spMkLst>
          </pc:spChg>
          <pc:spChg chg="mod">
            <ac:chgData name="Arav Barot" userId="2aabccd7-f410-4c9c-8764-2e3ea0dd7040" providerId="ADAL" clId="{6545EF83-34ED-4EBF-8118-20E7C988DC66}" dt="2023-11-03T13:36:21.554" v="14714"/>
            <ac:spMkLst>
              <pc:docMk/>
              <pc:sldMasterMk cId="3187980257" sldId="2147483817"/>
              <pc:sldLayoutMk cId="3495941977" sldId="2147483833"/>
              <ac:spMk id="32" creationId="{27598866-ECF4-B548-B7FC-30AE968C2BAE}"/>
            </ac:spMkLst>
          </pc:spChg>
          <pc:picChg chg="mod">
            <ac:chgData name="Arav Barot" userId="2aabccd7-f410-4c9c-8764-2e3ea0dd7040" providerId="ADAL" clId="{6545EF83-34ED-4EBF-8118-20E7C988DC66}" dt="2023-11-03T13:36:21.554" v="14714"/>
            <ac:picMkLst>
              <pc:docMk/>
              <pc:sldMasterMk cId="3187980257" sldId="2147483817"/>
              <pc:sldLayoutMk cId="3495941977" sldId="2147483833"/>
              <ac:picMk id="31" creationId="{3058F016-C890-4448-AB16-F5A793FDA3CF}"/>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26972098" sldId="2147483834"/>
          </pc:sldLayoutMkLst>
          <pc:spChg chg="mod">
            <ac:chgData name="Arav Barot" userId="2aabccd7-f410-4c9c-8764-2e3ea0dd7040" providerId="ADAL" clId="{6545EF83-34ED-4EBF-8118-20E7C988DC66}" dt="2023-11-03T13:36:21.554" v="14714"/>
            <ac:spMkLst>
              <pc:docMk/>
              <pc:sldMasterMk cId="3187980257" sldId="2147483817"/>
              <pc:sldLayoutMk cId="126972098" sldId="2147483834"/>
              <ac:spMk id="10" creationId="{22582A4A-8131-8B42-838D-83CB74B735B5}"/>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12" creationId="{6BB5FF94-24B7-3745-8AE3-2DC16A65FD1E}"/>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14" creationId="{38A2C15A-BB19-E94D-BC34-890D5C3B1B75}"/>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15" creationId="{B869FD86-0753-B542-9A7B-C3055EAEC6C5}"/>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16" creationId="{7E485DF3-9C1C-6B40-B61B-2AEC1BB6DF01}"/>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17" creationId="{5F3B19B7-00F5-4A40-A8AA-2456D9CDFE0D}"/>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19" creationId="{36B88A47-1A90-4C33-B5BB-E8F8A2BCFFA9}"/>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20" creationId="{15652C45-9695-432A-A100-87D42613D04C}"/>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22" creationId="{3864B008-0AE2-49F7-B572-A793936F44D8}"/>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24" creationId="{59C1CFE4-D091-1240-9F9C-DD9A49E65DF4}"/>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25" creationId="{E2260129-F611-B44E-8425-B6EAA2E6DB86}"/>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27" creationId="{6085AEA9-2B08-DC4B-8107-CB0DD7BF5424}"/>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28" creationId="{A6B31474-639D-FB4A-A034-CBD50C4A248B}"/>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29" creationId="{0A439387-ACBE-6347-84E7-4DFD7489F81B}"/>
            </ac:spMkLst>
          </pc:spChg>
          <pc:spChg chg="mod">
            <ac:chgData name="Arav Barot" userId="2aabccd7-f410-4c9c-8764-2e3ea0dd7040" providerId="ADAL" clId="{6545EF83-34ED-4EBF-8118-20E7C988DC66}" dt="2023-11-03T13:36:21.554" v="14714"/>
            <ac:spMkLst>
              <pc:docMk/>
              <pc:sldMasterMk cId="3187980257" sldId="2147483817"/>
              <pc:sldLayoutMk cId="126972098" sldId="2147483834"/>
              <ac:spMk id="31" creationId="{3CC254D6-C94A-3048-828A-6A34BA73D012}"/>
            </ac:spMkLst>
          </pc:spChg>
          <pc:picChg chg="mod">
            <ac:chgData name="Arav Barot" userId="2aabccd7-f410-4c9c-8764-2e3ea0dd7040" providerId="ADAL" clId="{6545EF83-34ED-4EBF-8118-20E7C988DC66}" dt="2023-11-03T13:36:21.554" v="14714"/>
            <ac:picMkLst>
              <pc:docMk/>
              <pc:sldMasterMk cId="3187980257" sldId="2147483817"/>
              <pc:sldLayoutMk cId="126972098" sldId="2147483834"/>
              <ac:picMk id="30" creationId="{6764A4FF-D0BE-2749-8B36-F63FC8A39959}"/>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625575758" sldId="2147483835"/>
          </pc:sldLayoutMkLst>
          <pc:spChg chg="mod">
            <ac:chgData name="Arav Barot" userId="2aabccd7-f410-4c9c-8764-2e3ea0dd7040" providerId="ADAL" clId="{6545EF83-34ED-4EBF-8118-20E7C988DC66}" dt="2023-11-03T13:36:21.554" v="14714"/>
            <ac:spMkLst>
              <pc:docMk/>
              <pc:sldMasterMk cId="3187980257" sldId="2147483817"/>
              <pc:sldLayoutMk cId="1625575758" sldId="2147483835"/>
              <ac:spMk id="22" creationId="{07513F9C-EE39-7542-811C-9CEEEC0F51E8}"/>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23" creationId="{A6DFC49E-B8E0-C148-B32E-FED0EED8A159}"/>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24"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25" creationId="{A8D2FA19-1537-3045-B484-D21CEBD3BEA2}"/>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26" creationId="{B994109E-66EA-7E41-B51B-15ECDBB55D98}"/>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27" creationId="{B06056A5-F1C1-46A9-9B1E-C7228A1CC897}"/>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28" creationId="{71E2B43B-DFED-4D0E-BF60-9107D32B5F42}"/>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29" creationId="{8591D196-2495-7D48-8812-C763F1756742}"/>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0" creationId="{BA57F404-4155-B848-9FDB-9C9690DDEA26}"/>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4"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6"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7"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39"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4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41"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4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4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625575758" sldId="2147483835"/>
              <ac:spMk id="50" creationId="{D4A885A9-7D63-AC45-A079-165F9D9B9516}"/>
            </ac:spMkLst>
          </pc:spChg>
          <pc:picChg chg="mod">
            <ac:chgData name="Arav Barot" userId="2aabccd7-f410-4c9c-8764-2e3ea0dd7040" providerId="ADAL" clId="{6545EF83-34ED-4EBF-8118-20E7C988DC66}" dt="2023-11-03T13:36:21.554" v="14714"/>
            <ac:picMkLst>
              <pc:docMk/>
              <pc:sldMasterMk cId="3187980257" sldId="2147483817"/>
              <pc:sldLayoutMk cId="1625575758" sldId="2147483835"/>
              <ac:picMk id="31" creationId="{4D1E6AF5-5B5A-2145-ABFC-7A372C158E8A}"/>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576962017" sldId="2147483836"/>
          </pc:sldLayoutMkLst>
          <pc:spChg chg="mod">
            <ac:chgData name="Arav Barot" userId="2aabccd7-f410-4c9c-8764-2e3ea0dd7040" providerId="ADAL" clId="{6545EF83-34ED-4EBF-8118-20E7C988DC66}" dt="2023-11-03T13:36:21.554" v="14714"/>
            <ac:spMkLst>
              <pc:docMk/>
              <pc:sldMasterMk cId="3187980257" sldId="2147483817"/>
              <pc:sldLayoutMk cId="3576962017" sldId="2147483836"/>
              <ac:spMk id="12" creationId="{03CECF65-0E45-D248-8B21-F2DE33A072C6}"/>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13" creationId="{C1BE0C36-FE1D-6746-865B-307B0089794E}"/>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14" creationId="{37CAFF95-FADF-6648-BDD9-4C4BFE73DBE9}"/>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18" creationId="{B498CE03-C502-4673-ADF8-8C936978C2AF}"/>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19" creationId="{108D6D55-5BD1-478F-81BD-D1B115ED791D}"/>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21" creationId="{A7A805A3-1B2F-944A-A8BD-D34EF0F66A6C}"/>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23" creationId="{899E1C9A-0E8A-1E4E-B414-0B6BB1BAA7E4}"/>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3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34"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3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576962017" sldId="2147483836"/>
              <ac:spMk id="36" creationId="{00000000-0000-0000-0000-000000000000}"/>
            </ac:spMkLst>
          </pc:spChg>
          <pc:picChg chg="mod">
            <ac:chgData name="Arav Barot" userId="2aabccd7-f410-4c9c-8764-2e3ea0dd7040" providerId="ADAL" clId="{6545EF83-34ED-4EBF-8118-20E7C988DC66}" dt="2023-11-03T13:36:21.554" v="14714"/>
            <ac:picMkLst>
              <pc:docMk/>
              <pc:sldMasterMk cId="3187980257" sldId="2147483817"/>
              <pc:sldLayoutMk cId="3576962017" sldId="2147483836"/>
              <ac:picMk id="22" creationId="{2E5E5EDC-DAEC-004B-BF1F-B9412B45995B}"/>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4268165149" sldId="2147483837"/>
          </pc:sldLayoutMkLst>
          <pc:spChg chg="mod">
            <ac:chgData name="Arav Barot" userId="2aabccd7-f410-4c9c-8764-2e3ea0dd7040" providerId="ADAL" clId="{6545EF83-34ED-4EBF-8118-20E7C988DC66}" dt="2023-11-03T13:36:21.554" v="14714"/>
            <ac:spMkLst>
              <pc:docMk/>
              <pc:sldMasterMk cId="3187980257" sldId="2147483817"/>
              <pc:sldLayoutMk cId="4268165149" sldId="2147483837"/>
              <ac:spMk id="14" creationId="{C89220D1-AA02-1143-9326-E76C4A21DB45}"/>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17" creationId="{08225B9D-F52B-C54B-9FE5-E8A45CF2F37D}"/>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18" creationId="{408DAC02-DA2C-A541-9BF2-8423874CD02F}"/>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19" creationId="{A002E8A6-157C-6848-9A81-0A38014960DC}"/>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0" creationId="{E259F346-80F2-874A-8686-4795C7FF1383}"/>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1" creationId="{FD6D4567-FEAF-A94F-95C7-CEC0574E60B2}"/>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3" creationId="{94256B19-69CC-CC4A-B63B-62EE07441DCE}"/>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4"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5" creationId="{B5A19FDD-3438-41AD-BEB2-1479AA4F676B}"/>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6" creationId="{E5B2B697-2B29-435C-B5BB-2C5794B85926}"/>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7" creationId="{BA76C010-0FBE-4EE3-8DC5-CDE718B2D1D2}"/>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28" creationId="{30BBB2FC-72B2-0642-975C-E2C07DC53F47}"/>
            </ac:spMkLst>
          </pc:spChg>
          <pc:spChg chg="mod">
            <ac:chgData name="Arav Barot" userId="2aabccd7-f410-4c9c-8764-2e3ea0dd7040" providerId="ADAL" clId="{6545EF83-34ED-4EBF-8118-20E7C988DC66}" dt="2023-11-03T13:36:21.554" v="14714"/>
            <ac:spMkLst>
              <pc:docMk/>
              <pc:sldMasterMk cId="3187980257" sldId="2147483817"/>
              <pc:sldLayoutMk cId="4268165149" sldId="2147483837"/>
              <ac:spMk id="31" creationId="{DC74CEB3-35C5-3745-BD36-E7CF17856D6A}"/>
            </ac:spMkLst>
          </pc:spChg>
          <pc:picChg chg="mod">
            <ac:chgData name="Arav Barot" userId="2aabccd7-f410-4c9c-8764-2e3ea0dd7040" providerId="ADAL" clId="{6545EF83-34ED-4EBF-8118-20E7C988DC66}" dt="2023-11-03T13:36:21.554" v="14714"/>
            <ac:picMkLst>
              <pc:docMk/>
              <pc:sldMasterMk cId="3187980257" sldId="2147483817"/>
              <pc:sldLayoutMk cId="4268165149" sldId="2147483837"/>
              <ac:picMk id="30" creationId="{5464A9EB-3EF7-F44D-9D6D-ED46D0669304}"/>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098912997" sldId="2147483838"/>
          </pc:sldLayoutMkLst>
          <pc:spChg chg="mod">
            <ac:chgData name="Arav Barot" userId="2aabccd7-f410-4c9c-8764-2e3ea0dd7040" providerId="ADAL" clId="{6545EF83-34ED-4EBF-8118-20E7C988DC66}" dt="2023-11-03T13:36:21.554" v="14714"/>
            <ac:spMkLst>
              <pc:docMk/>
              <pc:sldMasterMk cId="3187980257" sldId="2147483817"/>
              <pc:sldLayoutMk cId="1098912997" sldId="2147483838"/>
              <ac:spMk id="1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17"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1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19"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2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21"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22" creationId="{93460164-7911-D94F-A14D-9EADF8E82A1D}"/>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25" creationId="{4E31EEF8-D2AB-4F46-A0CA-65A0F1C3C0B1}"/>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27" creationId="{55D6CBD0-C3E3-454F-A8C6-47B4894FA7E6}"/>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28" creationId="{F0077DA0-949A-EB43-9407-01A9C90787C8}"/>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29" creationId="{6350CEFB-7B8C-4AF3-AC79-184DF8876242}"/>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30" creationId="{0ED23F61-DC80-4EFF-A3B8-3F79B6138E91}"/>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33" creationId="{7E94BAD7-DD84-9349-8DF1-AC577AD6DCF8}"/>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34" creationId="{8B402192-577E-314C-8D16-94CE6CDAC92F}"/>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35" creationId="{CCA68E53-F57C-F944-9941-F7ED4A29A9CA}"/>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36" creationId="{FC6B29A2-B309-4946-8DC2-E98ED96B9CED}"/>
            </ac:spMkLst>
          </pc:spChg>
          <pc:spChg chg="mod">
            <ac:chgData name="Arav Barot" userId="2aabccd7-f410-4c9c-8764-2e3ea0dd7040" providerId="ADAL" clId="{6545EF83-34ED-4EBF-8118-20E7C988DC66}" dt="2023-11-03T13:36:21.554" v="14714"/>
            <ac:spMkLst>
              <pc:docMk/>
              <pc:sldMasterMk cId="3187980257" sldId="2147483817"/>
              <pc:sldLayoutMk cId="1098912997" sldId="2147483838"/>
              <ac:spMk id="37" creationId="{267277B3-F169-2F45-870A-76D4C9AFF1DD}"/>
            </ac:spMkLst>
          </pc:spChg>
          <pc:picChg chg="mod">
            <ac:chgData name="Arav Barot" userId="2aabccd7-f410-4c9c-8764-2e3ea0dd7040" providerId="ADAL" clId="{6545EF83-34ED-4EBF-8118-20E7C988DC66}" dt="2023-11-03T13:36:21.554" v="14714"/>
            <ac:picMkLst>
              <pc:docMk/>
              <pc:sldMasterMk cId="3187980257" sldId="2147483817"/>
              <pc:sldLayoutMk cId="1098912997" sldId="2147483838"/>
              <ac:picMk id="31" creationId="{508CC85E-B88C-AD45-A7C4-3001B4080006}"/>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06115136" sldId="2147483839"/>
          </pc:sldLayoutMkLst>
          <pc:spChg chg="mod">
            <ac:chgData name="Arav Barot" userId="2aabccd7-f410-4c9c-8764-2e3ea0dd7040" providerId="ADAL" clId="{6545EF83-34ED-4EBF-8118-20E7C988DC66}" dt="2023-11-03T13:36:21.554" v="14714"/>
            <ac:spMkLst>
              <pc:docMk/>
              <pc:sldMasterMk cId="3187980257" sldId="2147483817"/>
              <pc:sldLayoutMk cId="306115136" sldId="2147483839"/>
              <ac:spMk id="3" creationId="{65E75C25-5F95-8243-81F1-D0658043154E}"/>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4" creationId="{EAA91C71-70B1-DD44-8EB2-4C1134334049}"/>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19" creationId="{80E65E04-521E-B047-A6DA-653B411EFC55}"/>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2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24" creationId="{8C2E3C36-F45D-3940-BF1E-D589AC988926}"/>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2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2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29"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30" creationId="{A35144F1-1A1D-8C45-B58D-D68CDF0AE130}"/>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34" creationId="{A508ED61-1475-9549-9AC2-DE6A3761518A}"/>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35" creationId="{C8453F9E-A48F-3A47-B623-86B674A9C872}"/>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36" creationId="{8AB6E055-3BEE-C143-A5A9-C0747C59B64D}"/>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38" creationId="{07BD2D6A-0B22-412B-A69A-26BF76B21F86}"/>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39" creationId="{1749DC97-C29C-6F46-9491-142978EFBCA5}"/>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43" creationId="{DD3A4977-DB91-6243-B41E-C41AC83B9415}"/>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44" creationId="{00434664-A4BD-2B45-A5B4-3200F95D008A}"/>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45" creationId="{A3B81ECE-AC6D-8C42-B58C-254D90D14A12}"/>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46" creationId="{82A970BF-CE1B-8746-B38A-CAF45253C5F8}"/>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48" creationId="{4DC2C600-F284-C34F-BD34-83A0A3383006}"/>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53" creationId="{BB94DFDB-D795-0B48-8E3D-05B7CD8204C4}"/>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54" creationId="{8392E237-D476-744A-BA09-148CA9569825}"/>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55" creationId="{230A38FD-4501-4542-AD61-D18E4EC61E46}"/>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56" creationId="{A6BF194F-EA57-CE47-8B02-205E06D1439A}"/>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58" creationId="{E5B832A6-C242-7D48-A06E-D0943FD04A62}"/>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59" creationId="{98E312F7-CACE-A741-B384-2516A3915B0F}"/>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60" creationId="{9131DBE4-91BF-7C47-938F-1ACA1F36C902}"/>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61" creationId="{057AF479-A903-C14A-A31F-CCA84B03D3F4}"/>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62" creationId="{392BFB2B-7823-764C-A48B-9E2092ED2CF8}"/>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70" creationId="{9655DF52-D435-4840-AC73-A557942380D4}"/>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71" creationId="{CDB0CDDC-289D-624A-AF1E-26C48CA2B3B6}"/>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72" creationId="{7793A527-18FE-5549-9561-D652A5680394}"/>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73" creationId="{5A715DC3-39E7-764C-99B9-F796A312477C}"/>
            </ac:spMkLst>
          </pc:spChg>
          <pc:spChg chg="mod">
            <ac:chgData name="Arav Barot" userId="2aabccd7-f410-4c9c-8764-2e3ea0dd7040" providerId="ADAL" clId="{6545EF83-34ED-4EBF-8118-20E7C988DC66}" dt="2023-11-03T13:36:21.554" v="14714"/>
            <ac:spMkLst>
              <pc:docMk/>
              <pc:sldMasterMk cId="3187980257" sldId="2147483817"/>
              <pc:sldLayoutMk cId="306115136" sldId="2147483839"/>
              <ac:spMk id="74" creationId="{256BAF67-B4A7-5740-9617-DBC6F1D938C0}"/>
            </ac:spMkLst>
          </pc:spChg>
          <pc:picChg chg="mod">
            <ac:chgData name="Arav Barot" userId="2aabccd7-f410-4c9c-8764-2e3ea0dd7040" providerId="ADAL" clId="{6545EF83-34ED-4EBF-8118-20E7C988DC66}" dt="2023-11-03T13:36:21.554" v="14714"/>
            <ac:picMkLst>
              <pc:docMk/>
              <pc:sldMasterMk cId="3187980257" sldId="2147483817"/>
              <pc:sldLayoutMk cId="306115136" sldId="2147483839"/>
              <ac:picMk id="40" creationId="{DE449E4D-618E-754C-AFED-A484A03911E7}"/>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375710571" sldId="2147483842"/>
          </pc:sldLayoutMkLst>
          <pc:spChg chg="mod">
            <ac:chgData name="Arav Barot" userId="2aabccd7-f410-4c9c-8764-2e3ea0dd7040" providerId="ADAL" clId="{6545EF83-34ED-4EBF-8118-20E7C988DC66}" dt="2023-11-03T13:36:21.554" v="14714"/>
            <ac:spMkLst>
              <pc:docMk/>
              <pc:sldMasterMk cId="3187980257" sldId="2147483817"/>
              <pc:sldLayoutMk cId="3375710571" sldId="2147483842"/>
              <ac:spMk id="3" creationId="{82A9CB27-C6B6-E64D-AC97-1F9FC192EA01}"/>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1" creationId="{1AD5711E-A1AE-3341-B330-2A33C814E7C6}"/>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2" creationId="{F58AE8E5-B763-C34A-875F-F05114822075}"/>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3" creationId="{76C28222-DC60-4844-B41A-185FEDEB9EB8}"/>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4" creationId="{3CE33F74-C3F8-1543-B0C5-F7FE8C6DFB3B}"/>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5" creationId="{BB24AC82-4FF5-9E49-A7CA-4A35BDF3CFB5}"/>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6" creationId="{4B5C48A3-2CA5-9C4A-85BF-442252F45E52}"/>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7" creationId="{05C88C04-4272-C44C-B735-888F6AB76F46}"/>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8" creationId="{A39D851A-F8D4-7D4D-AC43-EF81D36A3C67}"/>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19" creationId="{36B0B85F-ECA7-764B-8BF0-8A1762C5D033}"/>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21" creationId="{7427AEC2-A128-404A-9FF7-24FCB2B19E50}"/>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24" creationId="{8C2E3C36-F45D-3940-BF1E-D589AC988926}"/>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25" creationId="{406854AB-B13D-F24B-ABF8-47A509FD5634}"/>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26" creationId="{AA0D62F3-9FFE-4F53-8F40-9F608147A3A1}"/>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28" creationId="{7004EBDE-1D9D-3C45-8BF0-50988A074260}"/>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30" creationId="{A35144F1-1A1D-8C45-B58D-D68CDF0AE130}"/>
            </ac:spMkLst>
          </pc:spChg>
          <pc:spChg chg="mod">
            <ac:chgData name="Arav Barot" userId="2aabccd7-f410-4c9c-8764-2e3ea0dd7040" providerId="ADAL" clId="{6545EF83-34ED-4EBF-8118-20E7C988DC66}" dt="2023-11-03T13:36:21.554" v="14714"/>
            <ac:spMkLst>
              <pc:docMk/>
              <pc:sldMasterMk cId="3187980257" sldId="2147483817"/>
              <pc:sldLayoutMk cId="3375710571" sldId="2147483842"/>
              <ac:spMk id="32" creationId="{76B67DAE-5D19-5E4A-B811-358498A8AF1F}"/>
            </ac:spMkLst>
          </pc:spChg>
          <pc:picChg chg="mod">
            <ac:chgData name="Arav Barot" userId="2aabccd7-f410-4c9c-8764-2e3ea0dd7040" providerId="ADAL" clId="{6545EF83-34ED-4EBF-8118-20E7C988DC66}" dt="2023-11-03T13:36:21.554" v="14714"/>
            <ac:picMkLst>
              <pc:docMk/>
              <pc:sldMasterMk cId="3187980257" sldId="2147483817"/>
              <pc:sldLayoutMk cId="3375710571" sldId="2147483842"/>
              <ac:picMk id="29" creationId="{CCB57C49-3B1C-4946-8751-5B5A5ABD4FE4}"/>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795913090" sldId="2147483844"/>
          </pc:sldLayoutMkLst>
          <pc:spChg chg="mod">
            <ac:chgData name="Arav Barot" userId="2aabccd7-f410-4c9c-8764-2e3ea0dd7040" providerId="ADAL" clId="{6545EF83-34ED-4EBF-8118-20E7C988DC66}" dt="2023-11-03T13:36:21.554" v="14714"/>
            <ac:spMkLst>
              <pc:docMk/>
              <pc:sldMasterMk cId="3187980257" sldId="2147483817"/>
              <pc:sldLayoutMk cId="2795913090" sldId="2147483844"/>
              <ac:spMk id="10" creationId="{0258F526-2991-654E-89CE-090024A18EE9}"/>
            </ac:spMkLst>
          </pc:spChg>
          <pc:spChg chg="mod">
            <ac:chgData name="Arav Barot" userId="2aabccd7-f410-4c9c-8764-2e3ea0dd7040" providerId="ADAL" clId="{6545EF83-34ED-4EBF-8118-20E7C988DC66}" dt="2023-11-03T13:36:21.554" v="14714"/>
            <ac:spMkLst>
              <pc:docMk/>
              <pc:sldMasterMk cId="3187980257" sldId="2147483817"/>
              <pc:sldLayoutMk cId="2795913090" sldId="2147483844"/>
              <ac:spMk id="13" creationId="{69DCD6DD-C149-4D18-A3D3-76022A9D23D9}"/>
            </ac:spMkLst>
          </pc:spChg>
          <pc:spChg chg="mod">
            <ac:chgData name="Arav Barot" userId="2aabccd7-f410-4c9c-8764-2e3ea0dd7040" providerId="ADAL" clId="{6545EF83-34ED-4EBF-8118-20E7C988DC66}" dt="2023-11-03T13:36:21.554" v="14714"/>
            <ac:spMkLst>
              <pc:docMk/>
              <pc:sldMasterMk cId="3187980257" sldId="2147483817"/>
              <pc:sldLayoutMk cId="2795913090" sldId="2147483844"/>
              <ac:spMk id="14" creationId="{5A4297E3-6BA1-5146-BB36-6201098555B1}"/>
            </ac:spMkLst>
          </pc:spChg>
          <pc:spChg chg="mod">
            <ac:chgData name="Arav Barot" userId="2aabccd7-f410-4c9c-8764-2e3ea0dd7040" providerId="ADAL" clId="{6545EF83-34ED-4EBF-8118-20E7C988DC66}" dt="2023-11-03T13:36:21.554" v="14714"/>
            <ac:spMkLst>
              <pc:docMk/>
              <pc:sldMasterMk cId="3187980257" sldId="2147483817"/>
              <pc:sldLayoutMk cId="2795913090" sldId="2147483844"/>
              <ac:spMk id="16" creationId="{85E10EA1-C22F-B441-BD2A-F9AFBF15378C}"/>
            </ac:spMkLst>
          </pc:spChg>
          <pc:spChg chg="mod">
            <ac:chgData name="Arav Barot" userId="2aabccd7-f410-4c9c-8764-2e3ea0dd7040" providerId="ADAL" clId="{6545EF83-34ED-4EBF-8118-20E7C988DC66}" dt="2023-11-03T13:36:21.554" v="14714"/>
            <ac:spMkLst>
              <pc:docMk/>
              <pc:sldMasterMk cId="3187980257" sldId="2147483817"/>
              <pc:sldLayoutMk cId="2795913090" sldId="2147483844"/>
              <ac:spMk id="20" creationId="{7F425851-6672-AF4F-8813-B4B35CD8B937}"/>
            </ac:spMkLst>
          </pc:spChg>
          <pc:spChg chg="mod">
            <ac:chgData name="Arav Barot" userId="2aabccd7-f410-4c9c-8764-2e3ea0dd7040" providerId="ADAL" clId="{6545EF83-34ED-4EBF-8118-20E7C988DC66}" dt="2023-11-03T13:36:21.554" v="14714"/>
            <ac:spMkLst>
              <pc:docMk/>
              <pc:sldMasterMk cId="3187980257" sldId="2147483817"/>
              <pc:sldLayoutMk cId="2795913090" sldId="2147483844"/>
              <ac:spMk id="21" creationId="{6C1E079A-EE69-F749-B6B1-C9EA1AFBA7CD}"/>
            </ac:spMkLst>
          </pc:spChg>
          <pc:spChg chg="mod">
            <ac:chgData name="Arav Barot" userId="2aabccd7-f410-4c9c-8764-2e3ea0dd7040" providerId="ADAL" clId="{6545EF83-34ED-4EBF-8118-20E7C988DC66}" dt="2023-11-03T13:36:21.554" v="14714"/>
            <ac:spMkLst>
              <pc:docMk/>
              <pc:sldMasterMk cId="3187980257" sldId="2147483817"/>
              <pc:sldLayoutMk cId="2795913090" sldId="2147483844"/>
              <ac:spMk id="22" creationId="{CB6C9036-0A8B-7349-8D52-7E2AAB615DFF}"/>
            </ac:spMkLst>
          </pc:spChg>
          <pc:spChg chg="mod">
            <ac:chgData name="Arav Barot" userId="2aabccd7-f410-4c9c-8764-2e3ea0dd7040" providerId="ADAL" clId="{6545EF83-34ED-4EBF-8118-20E7C988DC66}" dt="2023-11-03T13:36:21.554" v="14714"/>
            <ac:spMkLst>
              <pc:docMk/>
              <pc:sldMasterMk cId="3187980257" sldId="2147483817"/>
              <pc:sldLayoutMk cId="2795913090" sldId="2147483844"/>
              <ac:spMk id="23" creationId="{003F6D15-23DE-A749-ADA3-C4B529DB239B}"/>
            </ac:spMkLst>
          </pc:spChg>
          <pc:picChg chg="mod">
            <ac:chgData name="Arav Barot" userId="2aabccd7-f410-4c9c-8764-2e3ea0dd7040" providerId="ADAL" clId="{6545EF83-34ED-4EBF-8118-20E7C988DC66}" dt="2023-11-03T13:36:21.554" v="14714"/>
            <ac:picMkLst>
              <pc:docMk/>
              <pc:sldMasterMk cId="3187980257" sldId="2147483817"/>
              <pc:sldLayoutMk cId="2795913090" sldId="2147483844"/>
              <ac:picMk id="19" creationId="{CF84B5ED-5CE8-F54D-8804-49716AD930A5}"/>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998445829" sldId="2147483845"/>
          </pc:sldLayoutMkLst>
          <pc:spChg chg="mod">
            <ac:chgData name="Arav Barot" userId="2aabccd7-f410-4c9c-8764-2e3ea0dd7040" providerId="ADAL" clId="{6545EF83-34ED-4EBF-8118-20E7C988DC66}" dt="2023-11-03T13:36:21.554" v="14714"/>
            <ac:spMkLst>
              <pc:docMk/>
              <pc:sldMasterMk cId="3187980257" sldId="2147483817"/>
              <pc:sldLayoutMk cId="3998445829" sldId="2147483845"/>
              <ac:spMk id="3" creationId="{82A9CB27-C6B6-E64D-AC97-1F9FC192EA01}"/>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4" creationId="{C4389B7A-1FA1-7A4D-A67C-9EEBBDE4DACA}"/>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12" creationId="{F58AE8E5-B763-C34A-875F-F05114822075}"/>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18" creationId="{A39D851A-F8D4-7D4D-AC43-EF81D36A3C67}"/>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19" creationId="{36B0B85F-ECA7-764B-8BF0-8A1762C5D033}"/>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0" creationId="{0295E9D2-9FF8-AF4C-BE3E-3ECF6CFD962E}"/>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1" creationId="{4ADEF343-A7B4-CC43-8BBE-19DC639866DB}"/>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2" creationId="{BD1AF8A8-DCE9-DA40-9139-F35CE66F4D34}"/>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5" creationId="{72576185-0B8D-455D-BAD6-0FA56E2622C8}"/>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6" creationId="{BCD53B40-CBBA-B842-9B22-3AC38141B531}"/>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7" creationId="{94498614-8FF2-0C44-AA14-446A853A54B3}"/>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8" creationId="{66FAF3BA-7869-2342-8875-AD6B97F7CD72}"/>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29" creationId="{46B8F709-7A6E-7D49-A31D-9D4EF10E8224}"/>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30" creationId="{DBAEC4A3-DDAD-6B47-A9E4-DD15727DC85C}"/>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32" creationId="{8C2622FB-5CAD-A241-95B2-916E8EA6E8EF}"/>
            </ac:spMkLst>
          </pc:spChg>
          <pc:spChg chg="mod">
            <ac:chgData name="Arav Barot" userId="2aabccd7-f410-4c9c-8764-2e3ea0dd7040" providerId="ADAL" clId="{6545EF83-34ED-4EBF-8118-20E7C988DC66}" dt="2023-11-03T13:36:21.554" v="14714"/>
            <ac:spMkLst>
              <pc:docMk/>
              <pc:sldMasterMk cId="3187980257" sldId="2147483817"/>
              <pc:sldLayoutMk cId="3998445829" sldId="2147483845"/>
              <ac:spMk id="34" creationId="{3FC57C3F-FB3E-4A42-896E-E3EB19DFABA5}"/>
            </ac:spMkLst>
          </pc:spChg>
          <pc:picChg chg="mod">
            <ac:chgData name="Arav Barot" userId="2aabccd7-f410-4c9c-8764-2e3ea0dd7040" providerId="ADAL" clId="{6545EF83-34ED-4EBF-8118-20E7C988DC66}" dt="2023-11-03T13:36:21.554" v="14714"/>
            <ac:picMkLst>
              <pc:docMk/>
              <pc:sldMasterMk cId="3187980257" sldId="2147483817"/>
              <pc:sldLayoutMk cId="3998445829" sldId="2147483845"/>
              <ac:picMk id="33" creationId="{4501F85D-8B47-EA45-A4A2-1FD4B27BC3F4}"/>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755823818" sldId="2147483846"/>
          </pc:sldLayoutMkLst>
          <pc:spChg chg="mod">
            <ac:chgData name="Arav Barot" userId="2aabccd7-f410-4c9c-8764-2e3ea0dd7040" providerId="ADAL" clId="{6545EF83-34ED-4EBF-8118-20E7C988DC66}" dt="2023-11-03T13:36:21.554" v="14714"/>
            <ac:spMkLst>
              <pc:docMk/>
              <pc:sldMasterMk cId="3187980257" sldId="2147483817"/>
              <pc:sldLayoutMk cId="1755823818" sldId="2147483846"/>
              <ac:spMk id="3" creationId="{82A9CB27-C6B6-E64D-AC97-1F9FC192EA01}"/>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4" creationId="{9F9200B6-2692-F84B-AB1B-2A12D64E6653}"/>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12" creationId="{F58AE8E5-B763-C34A-875F-F05114822075}"/>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18" creationId="{A39D851A-F8D4-7D4D-AC43-EF81D36A3C67}"/>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19" creationId="{36B0B85F-ECA7-764B-8BF0-8A1762C5D033}"/>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22" creationId="{CC28C8A4-9BD1-FF4B-A128-84FB4840BB05}"/>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23" creationId="{66BEE029-BA83-6042-8523-2DB4E70AA01F}"/>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24" creationId="{120EA07D-DEBB-EF4C-8895-B8571A639E3F}"/>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28" creationId="{87E3EFE4-1D60-459D-82CC-4D83F1E07E45}"/>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29" creationId="{83D40CCA-1AA3-4145-9438-87EF7441F839}"/>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0" creationId="{67A26B6A-2ED7-BD41-BE92-D914EE37ECE2}"/>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1" creationId="{EA3BEB6B-BADA-3F4E-BCBB-CEB307063AAD}"/>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2" creationId="{BAF4C444-DDDE-6941-89BD-023959271D4E}"/>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3" creationId="{61DCBE79-B3F2-204A-9423-1EA5F0243A1F}"/>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4" creationId="{E1E58DED-E7C8-804E-AE6C-E6D87C6A7599}"/>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5" creationId="{53852DCE-3A8E-7E44-943F-E4D8663C4C12}"/>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6" creationId="{FED0E9A6-21FE-6D46-8EF5-4A7C19FF95F5}"/>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7" creationId="{5FA7D213-08D0-2644-A334-22DFF244E25E}"/>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8" creationId="{BBBE3E9B-DC52-674A-9B09-99803BE65232}"/>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39" creationId="{567FBED5-60B1-E746-884A-A9819F9AEC06}"/>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40" creationId="{5B66F119-9342-2A44-AAA3-4465B4AE6F0E}"/>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41" creationId="{CF9844F5-E414-7D4A-A557-EE89F225D3A8}"/>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42" creationId="{B593CDB9-0BAB-ED47-963D-8342E2D9F4EE}"/>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46" creationId="{CFD9E6A9-33C0-9F42-812E-5188BFC329CE}"/>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47" creationId="{D3F0F945-9C15-F54D-A255-473C8F709C64}"/>
            </ac:spMkLst>
          </pc:spChg>
          <pc:spChg chg="mod">
            <ac:chgData name="Arav Barot" userId="2aabccd7-f410-4c9c-8764-2e3ea0dd7040" providerId="ADAL" clId="{6545EF83-34ED-4EBF-8118-20E7C988DC66}" dt="2023-11-03T13:36:21.554" v="14714"/>
            <ac:spMkLst>
              <pc:docMk/>
              <pc:sldMasterMk cId="3187980257" sldId="2147483817"/>
              <pc:sldLayoutMk cId="1755823818" sldId="2147483846"/>
              <ac:spMk id="49" creationId="{D9DEB520-C5B0-5640-9D25-EDA199A67C04}"/>
            </ac:spMkLst>
          </pc:spChg>
          <pc:picChg chg="mod">
            <ac:chgData name="Arav Barot" userId="2aabccd7-f410-4c9c-8764-2e3ea0dd7040" providerId="ADAL" clId="{6545EF83-34ED-4EBF-8118-20E7C988DC66}" dt="2023-11-03T13:36:21.554" v="14714"/>
            <ac:picMkLst>
              <pc:docMk/>
              <pc:sldMasterMk cId="3187980257" sldId="2147483817"/>
              <pc:sldLayoutMk cId="1755823818" sldId="2147483846"/>
              <ac:picMk id="48" creationId="{943523FB-6429-B44B-9394-52A0B420194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4096845330" sldId="2147483847"/>
          </pc:sldLayoutMkLst>
          <pc:spChg chg="mod">
            <ac:chgData name="Arav Barot" userId="2aabccd7-f410-4c9c-8764-2e3ea0dd7040" providerId="ADAL" clId="{6545EF83-34ED-4EBF-8118-20E7C988DC66}" dt="2023-11-03T13:36:21.554" v="14714"/>
            <ac:spMkLst>
              <pc:docMk/>
              <pc:sldMasterMk cId="3187980257" sldId="2147483817"/>
              <pc:sldLayoutMk cId="4096845330" sldId="2147483847"/>
              <ac:spMk id="26"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27" creationId="{A8E4E294-DC34-344E-A4C4-D775C8901B51}"/>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36"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1149" creationId="{C7E667B8-8668-9540-B09C-5CC725B39EAE}"/>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1152" creationId="{32238EF1-CF8A-C547-A40F-2575ADDC153B}"/>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1153" creationId="{8921AF50-68CC-1442-83D9-112EDDF42E0D}"/>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2268" creationId="{8D38F2FF-BD77-E34A-B2CD-83991E334C81}"/>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2270" creationId="{C90617BB-2B76-1344-A977-29BE42127BD0}"/>
            </ac:spMkLst>
          </pc:spChg>
          <pc:spChg chg="mod">
            <ac:chgData name="Arav Barot" userId="2aabccd7-f410-4c9c-8764-2e3ea0dd7040" providerId="ADAL" clId="{6545EF83-34ED-4EBF-8118-20E7C988DC66}" dt="2023-11-03T13:36:21.554" v="14714"/>
            <ac:spMkLst>
              <pc:docMk/>
              <pc:sldMasterMk cId="3187980257" sldId="2147483817"/>
              <pc:sldLayoutMk cId="4096845330" sldId="2147483847"/>
              <ac:spMk id="2271" creationId="{BB34036C-6C2B-A846-9606-277B0948BD35}"/>
            </ac:spMkLst>
          </pc:spChg>
          <pc:picChg chg="mod">
            <ac:chgData name="Arav Barot" userId="2aabccd7-f410-4c9c-8764-2e3ea0dd7040" providerId="ADAL" clId="{6545EF83-34ED-4EBF-8118-20E7C988DC66}" dt="2023-11-03T13:36:21.554" v="14714"/>
            <ac:picMkLst>
              <pc:docMk/>
              <pc:sldMasterMk cId="3187980257" sldId="2147483817"/>
              <pc:sldLayoutMk cId="4096845330" sldId="2147483847"/>
              <ac:picMk id="2269" creationId="{AC34C28D-15DC-DA4A-A1EF-A65C3C182BC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114349747" sldId="2147483848"/>
          </pc:sldLayoutMkLst>
          <pc:spChg chg="mod">
            <ac:chgData name="Arav Barot" userId="2aabccd7-f410-4c9c-8764-2e3ea0dd7040" providerId="ADAL" clId="{6545EF83-34ED-4EBF-8118-20E7C988DC66}" dt="2023-11-03T13:36:21.554" v="14714"/>
            <ac:spMkLst>
              <pc:docMk/>
              <pc:sldMasterMk cId="3187980257" sldId="2147483817"/>
              <pc:sldLayoutMk cId="3114349747" sldId="2147483848"/>
              <ac:spMk id="2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2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1595" creationId="{A8C4FBB4-ACAC-4AA7-B0D3-728256317042}"/>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1603" creationId="{7A1AC66C-290D-0A41-BA50-D7DFF330AE56}"/>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3184" creationId="{56B0155A-9D31-E649-B2EC-DDC5143FEDB7}"/>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3185" creationId="{98175BD2-3474-6B46-B4A7-970F2868991A}"/>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3188" creationId="{84C4633D-84E4-5F41-940F-21B8E0DF6A5D}"/>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4785" creationId="{15E6E397-7301-0640-9331-716129AFFF4E}"/>
            </ac:spMkLst>
          </pc:spChg>
          <pc:spChg chg="mod">
            <ac:chgData name="Arav Barot" userId="2aabccd7-f410-4c9c-8764-2e3ea0dd7040" providerId="ADAL" clId="{6545EF83-34ED-4EBF-8118-20E7C988DC66}" dt="2023-11-03T13:36:21.554" v="14714"/>
            <ac:spMkLst>
              <pc:docMk/>
              <pc:sldMasterMk cId="3187980257" sldId="2147483817"/>
              <pc:sldLayoutMk cId="3114349747" sldId="2147483848"/>
              <ac:spMk id="4786" creationId="{0DA11040-1B33-9641-B7EB-1F5F5E56ABD5}"/>
            </ac:spMkLst>
          </pc:spChg>
          <pc:picChg chg="mod">
            <ac:chgData name="Arav Barot" userId="2aabccd7-f410-4c9c-8764-2e3ea0dd7040" providerId="ADAL" clId="{6545EF83-34ED-4EBF-8118-20E7C988DC66}" dt="2023-11-03T13:36:21.554" v="14714"/>
            <ac:picMkLst>
              <pc:docMk/>
              <pc:sldMasterMk cId="3187980257" sldId="2147483817"/>
              <pc:sldLayoutMk cId="3114349747" sldId="2147483848"/>
              <ac:picMk id="3187" creationId="{2D2BD21F-2A75-C046-9B21-E213F10660D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478846922" sldId="2147483849"/>
          </pc:sldLayoutMkLst>
          <pc:spChg chg="mod">
            <ac:chgData name="Arav Barot" userId="2aabccd7-f410-4c9c-8764-2e3ea0dd7040" providerId="ADAL" clId="{6545EF83-34ED-4EBF-8118-20E7C988DC66}" dt="2023-11-03T13:36:21.554" v="14714"/>
            <ac:spMkLst>
              <pc:docMk/>
              <pc:sldMasterMk cId="3187980257" sldId="2147483817"/>
              <pc:sldLayoutMk cId="2478846922" sldId="2147483849"/>
              <ac:spMk id="26"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36"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1152" creationId="{32238EF1-CF8A-C547-A40F-2575ADDC153B}"/>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1153" creationId="{8921AF50-68CC-1442-83D9-112EDDF42E0D}"/>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2727" creationId="{38B82DFD-D1EA-4725-A9B0-D30EB4F9D6B5}"/>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2728" creationId="{8E579C30-1D25-D14E-AC72-791D61B0332A}"/>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4304" creationId="{D14476C5-0B23-864D-A2E0-7BA11326762C}"/>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4306" creationId="{BFA5CF60-2735-DD4F-AADF-2B38658C6CAB}"/>
            </ac:spMkLst>
          </pc:spChg>
          <pc:spChg chg="mod">
            <ac:chgData name="Arav Barot" userId="2aabccd7-f410-4c9c-8764-2e3ea0dd7040" providerId="ADAL" clId="{6545EF83-34ED-4EBF-8118-20E7C988DC66}" dt="2023-11-03T13:36:21.554" v="14714"/>
            <ac:spMkLst>
              <pc:docMk/>
              <pc:sldMasterMk cId="3187980257" sldId="2147483817"/>
              <pc:sldLayoutMk cId="2478846922" sldId="2147483849"/>
              <ac:spMk id="4307" creationId="{F33EBAE1-F41E-5A41-84DE-42FB786C8F74}"/>
            </ac:spMkLst>
          </pc:spChg>
          <pc:picChg chg="mod">
            <ac:chgData name="Arav Barot" userId="2aabccd7-f410-4c9c-8764-2e3ea0dd7040" providerId="ADAL" clId="{6545EF83-34ED-4EBF-8118-20E7C988DC66}" dt="2023-11-03T13:36:21.554" v="14714"/>
            <ac:picMkLst>
              <pc:docMk/>
              <pc:sldMasterMk cId="3187980257" sldId="2147483817"/>
              <pc:sldLayoutMk cId="2478846922" sldId="2147483849"/>
              <ac:picMk id="4305" creationId="{6EE73969-1309-D242-86F9-FDADE719430C}"/>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533682888" sldId="2147483850"/>
          </pc:sldLayoutMkLst>
          <pc:spChg chg="mod">
            <ac:chgData name="Arav Barot" userId="2aabccd7-f410-4c9c-8764-2e3ea0dd7040" providerId="ADAL" clId="{6545EF83-34ED-4EBF-8118-20E7C988DC66}" dt="2023-11-03T13:36:21.554" v="14714"/>
            <ac:spMkLst>
              <pc:docMk/>
              <pc:sldMasterMk cId="3187980257" sldId="2147483817"/>
              <pc:sldLayoutMk cId="3533682888" sldId="2147483850"/>
              <ac:spMk id="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533682888" sldId="2147483850"/>
              <ac:spMk id="9" creationId="{B345E005-4509-FE40-8B0F-638498224121}"/>
            </ac:spMkLst>
          </pc:spChg>
          <pc:spChg chg="mod">
            <ac:chgData name="Arav Barot" userId="2aabccd7-f410-4c9c-8764-2e3ea0dd7040" providerId="ADAL" clId="{6545EF83-34ED-4EBF-8118-20E7C988DC66}" dt="2023-11-03T13:36:21.554" v="14714"/>
            <ac:spMkLst>
              <pc:docMk/>
              <pc:sldMasterMk cId="3187980257" sldId="2147483817"/>
              <pc:sldLayoutMk cId="3533682888" sldId="2147483850"/>
              <ac:spMk id="13" creationId="{D4DA7F3B-5562-DB4E-A70D-446F4E4615CA}"/>
            </ac:spMkLst>
          </pc:spChg>
          <pc:spChg chg="mod">
            <ac:chgData name="Arav Barot" userId="2aabccd7-f410-4c9c-8764-2e3ea0dd7040" providerId="ADAL" clId="{6545EF83-34ED-4EBF-8118-20E7C988DC66}" dt="2023-11-03T13:36:21.554" v="14714"/>
            <ac:spMkLst>
              <pc:docMk/>
              <pc:sldMasterMk cId="3187980257" sldId="2147483817"/>
              <pc:sldLayoutMk cId="3533682888" sldId="2147483850"/>
              <ac:spMk id="15" creationId="{3F4ABD6B-2FD1-5249-8B43-E3555DB1B8F6}"/>
            </ac:spMkLst>
          </pc:spChg>
          <pc:spChg chg="mod">
            <ac:chgData name="Arav Barot" userId="2aabccd7-f410-4c9c-8764-2e3ea0dd7040" providerId="ADAL" clId="{6545EF83-34ED-4EBF-8118-20E7C988DC66}" dt="2023-11-03T13:36:21.554" v="14714"/>
            <ac:spMkLst>
              <pc:docMk/>
              <pc:sldMasterMk cId="3187980257" sldId="2147483817"/>
              <pc:sldLayoutMk cId="3533682888" sldId="2147483850"/>
              <ac:spMk id="2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533682888" sldId="2147483850"/>
              <ac:spMk id="23" creationId="{00000000-0000-0000-0000-000000000000}"/>
            </ac:spMkLst>
          </pc:spChg>
          <pc:picChg chg="mod">
            <ac:chgData name="Arav Barot" userId="2aabccd7-f410-4c9c-8764-2e3ea0dd7040" providerId="ADAL" clId="{6545EF83-34ED-4EBF-8118-20E7C988DC66}" dt="2023-11-03T13:36:21.554" v="14714"/>
            <ac:picMkLst>
              <pc:docMk/>
              <pc:sldMasterMk cId="3187980257" sldId="2147483817"/>
              <pc:sldLayoutMk cId="3533682888" sldId="2147483850"/>
              <ac:picMk id="14" creationId="{25A91A48-CB2E-FD4F-8893-C2293863D12C}"/>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054271512" sldId="2147483851"/>
          </pc:sldLayoutMkLst>
          <pc:spChg chg="mod">
            <ac:chgData name="Arav Barot" userId="2aabccd7-f410-4c9c-8764-2e3ea0dd7040" providerId="ADAL" clId="{6545EF83-34ED-4EBF-8118-20E7C988DC66}" dt="2023-11-03T13:36:21.554" v="14714"/>
            <ac:spMkLst>
              <pc:docMk/>
              <pc:sldMasterMk cId="3187980257" sldId="2147483817"/>
              <pc:sldLayoutMk cId="3054271512" sldId="2147483851"/>
              <ac:spMk id="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54271512" sldId="2147483851"/>
              <ac:spMk id="9" creationId="{7E049C8B-B75D-ED46-B0E6-E65AA87D7A01}"/>
            </ac:spMkLst>
          </pc:spChg>
          <pc:spChg chg="mod">
            <ac:chgData name="Arav Barot" userId="2aabccd7-f410-4c9c-8764-2e3ea0dd7040" providerId="ADAL" clId="{6545EF83-34ED-4EBF-8118-20E7C988DC66}" dt="2023-11-03T13:36:21.554" v="14714"/>
            <ac:spMkLst>
              <pc:docMk/>
              <pc:sldMasterMk cId="3187980257" sldId="2147483817"/>
              <pc:sldLayoutMk cId="3054271512" sldId="2147483851"/>
              <ac:spMk id="13" creationId="{5E73C71B-8174-D945-B887-C7D825444CD2}"/>
            </ac:spMkLst>
          </pc:spChg>
          <pc:spChg chg="mod">
            <ac:chgData name="Arav Barot" userId="2aabccd7-f410-4c9c-8764-2e3ea0dd7040" providerId="ADAL" clId="{6545EF83-34ED-4EBF-8118-20E7C988DC66}" dt="2023-11-03T13:36:21.554" v="14714"/>
            <ac:spMkLst>
              <pc:docMk/>
              <pc:sldMasterMk cId="3187980257" sldId="2147483817"/>
              <pc:sldLayoutMk cId="3054271512" sldId="2147483851"/>
              <ac:spMk id="15" creationId="{716F8528-4245-254E-B8D2-ABE4AFB7D500}"/>
            </ac:spMkLst>
          </pc:spChg>
          <pc:spChg chg="mod">
            <ac:chgData name="Arav Barot" userId="2aabccd7-f410-4c9c-8764-2e3ea0dd7040" providerId="ADAL" clId="{6545EF83-34ED-4EBF-8118-20E7C988DC66}" dt="2023-11-03T13:36:21.554" v="14714"/>
            <ac:spMkLst>
              <pc:docMk/>
              <pc:sldMasterMk cId="3187980257" sldId="2147483817"/>
              <pc:sldLayoutMk cId="3054271512" sldId="2147483851"/>
              <ac:spMk id="2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54271512" sldId="2147483851"/>
              <ac:spMk id="23" creationId="{00000000-0000-0000-0000-000000000000}"/>
            </ac:spMkLst>
          </pc:spChg>
          <pc:picChg chg="mod">
            <ac:chgData name="Arav Barot" userId="2aabccd7-f410-4c9c-8764-2e3ea0dd7040" providerId="ADAL" clId="{6545EF83-34ED-4EBF-8118-20E7C988DC66}" dt="2023-11-03T13:36:21.554" v="14714"/>
            <ac:picMkLst>
              <pc:docMk/>
              <pc:sldMasterMk cId="3187980257" sldId="2147483817"/>
              <pc:sldLayoutMk cId="3054271512" sldId="2147483851"/>
              <ac:picMk id="14" creationId="{0DF92AC1-C666-FB4E-A8DA-B5C28A4C2D72}"/>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946710965" sldId="2147483852"/>
          </pc:sldLayoutMkLst>
          <pc:spChg chg="mod">
            <ac:chgData name="Arav Barot" userId="2aabccd7-f410-4c9c-8764-2e3ea0dd7040" providerId="ADAL" clId="{6545EF83-34ED-4EBF-8118-20E7C988DC66}" dt="2023-11-03T13:36:21.554" v="14714"/>
            <ac:spMkLst>
              <pc:docMk/>
              <pc:sldMasterMk cId="3187980257" sldId="2147483817"/>
              <pc:sldLayoutMk cId="946710965" sldId="2147483852"/>
              <ac:spMk id="1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14" creationId="{6AC64D33-96EA-1547-BAAD-4AC19B78F3D7}"/>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15" creationId="{9B773716-AA04-4148-BDF8-01A410A60173}"/>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16" creationId="{81A7DBF6-39C2-7C44-AB3E-1767AB032D9E}"/>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17" creationId="{77FD7AF8-2C2C-E94B-A9F6-B6B1718F2F6D}"/>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18" creationId="{92A2053F-8160-8544-BF46-B22001EA3E21}"/>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20" creationId="{C7B3E2A4-D689-2A47-968A-6AB736FCBF61}"/>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22" creationId="{CA7B3BCB-5115-0D48-996D-19D64401637F}"/>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26" creationId="{A8FE3A26-A148-6047-9D8C-4A9CF5360F3C}"/>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28" creationId="{38D3CB94-E9DA-0946-871D-D3F028D4D426}"/>
            </ac:spMkLst>
          </pc:spChg>
          <pc:spChg chg="mod">
            <ac:chgData name="Arav Barot" userId="2aabccd7-f410-4c9c-8764-2e3ea0dd7040" providerId="ADAL" clId="{6545EF83-34ED-4EBF-8118-20E7C988DC66}" dt="2023-11-03T13:36:21.554" v="14714"/>
            <ac:spMkLst>
              <pc:docMk/>
              <pc:sldMasterMk cId="3187980257" sldId="2147483817"/>
              <pc:sldLayoutMk cId="946710965" sldId="2147483852"/>
              <ac:spMk id="30" creationId="{A36F8B98-7638-984D-9F7A-5AF6A9CF0C48}"/>
            </ac:spMkLst>
          </pc:spChg>
          <pc:picChg chg="mod">
            <ac:chgData name="Arav Barot" userId="2aabccd7-f410-4c9c-8764-2e3ea0dd7040" providerId="ADAL" clId="{6545EF83-34ED-4EBF-8118-20E7C988DC66}" dt="2023-11-03T13:36:21.554" v="14714"/>
            <ac:picMkLst>
              <pc:docMk/>
              <pc:sldMasterMk cId="3187980257" sldId="2147483817"/>
              <pc:sldLayoutMk cId="946710965" sldId="2147483852"/>
              <ac:picMk id="19" creationId="{9E7F0B91-4D69-674E-A4EA-FAAA673684DC}"/>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001595564" sldId="2147483853"/>
          </pc:sldLayoutMkLst>
          <pc:spChg chg="mod">
            <ac:chgData name="Arav Barot" userId="2aabccd7-f410-4c9c-8764-2e3ea0dd7040" providerId="ADAL" clId="{6545EF83-34ED-4EBF-8118-20E7C988DC66}" dt="2023-11-03T13:36:21.554" v="14714"/>
            <ac:spMkLst>
              <pc:docMk/>
              <pc:sldMasterMk cId="3187980257" sldId="2147483817"/>
              <pc:sldLayoutMk cId="1001595564" sldId="2147483853"/>
              <ac:spMk id="1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14" creationId="{A2C08386-0D5E-4336-8A4C-8DC50D1591A5}"/>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15" creationId="{DB33BB1C-47CA-D541-92FC-0CBFCE4242FF}"/>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16" creationId="{81A7DBF6-39C2-7C44-AB3E-1767AB032D9E}"/>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17" creationId="{77FD7AF8-2C2C-E94B-A9F6-B6B1718F2F6D}"/>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18" creationId="{4E5D2E0A-0198-FF42-80B5-63DC512BEA37}"/>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20" creationId="{51877D5C-D389-B245-8C1A-90848D032A34}"/>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21" creationId="{A60B75C3-C698-E541-BD18-FC01D92553BA}"/>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22" creationId="{CA7B3BCB-5115-0D48-996D-19D64401637F}"/>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23" creationId="{49B528D6-00E5-8544-9B8D-83F887AA0592}"/>
            </ac:spMkLst>
          </pc:spChg>
          <pc:spChg chg="mod">
            <ac:chgData name="Arav Barot" userId="2aabccd7-f410-4c9c-8764-2e3ea0dd7040" providerId="ADAL" clId="{6545EF83-34ED-4EBF-8118-20E7C988DC66}" dt="2023-11-03T13:36:21.554" v="14714"/>
            <ac:spMkLst>
              <pc:docMk/>
              <pc:sldMasterMk cId="3187980257" sldId="2147483817"/>
              <pc:sldLayoutMk cId="1001595564" sldId="2147483853"/>
              <ac:spMk id="26" creationId="{32619A97-8987-E74C-A591-6AB0FFF4937D}"/>
            </ac:spMkLst>
          </pc:spChg>
          <pc:picChg chg="mod">
            <ac:chgData name="Arav Barot" userId="2aabccd7-f410-4c9c-8764-2e3ea0dd7040" providerId="ADAL" clId="{6545EF83-34ED-4EBF-8118-20E7C988DC66}" dt="2023-11-03T13:36:21.554" v="14714"/>
            <ac:picMkLst>
              <pc:docMk/>
              <pc:sldMasterMk cId="3187980257" sldId="2147483817"/>
              <pc:sldLayoutMk cId="1001595564" sldId="2147483853"/>
              <ac:picMk id="19" creationId="{BC679FDA-0D4B-6843-9E1B-EB541EC9B381}"/>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940645922" sldId="2147483854"/>
          </pc:sldLayoutMkLst>
          <pc:spChg chg="mod">
            <ac:chgData name="Arav Barot" userId="2aabccd7-f410-4c9c-8764-2e3ea0dd7040" providerId="ADAL" clId="{6545EF83-34ED-4EBF-8118-20E7C988DC66}" dt="2023-11-03T13:36:21.554" v="14714"/>
            <ac:spMkLst>
              <pc:docMk/>
              <pc:sldMasterMk cId="3187980257" sldId="2147483817"/>
              <pc:sldLayoutMk cId="3940645922" sldId="2147483854"/>
              <ac:spMk id="1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14" creationId="{DC8A5329-14D8-400A-9B6A-51F6DA31FA9F}"/>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15" creationId="{8D66A1A6-3D05-8F4B-934F-D2E08683C759}"/>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16" creationId="{81A7DBF6-39C2-7C44-AB3E-1767AB032D9E}"/>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17" creationId="{77FD7AF8-2C2C-E94B-A9F6-B6B1718F2F6D}"/>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18" creationId="{5298CF14-FA66-6D4C-A6B4-714980BD4923}"/>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19" creationId="{17C6500F-EF84-5448-9E64-6B5D2DDD6846}"/>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20" creationId="{6F18152F-D5D9-D44D-932C-75EF5DCDE720}"/>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21" creationId="{621D7243-EB76-3040-9979-58452ADA4800}"/>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22" creationId="{CA7B3BCB-5115-0D48-996D-19D64401637F}"/>
            </ac:spMkLst>
          </pc:spChg>
          <pc:spChg chg="mod">
            <ac:chgData name="Arav Barot" userId="2aabccd7-f410-4c9c-8764-2e3ea0dd7040" providerId="ADAL" clId="{6545EF83-34ED-4EBF-8118-20E7C988DC66}" dt="2023-11-03T13:36:21.554" v="14714"/>
            <ac:spMkLst>
              <pc:docMk/>
              <pc:sldMasterMk cId="3187980257" sldId="2147483817"/>
              <pc:sldLayoutMk cId="3940645922" sldId="2147483854"/>
              <ac:spMk id="27" creationId="{6A25C205-1BB5-F84E-B129-DE529E51DFB3}"/>
            </ac:spMkLst>
          </pc:spChg>
          <pc:picChg chg="mod">
            <ac:chgData name="Arav Barot" userId="2aabccd7-f410-4c9c-8764-2e3ea0dd7040" providerId="ADAL" clId="{6545EF83-34ED-4EBF-8118-20E7C988DC66}" dt="2023-11-03T13:36:21.554" v="14714"/>
            <ac:picMkLst>
              <pc:docMk/>
              <pc:sldMasterMk cId="3187980257" sldId="2147483817"/>
              <pc:sldLayoutMk cId="3940645922" sldId="2147483854"/>
              <ac:picMk id="26" creationId="{5F04756A-0431-754A-852E-1AB02236D8D9}"/>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071219026" sldId="2147483855"/>
          </pc:sldLayoutMkLst>
          <pc:spChg chg="mod">
            <ac:chgData name="Arav Barot" userId="2aabccd7-f410-4c9c-8764-2e3ea0dd7040" providerId="ADAL" clId="{6545EF83-34ED-4EBF-8118-20E7C988DC66}" dt="2023-11-03T13:36:21.554" v="14714"/>
            <ac:spMkLst>
              <pc:docMk/>
              <pc:sldMasterMk cId="3187980257" sldId="2147483817"/>
              <pc:sldLayoutMk cId="3071219026" sldId="2147483855"/>
              <ac:spMk id="6" creationId="{E504C483-F4B5-8042-A05A-F8BF1C9925E7}"/>
            </ac:spMkLst>
          </pc:spChg>
          <pc:spChg chg="mod">
            <ac:chgData name="Arav Barot" userId="2aabccd7-f410-4c9c-8764-2e3ea0dd7040" providerId="ADAL" clId="{6545EF83-34ED-4EBF-8118-20E7C988DC66}" dt="2023-11-03T13:36:21.554" v="14714"/>
            <ac:spMkLst>
              <pc:docMk/>
              <pc:sldMasterMk cId="3187980257" sldId="2147483817"/>
              <pc:sldLayoutMk cId="3071219026" sldId="2147483855"/>
              <ac:spMk id="11" creationId="{7839967B-8A19-6643-9A8E-1EE8469018C5}"/>
            </ac:spMkLst>
          </pc:spChg>
          <pc:spChg chg="mod">
            <ac:chgData name="Arav Barot" userId="2aabccd7-f410-4c9c-8764-2e3ea0dd7040" providerId="ADAL" clId="{6545EF83-34ED-4EBF-8118-20E7C988DC66}" dt="2023-11-03T13:36:21.554" v="14714"/>
            <ac:spMkLst>
              <pc:docMk/>
              <pc:sldMasterMk cId="3187980257" sldId="2147483817"/>
              <pc:sldLayoutMk cId="3071219026" sldId="2147483855"/>
              <ac:spMk id="14" creationId="{E713905C-92AD-BF40-8C24-1556C2B361B4}"/>
            </ac:spMkLst>
          </pc:spChg>
          <pc:spChg chg="mod">
            <ac:chgData name="Arav Barot" userId="2aabccd7-f410-4c9c-8764-2e3ea0dd7040" providerId="ADAL" clId="{6545EF83-34ED-4EBF-8118-20E7C988DC66}" dt="2023-11-03T13:36:21.554" v="14714"/>
            <ac:spMkLst>
              <pc:docMk/>
              <pc:sldMasterMk cId="3187980257" sldId="2147483817"/>
              <pc:sldLayoutMk cId="3071219026" sldId="2147483855"/>
              <ac:spMk id="15" creationId="{26E0D0C4-5FD4-0642-B295-C0224EA483C1}"/>
            </ac:spMkLst>
          </pc:spChg>
          <pc:spChg chg="mod">
            <ac:chgData name="Arav Barot" userId="2aabccd7-f410-4c9c-8764-2e3ea0dd7040" providerId="ADAL" clId="{6545EF83-34ED-4EBF-8118-20E7C988DC66}" dt="2023-11-03T13:36:21.554" v="14714"/>
            <ac:spMkLst>
              <pc:docMk/>
              <pc:sldMasterMk cId="3187980257" sldId="2147483817"/>
              <pc:sldLayoutMk cId="3071219026" sldId="2147483855"/>
              <ac:spMk id="16" creationId="{2F5BDD0F-AFD4-C74B-8245-DADD56631763}"/>
            </ac:spMkLst>
          </pc:spChg>
          <pc:spChg chg="mod">
            <ac:chgData name="Arav Barot" userId="2aabccd7-f410-4c9c-8764-2e3ea0dd7040" providerId="ADAL" clId="{6545EF83-34ED-4EBF-8118-20E7C988DC66}" dt="2023-11-03T13:36:21.554" v="14714"/>
            <ac:spMkLst>
              <pc:docMk/>
              <pc:sldMasterMk cId="3187980257" sldId="2147483817"/>
              <pc:sldLayoutMk cId="3071219026" sldId="2147483855"/>
              <ac:spMk id="18" creationId="{7A2E6788-4798-B848-B8A1-9A9561BCD240}"/>
            </ac:spMkLst>
          </pc:spChg>
          <pc:spChg chg="mod">
            <ac:chgData name="Arav Barot" userId="2aabccd7-f410-4c9c-8764-2e3ea0dd7040" providerId="ADAL" clId="{6545EF83-34ED-4EBF-8118-20E7C988DC66}" dt="2023-11-03T13:36:21.554" v="14714"/>
            <ac:spMkLst>
              <pc:docMk/>
              <pc:sldMasterMk cId="3187980257" sldId="2147483817"/>
              <pc:sldLayoutMk cId="3071219026" sldId="2147483855"/>
              <ac:spMk id="27" creationId="{5794586D-89E8-464D-8F45-F9364274378E}"/>
            </ac:spMkLst>
          </pc:spChg>
          <pc:spChg chg="mod">
            <ac:chgData name="Arav Barot" userId="2aabccd7-f410-4c9c-8764-2e3ea0dd7040" providerId="ADAL" clId="{6545EF83-34ED-4EBF-8118-20E7C988DC66}" dt="2023-11-03T13:36:21.554" v="14714"/>
            <ac:spMkLst>
              <pc:docMk/>
              <pc:sldMasterMk cId="3187980257" sldId="2147483817"/>
              <pc:sldLayoutMk cId="3071219026" sldId="2147483855"/>
              <ac:spMk id="29" creationId="{359DC7E0-4367-3F40-B197-0C1E085ED589}"/>
            </ac:spMkLst>
          </pc:spChg>
          <pc:picChg chg="mod">
            <ac:chgData name="Arav Barot" userId="2aabccd7-f410-4c9c-8764-2e3ea0dd7040" providerId="ADAL" clId="{6545EF83-34ED-4EBF-8118-20E7C988DC66}" dt="2023-11-03T13:36:21.554" v="14714"/>
            <ac:picMkLst>
              <pc:docMk/>
              <pc:sldMasterMk cId="3187980257" sldId="2147483817"/>
              <pc:sldLayoutMk cId="3071219026" sldId="2147483855"/>
              <ac:picMk id="17" creationId="{CA1A3CAF-83C5-6444-A61A-ED5B1E99794D}"/>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099683782" sldId="2147483856"/>
          </pc:sldLayoutMkLst>
          <pc:spChg chg="mod">
            <ac:chgData name="Arav Barot" userId="2aabccd7-f410-4c9c-8764-2e3ea0dd7040" providerId="ADAL" clId="{6545EF83-34ED-4EBF-8118-20E7C988DC66}" dt="2023-11-03T13:36:21.554" v="14714"/>
            <ac:spMkLst>
              <pc:docMk/>
              <pc:sldMasterMk cId="3187980257" sldId="2147483817"/>
              <pc:sldLayoutMk cId="3099683782" sldId="2147483856"/>
              <ac:spMk id="15" creationId="{26E0D0C4-5FD4-0642-B295-C0224EA483C1}"/>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16" creationId="{2F5BDD0F-AFD4-C74B-8245-DADD56631763}"/>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17" creationId="{CFC78932-FC93-1C44-8F58-24B318573B61}"/>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19" creationId="{B5940F78-D3AF-3745-B58C-6D0D7E1258C3}"/>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20" creationId="{712C7B4F-2172-704D-B05E-4B85FC43C1D1}"/>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24" creationId="{3681AA85-ACA7-6149-A30F-5B664DDE1BFF}"/>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27" creationId="{5794586D-89E8-464D-8F45-F9364274378E}"/>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29" creationId="{359DC7E0-4367-3F40-B197-0C1E085ED589}"/>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35" creationId="{2BF8EFF2-6BFD-1C48-BDE4-E4ED975C901B}"/>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36" creationId="{2604D6BD-B277-874C-A969-AAF9DD41F862}"/>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37" creationId="{29987F5F-4178-5C4E-9988-F34BF5926CEB}"/>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38" creationId="{7AA5E123-E123-BC42-ACDD-B746FFC9E391}"/>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39" creationId="{D40B5A65-6598-5D4F-9EE0-75AD3276F1FC}"/>
            </ac:spMkLst>
          </pc:spChg>
          <pc:spChg chg="mod">
            <ac:chgData name="Arav Barot" userId="2aabccd7-f410-4c9c-8764-2e3ea0dd7040" providerId="ADAL" clId="{6545EF83-34ED-4EBF-8118-20E7C988DC66}" dt="2023-11-03T13:36:21.554" v="14714"/>
            <ac:spMkLst>
              <pc:docMk/>
              <pc:sldMasterMk cId="3187980257" sldId="2147483817"/>
              <pc:sldLayoutMk cId="3099683782" sldId="2147483856"/>
              <ac:spMk id="40" creationId="{E20BB8DA-EF5B-DA44-84A7-2CC9E076A4D8}"/>
            </ac:spMkLst>
          </pc:spChg>
          <pc:picChg chg="mod">
            <ac:chgData name="Arav Barot" userId="2aabccd7-f410-4c9c-8764-2e3ea0dd7040" providerId="ADAL" clId="{6545EF83-34ED-4EBF-8118-20E7C988DC66}" dt="2023-11-03T13:36:21.554" v="14714"/>
            <ac:picMkLst>
              <pc:docMk/>
              <pc:sldMasterMk cId="3187980257" sldId="2147483817"/>
              <pc:sldLayoutMk cId="3099683782" sldId="2147483856"/>
              <ac:picMk id="18" creationId="{844B56D9-3E96-444F-BC13-3129408269B4}"/>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730315914" sldId="2147483857"/>
          </pc:sldLayoutMkLst>
          <pc:spChg chg="mod">
            <ac:chgData name="Arav Barot" userId="2aabccd7-f410-4c9c-8764-2e3ea0dd7040" providerId="ADAL" clId="{6545EF83-34ED-4EBF-8118-20E7C988DC66}" dt="2023-11-03T13:36:21.554" v="14714"/>
            <ac:spMkLst>
              <pc:docMk/>
              <pc:sldMasterMk cId="3187980257" sldId="2147483817"/>
              <pc:sldLayoutMk cId="1730315914" sldId="2147483857"/>
              <ac:spMk id="11" creationId="{64ABB740-601E-494C-9B36-4DDE80A8311E}"/>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12" creationId="{38AEB910-E851-4B43-856F-C950EABA142D}"/>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13" creationId="{02C48C39-9542-2F41-AD64-DE6E85719EE8}"/>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15" creationId="{26E0D0C4-5FD4-0642-B295-C0224EA483C1}"/>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16" creationId="{2F5BDD0F-AFD4-C74B-8245-DADD56631763}"/>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18" creationId="{04D4EA48-19AC-F941-8F45-9607E6E49911}"/>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21" creationId="{D4C98653-57D1-964B-BFFE-024F1B6936BF}"/>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27" creationId="{5794586D-89E8-464D-8F45-F9364274378E}"/>
            </ac:spMkLst>
          </pc:spChg>
          <pc:spChg chg="mod">
            <ac:chgData name="Arav Barot" userId="2aabccd7-f410-4c9c-8764-2e3ea0dd7040" providerId="ADAL" clId="{6545EF83-34ED-4EBF-8118-20E7C988DC66}" dt="2023-11-03T13:36:21.554" v="14714"/>
            <ac:spMkLst>
              <pc:docMk/>
              <pc:sldMasterMk cId="3187980257" sldId="2147483817"/>
              <pc:sldLayoutMk cId="1730315914" sldId="2147483857"/>
              <ac:spMk id="29" creationId="{359DC7E0-4367-3F40-B197-0C1E085ED589}"/>
            </ac:spMkLst>
          </pc:spChg>
          <pc:picChg chg="mod">
            <ac:chgData name="Arav Barot" userId="2aabccd7-f410-4c9c-8764-2e3ea0dd7040" providerId="ADAL" clId="{6545EF83-34ED-4EBF-8118-20E7C988DC66}" dt="2023-11-03T13:36:21.554" v="14714"/>
            <ac:picMkLst>
              <pc:docMk/>
              <pc:sldMasterMk cId="3187980257" sldId="2147483817"/>
              <pc:sldLayoutMk cId="1730315914" sldId="2147483857"/>
              <ac:picMk id="20" creationId="{C0EFFF32-D4B3-064D-A4B4-116BB5BC8F3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254847495" sldId="2147483861"/>
          </pc:sldLayoutMkLst>
          <pc:spChg chg="mod">
            <ac:chgData name="Arav Barot" userId="2aabccd7-f410-4c9c-8764-2e3ea0dd7040" providerId="ADAL" clId="{6545EF83-34ED-4EBF-8118-20E7C988DC66}" dt="2023-11-03T13:36:21.554" v="14714"/>
            <ac:spMkLst>
              <pc:docMk/>
              <pc:sldMasterMk cId="3187980257" sldId="2147483817"/>
              <pc:sldLayoutMk cId="2254847495" sldId="2147483861"/>
              <ac:spMk id="7" creationId="{59A31858-4983-714E-8A3A-977BBFAC8DB8}"/>
            </ac:spMkLst>
          </pc:spChg>
          <pc:spChg chg="mod">
            <ac:chgData name="Arav Barot" userId="2aabccd7-f410-4c9c-8764-2e3ea0dd7040" providerId="ADAL" clId="{6545EF83-34ED-4EBF-8118-20E7C988DC66}" dt="2023-11-03T13:36:21.554" v="14714"/>
            <ac:spMkLst>
              <pc:docMk/>
              <pc:sldMasterMk cId="3187980257" sldId="2147483817"/>
              <pc:sldLayoutMk cId="2254847495" sldId="2147483861"/>
              <ac:spMk id="8" creationId="{B8DD12A0-9573-2D45-B04A-F543A6A304B1}"/>
            </ac:spMkLst>
          </pc:spChg>
          <pc:spChg chg="mod">
            <ac:chgData name="Arav Barot" userId="2aabccd7-f410-4c9c-8764-2e3ea0dd7040" providerId="ADAL" clId="{6545EF83-34ED-4EBF-8118-20E7C988DC66}" dt="2023-11-03T13:36:21.554" v="14714"/>
            <ac:spMkLst>
              <pc:docMk/>
              <pc:sldMasterMk cId="3187980257" sldId="2147483817"/>
              <pc:sldLayoutMk cId="2254847495" sldId="2147483861"/>
              <ac:spMk id="10" creationId="{4E8E1B35-AE80-2B4E-A340-055C18DB08AF}"/>
            </ac:spMkLst>
          </pc:spChg>
          <pc:spChg chg="mod">
            <ac:chgData name="Arav Barot" userId="2aabccd7-f410-4c9c-8764-2e3ea0dd7040" providerId="ADAL" clId="{6545EF83-34ED-4EBF-8118-20E7C988DC66}" dt="2023-11-03T13:36:21.554" v="14714"/>
            <ac:spMkLst>
              <pc:docMk/>
              <pc:sldMasterMk cId="3187980257" sldId="2147483817"/>
              <pc:sldLayoutMk cId="2254847495" sldId="2147483861"/>
              <ac:spMk id="14" creationId="{144904B2-AB8D-4855-B555-C6FC04223994}"/>
            </ac:spMkLst>
          </pc:spChg>
          <pc:spChg chg="mod">
            <ac:chgData name="Arav Barot" userId="2aabccd7-f410-4c9c-8764-2e3ea0dd7040" providerId="ADAL" clId="{6545EF83-34ED-4EBF-8118-20E7C988DC66}" dt="2023-11-03T13:36:21.554" v="14714"/>
            <ac:spMkLst>
              <pc:docMk/>
              <pc:sldMasterMk cId="3187980257" sldId="2147483817"/>
              <pc:sldLayoutMk cId="2254847495" sldId="2147483861"/>
              <ac:spMk id="15" creationId="{8CD66271-723C-4C4F-8E4A-7A039E95AC05}"/>
            </ac:spMkLst>
          </pc:spChg>
          <pc:spChg chg="mod">
            <ac:chgData name="Arav Barot" userId="2aabccd7-f410-4c9c-8764-2e3ea0dd7040" providerId="ADAL" clId="{6545EF83-34ED-4EBF-8118-20E7C988DC66}" dt="2023-11-03T13:36:21.554" v="14714"/>
            <ac:spMkLst>
              <pc:docMk/>
              <pc:sldMasterMk cId="3187980257" sldId="2147483817"/>
              <pc:sldLayoutMk cId="2254847495" sldId="2147483861"/>
              <ac:spMk id="16" creationId="{6CD69B03-6A7D-2643-9E2B-EFFFB5BF6863}"/>
            </ac:spMkLst>
          </pc:spChg>
          <pc:spChg chg="mod">
            <ac:chgData name="Arav Barot" userId="2aabccd7-f410-4c9c-8764-2e3ea0dd7040" providerId="ADAL" clId="{6545EF83-34ED-4EBF-8118-20E7C988DC66}" dt="2023-11-03T13:36:21.554" v="14714"/>
            <ac:spMkLst>
              <pc:docMk/>
              <pc:sldMasterMk cId="3187980257" sldId="2147483817"/>
              <pc:sldLayoutMk cId="2254847495" sldId="2147483861"/>
              <ac:spMk id="18" creationId="{CB1CA88B-CAD1-264D-A236-9E1511A2A81D}"/>
            </ac:spMkLst>
          </pc:spChg>
          <pc:spChg chg="mod">
            <ac:chgData name="Arav Barot" userId="2aabccd7-f410-4c9c-8764-2e3ea0dd7040" providerId="ADAL" clId="{6545EF83-34ED-4EBF-8118-20E7C988DC66}" dt="2023-11-03T13:36:21.554" v="14714"/>
            <ac:spMkLst>
              <pc:docMk/>
              <pc:sldMasterMk cId="3187980257" sldId="2147483817"/>
              <pc:sldLayoutMk cId="2254847495" sldId="2147483861"/>
              <ac:spMk id="22" creationId="{00000000-0000-0000-0000-000000000000}"/>
            </ac:spMkLst>
          </pc:spChg>
          <pc:picChg chg="mod">
            <ac:chgData name="Arav Barot" userId="2aabccd7-f410-4c9c-8764-2e3ea0dd7040" providerId="ADAL" clId="{6545EF83-34ED-4EBF-8118-20E7C988DC66}" dt="2023-11-03T13:36:21.554" v="14714"/>
            <ac:picMkLst>
              <pc:docMk/>
              <pc:sldMasterMk cId="3187980257" sldId="2147483817"/>
              <pc:sldLayoutMk cId="2254847495" sldId="2147483861"/>
              <ac:picMk id="17" creationId="{813DB530-7670-4944-B81E-1C3590B88929}"/>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984995342" sldId="2147483862"/>
          </pc:sldLayoutMkLst>
          <pc:spChg chg="mod">
            <ac:chgData name="Arav Barot" userId="2aabccd7-f410-4c9c-8764-2e3ea0dd7040" providerId="ADAL" clId="{6545EF83-34ED-4EBF-8118-20E7C988DC66}" dt="2023-11-03T13:36:21.554" v="14714"/>
            <ac:spMkLst>
              <pc:docMk/>
              <pc:sldMasterMk cId="3187980257" sldId="2147483817"/>
              <pc:sldLayoutMk cId="984995342" sldId="2147483862"/>
              <ac:spMk id="7" creationId="{59A31858-4983-714E-8A3A-977BBFAC8DB8}"/>
            </ac:spMkLst>
          </pc:spChg>
          <pc:spChg chg="mod">
            <ac:chgData name="Arav Barot" userId="2aabccd7-f410-4c9c-8764-2e3ea0dd7040" providerId="ADAL" clId="{6545EF83-34ED-4EBF-8118-20E7C988DC66}" dt="2023-11-03T13:36:21.554" v="14714"/>
            <ac:spMkLst>
              <pc:docMk/>
              <pc:sldMasterMk cId="3187980257" sldId="2147483817"/>
              <pc:sldLayoutMk cId="984995342" sldId="2147483862"/>
              <ac:spMk id="8" creationId="{B8DD12A0-9573-2D45-B04A-F543A6A304B1}"/>
            </ac:spMkLst>
          </pc:spChg>
          <pc:spChg chg="mod">
            <ac:chgData name="Arav Barot" userId="2aabccd7-f410-4c9c-8764-2e3ea0dd7040" providerId="ADAL" clId="{6545EF83-34ED-4EBF-8118-20E7C988DC66}" dt="2023-11-03T13:36:21.554" v="14714"/>
            <ac:spMkLst>
              <pc:docMk/>
              <pc:sldMasterMk cId="3187980257" sldId="2147483817"/>
              <pc:sldLayoutMk cId="984995342" sldId="2147483862"/>
              <ac:spMk id="10" creationId="{11B9FFE4-7C54-5944-8938-EC3AE1D807F2}"/>
            </ac:spMkLst>
          </pc:spChg>
          <pc:spChg chg="mod">
            <ac:chgData name="Arav Barot" userId="2aabccd7-f410-4c9c-8764-2e3ea0dd7040" providerId="ADAL" clId="{6545EF83-34ED-4EBF-8118-20E7C988DC66}" dt="2023-11-03T13:36:21.554" v="14714"/>
            <ac:spMkLst>
              <pc:docMk/>
              <pc:sldMasterMk cId="3187980257" sldId="2147483817"/>
              <pc:sldLayoutMk cId="984995342" sldId="2147483862"/>
              <ac:spMk id="14" creationId="{3C3C0C03-B8C0-5C46-A7CA-0767F2BC2B90}"/>
            </ac:spMkLst>
          </pc:spChg>
          <pc:spChg chg="mod">
            <ac:chgData name="Arav Barot" userId="2aabccd7-f410-4c9c-8764-2e3ea0dd7040" providerId="ADAL" clId="{6545EF83-34ED-4EBF-8118-20E7C988DC66}" dt="2023-11-03T13:36:21.554" v="14714"/>
            <ac:spMkLst>
              <pc:docMk/>
              <pc:sldMasterMk cId="3187980257" sldId="2147483817"/>
              <pc:sldLayoutMk cId="984995342" sldId="2147483862"/>
              <ac:spMk id="15" creationId="{41FB7CE2-AFDE-43F0-B853-9B67159CC173}"/>
            </ac:spMkLst>
          </pc:spChg>
          <pc:spChg chg="mod">
            <ac:chgData name="Arav Barot" userId="2aabccd7-f410-4c9c-8764-2e3ea0dd7040" providerId="ADAL" clId="{6545EF83-34ED-4EBF-8118-20E7C988DC66}" dt="2023-11-03T13:36:21.554" v="14714"/>
            <ac:spMkLst>
              <pc:docMk/>
              <pc:sldMasterMk cId="3187980257" sldId="2147483817"/>
              <pc:sldLayoutMk cId="984995342" sldId="2147483862"/>
              <ac:spMk id="16" creationId="{F010C23D-818E-6A4A-9A94-477103C9F350}"/>
            </ac:spMkLst>
          </pc:spChg>
          <pc:spChg chg="mod">
            <ac:chgData name="Arav Barot" userId="2aabccd7-f410-4c9c-8764-2e3ea0dd7040" providerId="ADAL" clId="{6545EF83-34ED-4EBF-8118-20E7C988DC66}" dt="2023-11-03T13:36:21.554" v="14714"/>
            <ac:spMkLst>
              <pc:docMk/>
              <pc:sldMasterMk cId="3187980257" sldId="2147483817"/>
              <pc:sldLayoutMk cId="984995342" sldId="2147483862"/>
              <ac:spMk id="18" creationId="{E86DDADC-E53A-EA4E-9AF9-E52010F54788}"/>
            </ac:spMkLst>
          </pc:spChg>
          <pc:spChg chg="mod">
            <ac:chgData name="Arav Barot" userId="2aabccd7-f410-4c9c-8764-2e3ea0dd7040" providerId="ADAL" clId="{6545EF83-34ED-4EBF-8118-20E7C988DC66}" dt="2023-11-03T13:36:21.554" v="14714"/>
            <ac:spMkLst>
              <pc:docMk/>
              <pc:sldMasterMk cId="3187980257" sldId="2147483817"/>
              <pc:sldLayoutMk cId="984995342" sldId="2147483862"/>
              <ac:spMk id="22" creationId="{00000000-0000-0000-0000-000000000000}"/>
            </ac:spMkLst>
          </pc:spChg>
          <pc:picChg chg="mod">
            <ac:chgData name="Arav Barot" userId="2aabccd7-f410-4c9c-8764-2e3ea0dd7040" providerId="ADAL" clId="{6545EF83-34ED-4EBF-8118-20E7C988DC66}" dt="2023-11-03T13:36:21.554" v="14714"/>
            <ac:picMkLst>
              <pc:docMk/>
              <pc:sldMasterMk cId="3187980257" sldId="2147483817"/>
              <pc:sldLayoutMk cId="984995342" sldId="2147483862"/>
              <ac:picMk id="17" creationId="{79DAED6B-0795-3B41-A53A-7EFD048651F6}"/>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726673067" sldId="2147483863"/>
          </pc:sldLayoutMkLst>
          <pc:spChg chg="mod">
            <ac:chgData name="Arav Barot" userId="2aabccd7-f410-4c9c-8764-2e3ea0dd7040" providerId="ADAL" clId="{6545EF83-34ED-4EBF-8118-20E7C988DC66}" dt="2023-11-03T13:36:21.554" v="14714"/>
            <ac:spMkLst>
              <pc:docMk/>
              <pc:sldMasterMk cId="3187980257" sldId="2147483817"/>
              <pc:sldLayoutMk cId="1726673067" sldId="2147483863"/>
              <ac:spMk id="7" creationId="{59A31858-4983-714E-8A3A-977BBFAC8DB8}"/>
            </ac:spMkLst>
          </pc:spChg>
          <pc:spChg chg="mod">
            <ac:chgData name="Arav Barot" userId="2aabccd7-f410-4c9c-8764-2e3ea0dd7040" providerId="ADAL" clId="{6545EF83-34ED-4EBF-8118-20E7C988DC66}" dt="2023-11-03T13:36:21.554" v="14714"/>
            <ac:spMkLst>
              <pc:docMk/>
              <pc:sldMasterMk cId="3187980257" sldId="2147483817"/>
              <pc:sldLayoutMk cId="1726673067" sldId="2147483863"/>
              <ac:spMk id="8" creationId="{B8DD12A0-9573-2D45-B04A-F543A6A304B1}"/>
            </ac:spMkLst>
          </pc:spChg>
          <pc:spChg chg="mod">
            <ac:chgData name="Arav Barot" userId="2aabccd7-f410-4c9c-8764-2e3ea0dd7040" providerId="ADAL" clId="{6545EF83-34ED-4EBF-8118-20E7C988DC66}" dt="2023-11-03T13:36:21.554" v="14714"/>
            <ac:spMkLst>
              <pc:docMk/>
              <pc:sldMasterMk cId="3187980257" sldId="2147483817"/>
              <pc:sldLayoutMk cId="1726673067" sldId="2147483863"/>
              <ac:spMk id="9" creationId="{3E02ED47-3404-014C-AF9E-49390B29A29C}"/>
            </ac:spMkLst>
          </pc:spChg>
          <pc:spChg chg="mod">
            <ac:chgData name="Arav Barot" userId="2aabccd7-f410-4c9c-8764-2e3ea0dd7040" providerId="ADAL" clId="{6545EF83-34ED-4EBF-8118-20E7C988DC66}" dt="2023-11-03T13:36:21.554" v="14714"/>
            <ac:spMkLst>
              <pc:docMk/>
              <pc:sldMasterMk cId="3187980257" sldId="2147483817"/>
              <pc:sldLayoutMk cId="1726673067" sldId="2147483863"/>
              <ac:spMk id="15" creationId="{8F70981C-17A9-3C4C-A738-D50C6E696816}"/>
            </ac:spMkLst>
          </pc:spChg>
          <pc:spChg chg="mod">
            <ac:chgData name="Arav Barot" userId="2aabccd7-f410-4c9c-8764-2e3ea0dd7040" providerId="ADAL" clId="{6545EF83-34ED-4EBF-8118-20E7C988DC66}" dt="2023-11-03T13:36:21.554" v="14714"/>
            <ac:spMkLst>
              <pc:docMk/>
              <pc:sldMasterMk cId="3187980257" sldId="2147483817"/>
              <pc:sldLayoutMk cId="1726673067" sldId="2147483863"/>
              <ac:spMk id="16" creationId="{02B5D9F0-3908-CA41-8535-3CF6A04A3825}"/>
            </ac:spMkLst>
          </pc:spChg>
          <pc:spChg chg="mod">
            <ac:chgData name="Arav Barot" userId="2aabccd7-f410-4c9c-8764-2e3ea0dd7040" providerId="ADAL" clId="{6545EF83-34ED-4EBF-8118-20E7C988DC66}" dt="2023-11-03T13:36:21.554" v="14714"/>
            <ac:spMkLst>
              <pc:docMk/>
              <pc:sldMasterMk cId="3187980257" sldId="2147483817"/>
              <pc:sldLayoutMk cId="1726673067" sldId="2147483863"/>
              <ac:spMk id="18" creationId="{38A5FF54-4256-9146-9CA8-E08572FD4E6D}"/>
            </ac:spMkLst>
          </pc:spChg>
          <pc:picChg chg="mod">
            <ac:chgData name="Arav Barot" userId="2aabccd7-f410-4c9c-8764-2e3ea0dd7040" providerId="ADAL" clId="{6545EF83-34ED-4EBF-8118-20E7C988DC66}" dt="2023-11-03T13:36:21.554" v="14714"/>
            <ac:picMkLst>
              <pc:docMk/>
              <pc:sldMasterMk cId="3187980257" sldId="2147483817"/>
              <pc:sldLayoutMk cId="1726673067" sldId="2147483863"/>
              <ac:picMk id="10" creationId="{DDBCC86D-A9FB-1441-B74B-E7D9B3ADFEE5}"/>
            </ac:picMkLst>
          </pc:picChg>
          <pc:picChg chg="mod">
            <ac:chgData name="Arav Barot" userId="2aabccd7-f410-4c9c-8764-2e3ea0dd7040" providerId="ADAL" clId="{6545EF83-34ED-4EBF-8118-20E7C988DC66}" dt="2023-11-03T13:36:21.554" v="14714"/>
            <ac:picMkLst>
              <pc:docMk/>
              <pc:sldMasterMk cId="3187980257" sldId="2147483817"/>
              <pc:sldLayoutMk cId="1726673067" sldId="2147483863"/>
              <ac:picMk id="14" creationId="{C6AFF7F2-7EE9-41D4-BCB5-9CFDE2D1CEEA}"/>
            </ac:picMkLst>
          </pc:picChg>
          <pc:picChg chg="mod">
            <ac:chgData name="Arav Barot" userId="2aabccd7-f410-4c9c-8764-2e3ea0dd7040" providerId="ADAL" clId="{6545EF83-34ED-4EBF-8118-20E7C988DC66}" dt="2023-11-03T13:36:21.554" v="14714"/>
            <ac:picMkLst>
              <pc:docMk/>
              <pc:sldMasterMk cId="3187980257" sldId="2147483817"/>
              <pc:sldLayoutMk cId="1726673067" sldId="2147483863"/>
              <ac:picMk id="17" creationId="{9C70221E-A3C2-4148-8C3E-DFBB9B31021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9916853" sldId="2147483864"/>
          </pc:sldLayoutMkLst>
          <pc:spChg chg="mod">
            <ac:chgData name="Arav Barot" userId="2aabccd7-f410-4c9c-8764-2e3ea0dd7040" providerId="ADAL" clId="{6545EF83-34ED-4EBF-8118-20E7C988DC66}" dt="2023-11-03T13:36:21.554" v="14714"/>
            <ac:spMkLst>
              <pc:docMk/>
              <pc:sldMasterMk cId="3187980257" sldId="2147483817"/>
              <pc:sldLayoutMk cId="19916853" sldId="2147483864"/>
              <ac:spMk id="7" creationId="{CA49EB4E-F658-3F42-8EAF-8280F1329729}"/>
            </ac:spMkLst>
          </pc:spChg>
          <pc:spChg chg="mod">
            <ac:chgData name="Arav Barot" userId="2aabccd7-f410-4c9c-8764-2e3ea0dd7040" providerId="ADAL" clId="{6545EF83-34ED-4EBF-8118-20E7C988DC66}" dt="2023-11-03T13:36:21.554" v="14714"/>
            <ac:spMkLst>
              <pc:docMk/>
              <pc:sldMasterMk cId="3187980257" sldId="2147483817"/>
              <pc:sldLayoutMk cId="19916853" sldId="2147483864"/>
              <ac:spMk id="8" creationId="{667373A9-2E59-ED41-9D2E-A953F481EA8B}"/>
            </ac:spMkLst>
          </pc:spChg>
          <pc:spChg chg="mod">
            <ac:chgData name="Arav Barot" userId="2aabccd7-f410-4c9c-8764-2e3ea0dd7040" providerId="ADAL" clId="{6545EF83-34ED-4EBF-8118-20E7C988DC66}" dt="2023-11-03T13:36:21.554" v="14714"/>
            <ac:spMkLst>
              <pc:docMk/>
              <pc:sldMasterMk cId="3187980257" sldId="2147483817"/>
              <pc:sldLayoutMk cId="19916853" sldId="2147483864"/>
              <ac:spMk id="9" creationId="{11373B77-5CE4-EE48-9D06-6D64E1EEBDF7}"/>
            </ac:spMkLst>
          </pc:spChg>
          <pc:spChg chg="mod">
            <ac:chgData name="Arav Barot" userId="2aabccd7-f410-4c9c-8764-2e3ea0dd7040" providerId="ADAL" clId="{6545EF83-34ED-4EBF-8118-20E7C988DC66}" dt="2023-11-03T13:36:21.554" v="14714"/>
            <ac:spMkLst>
              <pc:docMk/>
              <pc:sldMasterMk cId="3187980257" sldId="2147483817"/>
              <pc:sldLayoutMk cId="19916853" sldId="2147483864"/>
              <ac:spMk id="10" creationId="{22B98018-8AF8-A540-940C-20BAC57B756E}"/>
            </ac:spMkLst>
          </pc:spChg>
          <pc:spChg chg="mod">
            <ac:chgData name="Arav Barot" userId="2aabccd7-f410-4c9c-8764-2e3ea0dd7040" providerId="ADAL" clId="{6545EF83-34ED-4EBF-8118-20E7C988DC66}" dt="2023-11-03T13:36:21.554" v="14714"/>
            <ac:spMkLst>
              <pc:docMk/>
              <pc:sldMasterMk cId="3187980257" sldId="2147483817"/>
              <pc:sldLayoutMk cId="19916853" sldId="2147483864"/>
              <ac:spMk id="14" creationId="{E9C4ECB1-18D6-4D62-A0CE-ED0214774067}"/>
            </ac:spMkLst>
          </pc:spChg>
          <pc:spChg chg="mod">
            <ac:chgData name="Arav Barot" userId="2aabccd7-f410-4c9c-8764-2e3ea0dd7040" providerId="ADAL" clId="{6545EF83-34ED-4EBF-8118-20E7C988DC66}" dt="2023-11-03T13:36:21.554" v="14714"/>
            <ac:spMkLst>
              <pc:docMk/>
              <pc:sldMasterMk cId="3187980257" sldId="2147483817"/>
              <pc:sldLayoutMk cId="19916853" sldId="2147483864"/>
              <ac:spMk id="15" creationId="{10678D7B-3AF4-7147-8A20-C29BE96888AF}"/>
            </ac:spMkLst>
          </pc:spChg>
          <pc:spChg chg="mod">
            <ac:chgData name="Arav Barot" userId="2aabccd7-f410-4c9c-8764-2e3ea0dd7040" providerId="ADAL" clId="{6545EF83-34ED-4EBF-8118-20E7C988DC66}" dt="2023-11-03T13:36:21.554" v="14714"/>
            <ac:spMkLst>
              <pc:docMk/>
              <pc:sldMasterMk cId="3187980257" sldId="2147483817"/>
              <pc:sldLayoutMk cId="19916853" sldId="2147483864"/>
              <ac:spMk id="17" creationId="{AC86669F-6CCF-2645-ACD4-A7902E5A5206}"/>
            </ac:spMkLst>
          </pc:spChg>
          <pc:spChg chg="mod">
            <ac:chgData name="Arav Barot" userId="2aabccd7-f410-4c9c-8764-2e3ea0dd7040" providerId="ADAL" clId="{6545EF83-34ED-4EBF-8118-20E7C988DC66}" dt="2023-11-03T13:36:21.554" v="14714"/>
            <ac:spMkLst>
              <pc:docMk/>
              <pc:sldMasterMk cId="3187980257" sldId="2147483817"/>
              <pc:sldLayoutMk cId="19916853" sldId="2147483864"/>
              <ac:spMk id="18" creationId="{611CBB86-7C81-D94C-8C82-9F81ED41087B}"/>
            </ac:spMkLst>
          </pc:spChg>
          <pc:picChg chg="mod">
            <ac:chgData name="Arav Barot" userId="2aabccd7-f410-4c9c-8764-2e3ea0dd7040" providerId="ADAL" clId="{6545EF83-34ED-4EBF-8118-20E7C988DC66}" dt="2023-11-03T13:36:21.554" v="14714"/>
            <ac:picMkLst>
              <pc:docMk/>
              <pc:sldMasterMk cId="3187980257" sldId="2147483817"/>
              <pc:sldLayoutMk cId="19916853" sldId="2147483864"/>
              <ac:picMk id="16" creationId="{78D6674D-39A4-174D-9458-0E90A3BB4233}"/>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909990217" sldId="2147483866"/>
          </pc:sldLayoutMkLst>
          <pc:spChg chg="mod">
            <ac:chgData name="Arav Barot" userId="2aabccd7-f410-4c9c-8764-2e3ea0dd7040" providerId="ADAL" clId="{6545EF83-34ED-4EBF-8118-20E7C988DC66}" dt="2023-11-03T13:36:21.554" v="14714"/>
            <ac:spMkLst>
              <pc:docMk/>
              <pc:sldMasterMk cId="3187980257" sldId="2147483817"/>
              <pc:sldLayoutMk cId="1909990217" sldId="2147483866"/>
              <ac:spMk id="3" creationId="{02E38D53-B9C2-8C4D-9B4D-2DCA657FC538}"/>
            </ac:spMkLst>
          </pc:spChg>
          <pc:spChg chg="mod">
            <ac:chgData name="Arav Barot" userId="2aabccd7-f410-4c9c-8764-2e3ea0dd7040" providerId="ADAL" clId="{6545EF83-34ED-4EBF-8118-20E7C988DC66}" dt="2023-11-03T13:36:21.554" v="14714"/>
            <ac:spMkLst>
              <pc:docMk/>
              <pc:sldMasterMk cId="3187980257" sldId="2147483817"/>
              <pc:sldLayoutMk cId="1909990217" sldId="2147483866"/>
              <ac:spMk id="4" creationId="{3BE681BA-592A-5047-9AD9-7EA40D099B0A}"/>
            </ac:spMkLst>
          </pc:spChg>
          <pc:spChg chg="mod">
            <ac:chgData name="Arav Barot" userId="2aabccd7-f410-4c9c-8764-2e3ea0dd7040" providerId="ADAL" clId="{6545EF83-34ED-4EBF-8118-20E7C988DC66}" dt="2023-11-03T13:36:21.554" v="14714"/>
            <ac:spMkLst>
              <pc:docMk/>
              <pc:sldMasterMk cId="3187980257" sldId="2147483817"/>
              <pc:sldLayoutMk cId="1909990217" sldId="2147483866"/>
              <ac:spMk id="5" creationId="{F3A1D6D2-74E2-CD43-A62B-E74FF4DF68FF}"/>
            </ac:spMkLst>
          </pc:spChg>
          <pc:spChg chg="mod">
            <ac:chgData name="Arav Barot" userId="2aabccd7-f410-4c9c-8764-2e3ea0dd7040" providerId="ADAL" clId="{6545EF83-34ED-4EBF-8118-20E7C988DC66}" dt="2023-11-03T13:36:21.554" v="14714"/>
            <ac:spMkLst>
              <pc:docMk/>
              <pc:sldMasterMk cId="3187980257" sldId="2147483817"/>
              <pc:sldLayoutMk cId="1909990217" sldId="2147483866"/>
              <ac:spMk id="9" creationId="{D09185BF-0C74-8147-86FC-D86A3464A2C8}"/>
            </ac:spMkLst>
          </pc:spChg>
          <pc:spChg chg="mod">
            <ac:chgData name="Arav Barot" userId="2aabccd7-f410-4c9c-8764-2e3ea0dd7040" providerId="ADAL" clId="{6545EF83-34ED-4EBF-8118-20E7C988DC66}" dt="2023-11-03T13:36:21.554" v="14714"/>
            <ac:spMkLst>
              <pc:docMk/>
              <pc:sldMasterMk cId="3187980257" sldId="2147483817"/>
              <pc:sldLayoutMk cId="1909990217" sldId="2147483866"/>
              <ac:spMk id="16" creationId="{1A4AA961-EEC0-B242-A2EB-258EC808F765}"/>
            </ac:spMkLst>
          </pc:spChg>
          <pc:spChg chg="mod">
            <ac:chgData name="Arav Barot" userId="2aabccd7-f410-4c9c-8764-2e3ea0dd7040" providerId="ADAL" clId="{6545EF83-34ED-4EBF-8118-20E7C988DC66}" dt="2023-11-03T13:36:21.554" v="14714"/>
            <ac:spMkLst>
              <pc:docMk/>
              <pc:sldMasterMk cId="3187980257" sldId="2147483817"/>
              <pc:sldLayoutMk cId="1909990217" sldId="2147483866"/>
              <ac:spMk id="18" creationId="{1601C9F1-E284-0545-8320-360C4DB5B7C5}"/>
            </ac:spMkLst>
          </pc:spChg>
          <pc:spChg chg="mod">
            <ac:chgData name="Arav Barot" userId="2aabccd7-f410-4c9c-8764-2e3ea0dd7040" providerId="ADAL" clId="{6545EF83-34ED-4EBF-8118-20E7C988DC66}" dt="2023-11-03T13:36:21.554" v="14714"/>
            <ac:spMkLst>
              <pc:docMk/>
              <pc:sldMasterMk cId="3187980257" sldId="2147483817"/>
              <pc:sldLayoutMk cId="1909990217" sldId="2147483866"/>
              <ac:spMk id="19" creationId="{E08A88AE-F782-7648-A6F6-47846F5DC0DF}"/>
            </ac:spMkLst>
          </pc:spChg>
          <pc:picChg chg="mod">
            <ac:chgData name="Arav Barot" userId="2aabccd7-f410-4c9c-8764-2e3ea0dd7040" providerId="ADAL" clId="{6545EF83-34ED-4EBF-8118-20E7C988DC66}" dt="2023-11-03T13:36:21.554" v="14714"/>
            <ac:picMkLst>
              <pc:docMk/>
              <pc:sldMasterMk cId="3187980257" sldId="2147483817"/>
              <pc:sldLayoutMk cId="1909990217" sldId="2147483866"/>
              <ac:picMk id="20" creationId="{4F0A64D2-4697-0A40-9A6B-8DD8A78004C3}"/>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21030872" sldId="2147483867"/>
          </pc:sldLayoutMkLst>
          <pc:spChg chg="mod">
            <ac:chgData name="Arav Barot" userId="2aabccd7-f410-4c9c-8764-2e3ea0dd7040" providerId="ADAL" clId="{6545EF83-34ED-4EBF-8118-20E7C988DC66}" dt="2023-11-03T13:36:21.554" v="14714"/>
            <ac:spMkLst>
              <pc:docMk/>
              <pc:sldMasterMk cId="3187980257" sldId="2147483817"/>
              <pc:sldLayoutMk cId="221030872" sldId="2147483867"/>
              <ac:spMk id="3" creationId="{02E38D53-B9C2-8C4D-9B4D-2DCA657FC538}"/>
            </ac:spMkLst>
          </pc:spChg>
          <pc:spChg chg="mod">
            <ac:chgData name="Arav Barot" userId="2aabccd7-f410-4c9c-8764-2e3ea0dd7040" providerId="ADAL" clId="{6545EF83-34ED-4EBF-8118-20E7C988DC66}" dt="2023-11-03T13:36:21.554" v="14714"/>
            <ac:spMkLst>
              <pc:docMk/>
              <pc:sldMasterMk cId="3187980257" sldId="2147483817"/>
              <pc:sldLayoutMk cId="221030872" sldId="2147483867"/>
              <ac:spMk id="4" creationId="{3BE681BA-592A-5047-9AD9-7EA40D099B0A}"/>
            </ac:spMkLst>
          </pc:spChg>
          <pc:spChg chg="mod">
            <ac:chgData name="Arav Barot" userId="2aabccd7-f410-4c9c-8764-2e3ea0dd7040" providerId="ADAL" clId="{6545EF83-34ED-4EBF-8118-20E7C988DC66}" dt="2023-11-03T13:36:21.554" v="14714"/>
            <ac:spMkLst>
              <pc:docMk/>
              <pc:sldMasterMk cId="3187980257" sldId="2147483817"/>
              <pc:sldLayoutMk cId="221030872" sldId="2147483867"/>
              <ac:spMk id="5" creationId="{F3A1D6D2-74E2-CD43-A62B-E74FF4DF68FF}"/>
            </ac:spMkLst>
          </pc:spChg>
          <pc:spChg chg="mod">
            <ac:chgData name="Arav Barot" userId="2aabccd7-f410-4c9c-8764-2e3ea0dd7040" providerId="ADAL" clId="{6545EF83-34ED-4EBF-8118-20E7C988DC66}" dt="2023-11-03T13:36:21.554" v="14714"/>
            <ac:spMkLst>
              <pc:docMk/>
              <pc:sldMasterMk cId="3187980257" sldId="2147483817"/>
              <pc:sldLayoutMk cId="221030872" sldId="2147483867"/>
              <ac:spMk id="9" creationId="{D09185BF-0C74-8147-86FC-D86A3464A2C8}"/>
            </ac:spMkLst>
          </pc:spChg>
          <pc:spChg chg="mod">
            <ac:chgData name="Arav Barot" userId="2aabccd7-f410-4c9c-8764-2e3ea0dd7040" providerId="ADAL" clId="{6545EF83-34ED-4EBF-8118-20E7C988DC66}" dt="2023-11-03T13:36:21.554" v="14714"/>
            <ac:spMkLst>
              <pc:docMk/>
              <pc:sldMasterMk cId="3187980257" sldId="2147483817"/>
              <pc:sldLayoutMk cId="221030872" sldId="2147483867"/>
              <ac:spMk id="16" creationId="{1A4AA961-EEC0-B242-A2EB-258EC808F765}"/>
            </ac:spMkLst>
          </pc:spChg>
          <pc:spChg chg="mod">
            <ac:chgData name="Arav Barot" userId="2aabccd7-f410-4c9c-8764-2e3ea0dd7040" providerId="ADAL" clId="{6545EF83-34ED-4EBF-8118-20E7C988DC66}" dt="2023-11-03T13:36:21.554" v="14714"/>
            <ac:spMkLst>
              <pc:docMk/>
              <pc:sldMasterMk cId="3187980257" sldId="2147483817"/>
              <pc:sldLayoutMk cId="221030872" sldId="2147483867"/>
              <ac:spMk id="18" creationId="{1601C9F1-E284-0545-8320-360C4DB5B7C5}"/>
            </ac:spMkLst>
          </pc:spChg>
          <pc:spChg chg="mod">
            <ac:chgData name="Arav Barot" userId="2aabccd7-f410-4c9c-8764-2e3ea0dd7040" providerId="ADAL" clId="{6545EF83-34ED-4EBF-8118-20E7C988DC66}" dt="2023-11-03T13:36:21.554" v="14714"/>
            <ac:spMkLst>
              <pc:docMk/>
              <pc:sldMasterMk cId="3187980257" sldId="2147483817"/>
              <pc:sldLayoutMk cId="221030872" sldId="2147483867"/>
              <ac:spMk id="19" creationId="{E08A88AE-F782-7648-A6F6-47846F5DC0DF}"/>
            </ac:spMkLst>
          </pc:spChg>
          <pc:picChg chg="mod">
            <ac:chgData name="Arav Barot" userId="2aabccd7-f410-4c9c-8764-2e3ea0dd7040" providerId="ADAL" clId="{6545EF83-34ED-4EBF-8118-20E7C988DC66}" dt="2023-11-03T13:36:21.554" v="14714"/>
            <ac:picMkLst>
              <pc:docMk/>
              <pc:sldMasterMk cId="3187980257" sldId="2147483817"/>
              <pc:sldLayoutMk cId="221030872" sldId="2147483867"/>
              <ac:picMk id="20" creationId="{4F0A64D2-4697-0A40-9A6B-8DD8A78004C3}"/>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2328057148" sldId="2147483868"/>
          </pc:sldLayoutMkLst>
          <pc:spChg chg="mod">
            <ac:chgData name="Arav Barot" userId="2aabccd7-f410-4c9c-8764-2e3ea0dd7040" providerId="ADAL" clId="{6545EF83-34ED-4EBF-8118-20E7C988DC66}" dt="2023-11-03T13:36:21.554" v="14714"/>
            <ac:spMkLst>
              <pc:docMk/>
              <pc:sldMasterMk cId="3187980257" sldId="2147483817"/>
              <pc:sldLayoutMk cId="2328057148" sldId="2147483868"/>
              <ac:spMk id="3" creationId="{02E38D53-B9C2-8C4D-9B4D-2DCA657FC538}"/>
            </ac:spMkLst>
          </pc:spChg>
          <pc:spChg chg="mod">
            <ac:chgData name="Arav Barot" userId="2aabccd7-f410-4c9c-8764-2e3ea0dd7040" providerId="ADAL" clId="{6545EF83-34ED-4EBF-8118-20E7C988DC66}" dt="2023-11-03T13:36:21.554" v="14714"/>
            <ac:spMkLst>
              <pc:docMk/>
              <pc:sldMasterMk cId="3187980257" sldId="2147483817"/>
              <pc:sldLayoutMk cId="2328057148" sldId="2147483868"/>
              <ac:spMk id="4" creationId="{3BE681BA-592A-5047-9AD9-7EA40D099B0A}"/>
            </ac:spMkLst>
          </pc:spChg>
          <pc:spChg chg="mod">
            <ac:chgData name="Arav Barot" userId="2aabccd7-f410-4c9c-8764-2e3ea0dd7040" providerId="ADAL" clId="{6545EF83-34ED-4EBF-8118-20E7C988DC66}" dt="2023-11-03T13:36:21.554" v="14714"/>
            <ac:spMkLst>
              <pc:docMk/>
              <pc:sldMasterMk cId="3187980257" sldId="2147483817"/>
              <pc:sldLayoutMk cId="2328057148" sldId="2147483868"/>
              <ac:spMk id="5" creationId="{F3A1D6D2-74E2-CD43-A62B-E74FF4DF68FF}"/>
            </ac:spMkLst>
          </pc:spChg>
          <pc:spChg chg="mod">
            <ac:chgData name="Arav Barot" userId="2aabccd7-f410-4c9c-8764-2e3ea0dd7040" providerId="ADAL" clId="{6545EF83-34ED-4EBF-8118-20E7C988DC66}" dt="2023-11-03T13:36:21.554" v="14714"/>
            <ac:spMkLst>
              <pc:docMk/>
              <pc:sldMasterMk cId="3187980257" sldId="2147483817"/>
              <pc:sldLayoutMk cId="2328057148" sldId="2147483868"/>
              <ac:spMk id="9" creationId="{D09185BF-0C74-8147-86FC-D86A3464A2C8}"/>
            </ac:spMkLst>
          </pc:spChg>
          <pc:spChg chg="mod">
            <ac:chgData name="Arav Barot" userId="2aabccd7-f410-4c9c-8764-2e3ea0dd7040" providerId="ADAL" clId="{6545EF83-34ED-4EBF-8118-20E7C988DC66}" dt="2023-11-03T13:36:21.554" v="14714"/>
            <ac:spMkLst>
              <pc:docMk/>
              <pc:sldMasterMk cId="3187980257" sldId="2147483817"/>
              <pc:sldLayoutMk cId="2328057148" sldId="2147483868"/>
              <ac:spMk id="16" creationId="{1A4AA961-EEC0-B242-A2EB-258EC808F765}"/>
            </ac:spMkLst>
          </pc:spChg>
          <pc:spChg chg="mod">
            <ac:chgData name="Arav Barot" userId="2aabccd7-f410-4c9c-8764-2e3ea0dd7040" providerId="ADAL" clId="{6545EF83-34ED-4EBF-8118-20E7C988DC66}" dt="2023-11-03T13:36:21.554" v="14714"/>
            <ac:spMkLst>
              <pc:docMk/>
              <pc:sldMasterMk cId="3187980257" sldId="2147483817"/>
              <pc:sldLayoutMk cId="2328057148" sldId="2147483868"/>
              <ac:spMk id="18" creationId="{1601C9F1-E284-0545-8320-360C4DB5B7C5}"/>
            </ac:spMkLst>
          </pc:spChg>
          <pc:spChg chg="mod">
            <ac:chgData name="Arav Barot" userId="2aabccd7-f410-4c9c-8764-2e3ea0dd7040" providerId="ADAL" clId="{6545EF83-34ED-4EBF-8118-20E7C988DC66}" dt="2023-11-03T13:36:21.554" v="14714"/>
            <ac:spMkLst>
              <pc:docMk/>
              <pc:sldMasterMk cId="3187980257" sldId="2147483817"/>
              <pc:sldLayoutMk cId="2328057148" sldId="2147483868"/>
              <ac:spMk id="19" creationId="{E08A88AE-F782-7648-A6F6-47846F5DC0DF}"/>
            </ac:spMkLst>
          </pc:spChg>
          <pc:picChg chg="mod">
            <ac:chgData name="Arav Barot" userId="2aabccd7-f410-4c9c-8764-2e3ea0dd7040" providerId="ADAL" clId="{6545EF83-34ED-4EBF-8118-20E7C988DC66}" dt="2023-11-03T13:36:21.554" v="14714"/>
            <ac:picMkLst>
              <pc:docMk/>
              <pc:sldMasterMk cId="3187980257" sldId="2147483817"/>
              <pc:sldLayoutMk cId="2328057148" sldId="2147483868"/>
              <ac:picMk id="20" creationId="{4F0A64D2-4697-0A40-9A6B-8DD8A78004C3}"/>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4047626317" sldId="2147483869"/>
          </pc:sldLayoutMkLst>
          <pc:spChg chg="mod">
            <ac:chgData name="Arav Barot" userId="2aabccd7-f410-4c9c-8764-2e3ea0dd7040" providerId="ADAL" clId="{6545EF83-34ED-4EBF-8118-20E7C988DC66}" dt="2023-11-03T13:36:21.554" v="14714"/>
            <ac:spMkLst>
              <pc:docMk/>
              <pc:sldMasterMk cId="3187980257" sldId="2147483817"/>
              <pc:sldLayoutMk cId="4047626317" sldId="2147483869"/>
              <ac:spMk id="1149" creationId="{C7E667B8-8668-9540-B09C-5CC725B39EAE}"/>
            </ac:spMkLst>
          </pc:spChg>
          <pc:spChg chg="mod">
            <ac:chgData name="Arav Barot" userId="2aabccd7-f410-4c9c-8764-2e3ea0dd7040" providerId="ADAL" clId="{6545EF83-34ED-4EBF-8118-20E7C988DC66}" dt="2023-11-03T13:36:21.554" v="14714"/>
            <ac:spMkLst>
              <pc:docMk/>
              <pc:sldMasterMk cId="3187980257" sldId="2147483817"/>
              <pc:sldLayoutMk cId="4047626317" sldId="2147483869"/>
              <ac:spMk id="1152" creationId="{32238EF1-CF8A-C547-A40F-2575ADDC153B}"/>
            </ac:spMkLst>
          </pc:spChg>
          <pc:spChg chg="mod">
            <ac:chgData name="Arav Barot" userId="2aabccd7-f410-4c9c-8764-2e3ea0dd7040" providerId="ADAL" clId="{6545EF83-34ED-4EBF-8118-20E7C988DC66}" dt="2023-11-03T13:36:21.554" v="14714"/>
            <ac:spMkLst>
              <pc:docMk/>
              <pc:sldMasterMk cId="3187980257" sldId="2147483817"/>
              <pc:sldLayoutMk cId="4047626317" sldId="2147483869"/>
              <ac:spMk id="1153" creationId="{8921AF50-68CC-1442-83D9-112EDDF42E0D}"/>
            </ac:spMkLst>
          </pc:spChg>
          <pc:spChg chg="mod">
            <ac:chgData name="Arav Barot" userId="2aabccd7-f410-4c9c-8764-2e3ea0dd7040" providerId="ADAL" clId="{6545EF83-34ED-4EBF-8118-20E7C988DC66}" dt="2023-11-03T13:36:21.554" v="14714"/>
            <ac:spMkLst>
              <pc:docMk/>
              <pc:sldMasterMk cId="3187980257" sldId="2147483817"/>
              <pc:sldLayoutMk cId="4047626317" sldId="2147483869"/>
              <ac:spMk id="2268" creationId="{8D38F2FF-BD77-E34A-B2CD-83991E334C81}"/>
            </ac:spMkLst>
          </pc:spChg>
          <pc:spChg chg="mod">
            <ac:chgData name="Arav Barot" userId="2aabccd7-f410-4c9c-8764-2e3ea0dd7040" providerId="ADAL" clId="{6545EF83-34ED-4EBF-8118-20E7C988DC66}" dt="2023-11-03T13:36:21.554" v="14714"/>
            <ac:spMkLst>
              <pc:docMk/>
              <pc:sldMasterMk cId="3187980257" sldId="2147483817"/>
              <pc:sldLayoutMk cId="4047626317" sldId="2147483869"/>
              <ac:spMk id="2271" creationId="{7A565EC4-9FCA-A44B-867C-5AD9A3A4F996}"/>
            </ac:spMkLst>
          </pc:spChg>
          <pc:spChg chg="mod">
            <ac:chgData name="Arav Barot" userId="2aabccd7-f410-4c9c-8764-2e3ea0dd7040" providerId="ADAL" clId="{6545EF83-34ED-4EBF-8118-20E7C988DC66}" dt="2023-11-03T13:36:21.554" v="14714"/>
            <ac:spMkLst>
              <pc:docMk/>
              <pc:sldMasterMk cId="3187980257" sldId="2147483817"/>
              <pc:sldLayoutMk cId="4047626317" sldId="2147483869"/>
              <ac:spMk id="2272" creationId="{3B95D8F5-F40B-834B-AF46-C7CB8538D525}"/>
            </ac:spMkLst>
          </pc:spChg>
          <pc:spChg chg="mod">
            <ac:chgData name="Arav Barot" userId="2aabccd7-f410-4c9c-8764-2e3ea0dd7040" providerId="ADAL" clId="{6545EF83-34ED-4EBF-8118-20E7C988DC66}" dt="2023-11-03T13:36:21.554" v="14714"/>
            <ac:spMkLst>
              <pc:docMk/>
              <pc:sldMasterMk cId="3187980257" sldId="2147483817"/>
              <pc:sldLayoutMk cId="4047626317" sldId="2147483869"/>
              <ac:spMk id="2273" creationId="{7800C0F4-2B07-5147-9A20-71F7C7205A1B}"/>
            </ac:spMkLst>
          </pc:spChg>
          <pc:spChg chg="mod">
            <ac:chgData name="Arav Barot" userId="2aabccd7-f410-4c9c-8764-2e3ea0dd7040" providerId="ADAL" clId="{6545EF83-34ED-4EBF-8118-20E7C988DC66}" dt="2023-11-03T13:36:21.554" v="14714"/>
            <ac:spMkLst>
              <pc:docMk/>
              <pc:sldMasterMk cId="3187980257" sldId="2147483817"/>
              <pc:sldLayoutMk cId="4047626317" sldId="2147483869"/>
              <ac:spMk id="2274" creationId="{AC28F0A0-D26D-AC40-9BDC-D79C654AF7C6}"/>
            </ac:spMkLst>
          </pc:spChg>
          <pc:picChg chg="mod">
            <ac:chgData name="Arav Barot" userId="2aabccd7-f410-4c9c-8764-2e3ea0dd7040" providerId="ADAL" clId="{6545EF83-34ED-4EBF-8118-20E7C988DC66}" dt="2023-11-03T13:36:21.554" v="14714"/>
            <ac:picMkLst>
              <pc:docMk/>
              <pc:sldMasterMk cId="3187980257" sldId="2147483817"/>
              <pc:sldLayoutMk cId="4047626317" sldId="2147483869"/>
              <ac:picMk id="2269" creationId="{AC34C28D-15DC-DA4A-A1EF-A65C3C182BC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218497478" sldId="2147483870"/>
          </pc:sldLayoutMkLst>
          <pc:spChg chg="mod">
            <ac:chgData name="Arav Barot" userId="2aabccd7-f410-4c9c-8764-2e3ea0dd7040" providerId="ADAL" clId="{6545EF83-34ED-4EBF-8118-20E7C988DC66}" dt="2023-11-03T13:36:21.554" v="14714"/>
            <ac:spMkLst>
              <pc:docMk/>
              <pc:sldMasterMk cId="3187980257" sldId="2147483817"/>
              <pc:sldLayoutMk cId="3218497478" sldId="2147483870"/>
              <ac:spMk id="12" creationId="{38AEB910-E851-4B43-856F-C950EABA142D}"/>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13" creationId="{02C48C39-9542-2F41-AD64-DE6E85719EE8}"/>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14" creationId="{42766D75-A739-AD49-A6BD-FE79D5F80656}"/>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15" creationId="{26E0D0C4-5FD4-0642-B295-C0224EA483C1}"/>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16" creationId="{2F5BDD0F-AFD4-C74B-8245-DADD56631763}"/>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17" creationId="{B6A74B7C-944B-E149-AFBB-1C6C19A2673F}"/>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18" creationId="{04D4EA48-19AC-F941-8F45-9607E6E49911}"/>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19" creationId="{B3BA5B1A-F833-9B49-825C-EAB2DC604D66}"/>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21" creationId="{D4C98653-57D1-964B-BFFE-024F1B6936BF}"/>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27" creationId="{5794586D-89E8-464D-8F45-F9364274378E}"/>
            </ac:spMkLst>
          </pc:spChg>
          <pc:spChg chg="mod">
            <ac:chgData name="Arav Barot" userId="2aabccd7-f410-4c9c-8764-2e3ea0dd7040" providerId="ADAL" clId="{6545EF83-34ED-4EBF-8118-20E7C988DC66}" dt="2023-11-03T13:36:21.554" v="14714"/>
            <ac:spMkLst>
              <pc:docMk/>
              <pc:sldMasterMk cId="3187980257" sldId="2147483817"/>
              <pc:sldLayoutMk cId="3218497478" sldId="2147483870"/>
              <ac:spMk id="29" creationId="{359DC7E0-4367-3F40-B197-0C1E085ED589}"/>
            </ac:spMkLst>
          </pc:spChg>
          <pc:picChg chg="mod">
            <ac:chgData name="Arav Barot" userId="2aabccd7-f410-4c9c-8764-2e3ea0dd7040" providerId="ADAL" clId="{6545EF83-34ED-4EBF-8118-20E7C988DC66}" dt="2023-11-03T13:36:21.554" v="14714"/>
            <ac:picMkLst>
              <pc:docMk/>
              <pc:sldMasterMk cId="3187980257" sldId="2147483817"/>
              <pc:sldLayoutMk cId="3218497478" sldId="2147483870"/>
              <ac:picMk id="20" creationId="{C0EFFF32-D4B3-064D-A4B4-116BB5BC8F3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030986960" sldId="2147483871"/>
          </pc:sldLayoutMkLst>
          <pc:spChg chg="mod">
            <ac:chgData name="Arav Barot" userId="2aabccd7-f410-4c9c-8764-2e3ea0dd7040" providerId="ADAL" clId="{6545EF83-34ED-4EBF-8118-20E7C988DC66}" dt="2023-11-03T13:36:21.554" v="14714"/>
            <ac:spMkLst>
              <pc:docMk/>
              <pc:sldMasterMk cId="3187980257" sldId="2147483817"/>
              <pc:sldLayoutMk cId="3030986960" sldId="2147483871"/>
              <ac:spMk id="3"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1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19"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1"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2"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3" creationId="{DE32AC4D-1322-7346-A456-B5F9D0B7975E}"/>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4"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6"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29"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3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31" creationId="{D98578FB-1B83-7749-A494-CCF5A31699C7}"/>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32" creationId="{31900D05-ECE8-F94F-8255-98CC29FBFED6}"/>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33" creationId="{390ECFE4-F8BA-4A47-B64A-ACDC132E7727}"/>
            </ac:spMkLst>
          </pc:spChg>
          <pc:spChg chg="mod">
            <ac:chgData name="Arav Barot" userId="2aabccd7-f410-4c9c-8764-2e3ea0dd7040" providerId="ADAL" clId="{6545EF83-34ED-4EBF-8118-20E7C988DC66}" dt="2023-11-03T13:36:21.554" v="14714"/>
            <ac:spMkLst>
              <pc:docMk/>
              <pc:sldMasterMk cId="3187980257" sldId="2147483817"/>
              <pc:sldLayoutMk cId="3030986960" sldId="2147483871"/>
              <ac:spMk id="37" creationId="{7A2D1DE3-5E41-4644-913D-9C8C4413A2AE}"/>
            </ac:spMkLst>
          </pc:spChg>
          <pc:picChg chg="mod">
            <ac:chgData name="Arav Barot" userId="2aabccd7-f410-4c9c-8764-2e3ea0dd7040" providerId="ADAL" clId="{6545EF83-34ED-4EBF-8118-20E7C988DC66}" dt="2023-11-03T13:36:21.554" v="14714"/>
            <ac:picMkLst>
              <pc:docMk/>
              <pc:sldMasterMk cId="3187980257" sldId="2147483817"/>
              <pc:sldLayoutMk cId="3030986960" sldId="2147483871"/>
              <ac:picMk id="36" creationId="{8905F514-D44F-054D-A262-0F304748BD2C}"/>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988745940" sldId="2147483872"/>
          </pc:sldLayoutMkLst>
          <pc:spChg chg="mod">
            <ac:chgData name="Arav Barot" userId="2aabccd7-f410-4c9c-8764-2e3ea0dd7040" providerId="ADAL" clId="{6545EF83-34ED-4EBF-8118-20E7C988DC66}" dt="2023-11-03T13:36:21.554" v="14714"/>
            <ac:spMkLst>
              <pc:docMk/>
              <pc:sldMasterMk cId="3187980257" sldId="2147483817"/>
              <pc:sldLayoutMk cId="1988745940" sldId="2147483872"/>
              <ac:spMk id="5"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988745940" sldId="2147483872"/>
              <ac:spMk id="8"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1988745940" sldId="2147483872"/>
              <ac:spMk id="11" creationId="{31FEAD03-F5D4-C040-983B-0F6CB3311B3D}"/>
            </ac:spMkLst>
          </pc:spChg>
          <pc:spChg chg="mod">
            <ac:chgData name="Arav Barot" userId="2aabccd7-f410-4c9c-8764-2e3ea0dd7040" providerId="ADAL" clId="{6545EF83-34ED-4EBF-8118-20E7C988DC66}" dt="2023-11-03T13:36:21.554" v="14714"/>
            <ac:spMkLst>
              <pc:docMk/>
              <pc:sldMasterMk cId="3187980257" sldId="2147483817"/>
              <pc:sldLayoutMk cId="1988745940" sldId="2147483872"/>
              <ac:spMk id="17" creationId="{5AFF4A4D-54F5-B148-AE6E-A74DD1D70EFF}"/>
            </ac:spMkLst>
          </pc:spChg>
          <pc:spChg chg="mod">
            <ac:chgData name="Arav Barot" userId="2aabccd7-f410-4c9c-8764-2e3ea0dd7040" providerId="ADAL" clId="{6545EF83-34ED-4EBF-8118-20E7C988DC66}" dt="2023-11-03T13:36:21.554" v="14714"/>
            <ac:spMkLst>
              <pc:docMk/>
              <pc:sldMasterMk cId="3187980257" sldId="2147483817"/>
              <pc:sldLayoutMk cId="1988745940" sldId="2147483872"/>
              <ac:spMk id="18" creationId="{00F6AA06-41FE-FF4B-BAC3-47727E194B86}"/>
            </ac:spMkLst>
          </pc:spChg>
          <pc:spChg chg="mod">
            <ac:chgData name="Arav Barot" userId="2aabccd7-f410-4c9c-8764-2e3ea0dd7040" providerId="ADAL" clId="{6545EF83-34ED-4EBF-8118-20E7C988DC66}" dt="2023-11-03T13:36:21.554" v="14714"/>
            <ac:spMkLst>
              <pc:docMk/>
              <pc:sldMasterMk cId="3187980257" sldId="2147483817"/>
              <pc:sldLayoutMk cId="1988745940" sldId="2147483872"/>
              <ac:spMk id="19" creationId="{0662FD1D-D9F2-994D-BF42-F8D9F84C70CE}"/>
            </ac:spMkLst>
          </pc:spChg>
          <pc:spChg chg="mod">
            <ac:chgData name="Arav Barot" userId="2aabccd7-f410-4c9c-8764-2e3ea0dd7040" providerId="ADAL" clId="{6545EF83-34ED-4EBF-8118-20E7C988DC66}" dt="2023-11-03T13:36:21.554" v="14714"/>
            <ac:spMkLst>
              <pc:docMk/>
              <pc:sldMasterMk cId="3187980257" sldId="2147483817"/>
              <pc:sldLayoutMk cId="1988745940" sldId="2147483872"/>
              <ac:spMk id="26" creationId="{FFC5A91F-EE4C-694F-B088-C59563FCEE3F}"/>
            </ac:spMkLst>
          </pc:spChg>
          <pc:picChg chg="mod">
            <ac:chgData name="Arav Barot" userId="2aabccd7-f410-4c9c-8764-2e3ea0dd7040" providerId="ADAL" clId="{6545EF83-34ED-4EBF-8118-20E7C988DC66}" dt="2023-11-03T13:36:21.554" v="14714"/>
            <ac:picMkLst>
              <pc:docMk/>
              <pc:sldMasterMk cId="3187980257" sldId="2147483817"/>
              <pc:sldLayoutMk cId="1988745940" sldId="2147483872"/>
              <ac:picMk id="16" creationId="{E9D52F2D-157E-4E49-822F-FCDA9B4DD100}"/>
            </ac:picMkLst>
          </pc:picChg>
          <pc:picChg chg="mod">
            <ac:chgData name="Arav Barot" userId="2aabccd7-f410-4c9c-8764-2e3ea0dd7040" providerId="ADAL" clId="{6545EF83-34ED-4EBF-8118-20E7C988DC66}" dt="2023-11-03T13:36:21.554" v="14714"/>
            <ac:picMkLst>
              <pc:docMk/>
              <pc:sldMasterMk cId="3187980257" sldId="2147483817"/>
              <pc:sldLayoutMk cId="1988745940" sldId="2147483872"/>
              <ac:picMk id="25" creationId="{5C43A76D-DBFC-124E-AFBD-A2804E9C2053}"/>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408824831" sldId="2147483873"/>
          </pc:sldLayoutMkLst>
          <pc:spChg chg="mod">
            <ac:chgData name="Arav Barot" userId="2aabccd7-f410-4c9c-8764-2e3ea0dd7040" providerId="ADAL" clId="{6545EF83-34ED-4EBF-8118-20E7C988DC66}" dt="2023-11-03T13:36:21.554" v="14714"/>
            <ac:spMkLst>
              <pc:docMk/>
              <pc:sldMasterMk cId="3187980257" sldId="2147483817"/>
              <pc:sldLayoutMk cId="3408824831" sldId="2147483873"/>
              <ac:spMk id="2" creationId="{8B2FC668-CB17-0443-B0CB-879A43EB2AC8}"/>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5" creationId="{C458A74E-8DC6-4248-95A5-7B49F95AAB00}"/>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6" creationId="{A5629E6E-9519-8644-87A0-DF831C2FB3EC}"/>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7" creationId="{6AE37B20-46A1-E246-99E4-94E15C5B8727}"/>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2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24" creationId="{8C2E3C36-F45D-3940-BF1E-D589AC988926}"/>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30" creationId="{A35144F1-1A1D-8C45-B58D-D68CDF0AE130}"/>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34" creationId="{A508ED61-1475-9549-9AC2-DE6A3761518A}"/>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35" creationId="{C8453F9E-A48F-3A47-B623-86B674A9C872}"/>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36" creationId="{8AB6E055-3BEE-C143-A5A9-C0747C59B64D}"/>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38" creationId="{07BD2D6A-0B22-412B-A69A-26BF76B21F86}"/>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39" creationId="{1749DC97-C29C-6F46-9491-142978EFBCA5}"/>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42" creationId="{A93CA1AF-41D3-F943-A040-8DD3EFD76579}"/>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43" creationId="{DD3A4977-DB91-6243-B41E-C41AC83B9415}"/>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47" creationId="{D111BA77-2647-FB42-A87E-C89EBD4ACC8B}"/>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48" creationId="{4DC2C600-F284-C34F-BD34-83A0A3383006}"/>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58" creationId="{E5B832A6-C242-7D48-A06E-D0943FD04A62}"/>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59" creationId="{98E312F7-CACE-A741-B384-2516A3915B0F}"/>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60" creationId="{9131DBE4-91BF-7C47-938F-1ACA1F36C902}"/>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61" creationId="{057AF479-A903-C14A-A31F-CCA84B03D3F4}"/>
            </ac:spMkLst>
          </pc:spChg>
          <pc:spChg chg="mod">
            <ac:chgData name="Arav Barot" userId="2aabccd7-f410-4c9c-8764-2e3ea0dd7040" providerId="ADAL" clId="{6545EF83-34ED-4EBF-8118-20E7C988DC66}" dt="2023-11-03T13:36:21.554" v="14714"/>
            <ac:spMkLst>
              <pc:docMk/>
              <pc:sldMasterMk cId="3187980257" sldId="2147483817"/>
              <pc:sldLayoutMk cId="3408824831" sldId="2147483873"/>
              <ac:spMk id="62" creationId="{392BFB2B-7823-764C-A48B-9E2092ED2CF8}"/>
            </ac:spMkLst>
          </pc:spChg>
          <pc:picChg chg="mod">
            <ac:chgData name="Arav Barot" userId="2aabccd7-f410-4c9c-8764-2e3ea0dd7040" providerId="ADAL" clId="{6545EF83-34ED-4EBF-8118-20E7C988DC66}" dt="2023-11-03T13:36:21.554" v="14714"/>
            <ac:picMkLst>
              <pc:docMk/>
              <pc:sldMasterMk cId="3187980257" sldId="2147483817"/>
              <pc:sldLayoutMk cId="3408824831" sldId="2147483873"/>
              <ac:picMk id="40" creationId="{DE449E4D-618E-754C-AFED-A484A03911E7}"/>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93773357" sldId="2147483874"/>
          </pc:sldLayoutMkLst>
          <pc:spChg chg="mod">
            <ac:chgData name="Arav Barot" userId="2aabccd7-f410-4c9c-8764-2e3ea0dd7040" providerId="ADAL" clId="{6545EF83-34ED-4EBF-8118-20E7C988DC66}" dt="2023-11-03T13:36:21.554" v="14714"/>
            <ac:spMkLst>
              <pc:docMk/>
              <pc:sldMasterMk cId="3187980257" sldId="2147483817"/>
              <pc:sldLayoutMk cId="93773357" sldId="2147483874"/>
              <ac:spMk id="2" creationId="{8B2FC668-CB17-0443-B0CB-879A43EB2AC8}"/>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5" creationId="{C458A74E-8DC6-4248-95A5-7B49F95AAB00}"/>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6" creationId="{A5629E6E-9519-8644-87A0-DF831C2FB3EC}"/>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7" creationId="{6AE37B20-46A1-E246-99E4-94E15C5B8727}"/>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19" creationId="{80E65E04-521E-B047-A6DA-653B411EFC55}"/>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2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24" creationId="{8C2E3C36-F45D-3940-BF1E-D589AC988926}"/>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30" creationId="{A35144F1-1A1D-8C45-B58D-D68CDF0AE130}"/>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34" creationId="{A508ED61-1475-9549-9AC2-DE6A3761518A}"/>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35" creationId="{C8453F9E-A48F-3A47-B623-86B674A9C872}"/>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36" creationId="{8AB6E055-3BEE-C143-A5A9-C0747C59B64D}"/>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37" creationId="{AE9CC3A1-589D-8B45-B1B3-63C21EFF948E}"/>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38" creationId="{07BD2D6A-0B22-412B-A69A-26BF76B21F86}"/>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39" creationId="{1749DC97-C29C-6F46-9491-142978EFBCA5}"/>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41" creationId="{C4A64578-E3FA-5742-8CC7-E11F777C8F5E}"/>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42" creationId="{A93CA1AF-41D3-F943-A040-8DD3EFD76579}"/>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43" creationId="{DD3A4977-DB91-6243-B41E-C41AC83B9415}"/>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47" creationId="{D111BA77-2647-FB42-A87E-C89EBD4ACC8B}"/>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48" creationId="{4DC2C600-F284-C34F-BD34-83A0A3383006}"/>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53" creationId="{BB94DFDB-D795-0B48-8E3D-05B7CD8204C4}"/>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54" creationId="{8392E237-D476-744A-BA09-148CA9569825}"/>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55" creationId="{230A38FD-4501-4542-AD61-D18E4EC61E46}"/>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56" creationId="{A6BF194F-EA57-CE47-8B02-205E06D1439A}"/>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58" creationId="{E5B832A6-C242-7D48-A06E-D0943FD04A62}"/>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59" creationId="{98E312F7-CACE-A741-B384-2516A3915B0F}"/>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60" creationId="{9131DBE4-91BF-7C47-938F-1ACA1F36C902}"/>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61" creationId="{057AF479-A903-C14A-A31F-CCA84B03D3F4}"/>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62" creationId="{392BFB2B-7823-764C-A48B-9E2092ED2CF8}"/>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70" creationId="{9655DF52-D435-4840-AC73-A557942380D4}"/>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71" creationId="{CDB0CDDC-289D-624A-AF1E-26C48CA2B3B6}"/>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72" creationId="{7793A527-18FE-5549-9561-D652A5680394}"/>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73" creationId="{5A715DC3-39E7-764C-99B9-F796A312477C}"/>
            </ac:spMkLst>
          </pc:spChg>
          <pc:spChg chg="mod">
            <ac:chgData name="Arav Barot" userId="2aabccd7-f410-4c9c-8764-2e3ea0dd7040" providerId="ADAL" clId="{6545EF83-34ED-4EBF-8118-20E7C988DC66}" dt="2023-11-03T13:36:21.554" v="14714"/>
            <ac:spMkLst>
              <pc:docMk/>
              <pc:sldMasterMk cId="3187980257" sldId="2147483817"/>
              <pc:sldLayoutMk cId="93773357" sldId="2147483874"/>
              <ac:spMk id="74" creationId="{256BAF67-B4A7-5740-9617-DBC6F1D938C0}"/>
            </ac:spMkLst>
          </pc:spChg>
          <pc:picChg chg="mod">
            <ac:chgData name="Arav Barot" userId="2aabccd7-f410-4c9c-8764-2e3ea0dd7040" providerId="ADAL" clId="{6545EF83-34ED-4EBF-8118-20E7C988DC66}" dt="2023-11-03T13:36:21.554" v="14714"/>
            <ac:picMkLst>
              <pc:docMk/>
              <pc:sldMasterMk cId="3187980257" sldId="2147483817"/>
              <pc:sldLayoutMk cId="93773357" sldId="2147483874"/>
              <ac:picMk id="40" creationId="{DE449E4D-618E-754C-AFED-A484A03911E7}"/>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143992622" sldId="2147483875"/>
          </pc:sldLayoutMkLst>
          <pc:spChg chg="mod">
            <ac:chgData name="Arav Barot" userId="2aabccd7-f410-4c9c-8764-2e3ea0dd7040" providerId="ADAL" clId="{6545EF83-34ED-4EBF-8118-20E7C988DC66}" dt="2023-11-03T13:36:21.554" v="14714"/>
            <ac:spMkLst>
              <pc:docMk/>
              <pc:sldMasterMk cId="3187980257" sldId="2147483817"/>
              <pc:sldLayoutMk cId="3143992622" sldId="2147483875"/>
              <ac:spMk id="2" creationId="{8B2FC668-CB17-0443-B0CB-879A43EB2AC8}"/>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5" creationId="{C458A74E-8DC6-4248-95A5-7B49F95AAB00}"/>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6" creationId="{A5629E6E-9519-8644-87A0-DF831C2FB3EC}"/>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7" creationId="{6AE37B20-46A1-E246-99E4-94E15C5B8727}"/>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19" creationId="{80E65E04-521E-B047-A6DA-653B411EFC55}"/>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20" creationId="{00000000-0000-0000-0000-000000000000}"/>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24" creationId="{8C2E3C36-F45D-3940-BF1E-D589AC988926}"/>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30" creationId="{A35144F1-1A1D-8C45-B58D-D68CDF0AE130}"/>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34" creationId="{A508ED61-1475-9549-9AC2-DE6A3761518A}"/>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35" creationId="{C8453F9E-A48F-3A47-B623-86B674A9C872}"/>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36" creationId="{8AB6E055-3BEE-C143-A5A9-C0747C59B64D}"/>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37" creationId="{AE9CC3A1-589D-8B45-B1B3-63C21EFF948E}"/>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38" creationId="{07BD2D6A-0B22-412B-A69A-26BF76B21F86}"/>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39" creationId="{1749DC97-C29C-6F46-9491-142978EFBCA5}"/>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42" creationId="{A93CA1AF-41D3-F943-A040-8DD3EFD76579}"/>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43" creationId="{DD3A4977-DB91-6243-B41E-C41AC83B9415}"/>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47" creationId="{D111BA77-2647-FB42-A87E-C89EBD4ACC8B}"/>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48" creationId="{4DC2C600-F284-C34F-BD34-83A0A3383006}"/>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53" creationId="{BB94DFDB-D795-0B48-8E3D-05B7CD8204C4}"/>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54" creationId="{8392E237-D476-744A-BA09-148CA9569825}"/>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55" creationId="{230A38FD-4501-4542-AD61-D18E4EC61E46}"/>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56" creationId="{A6BF194F-EA57-CE47-8B02-205E06D1439A}"/>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58" creationId="{E5B832A6-C242-7D48-A06E-D0943FD04A62}"/>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59" creationId="{98E312F7-CACE-A741-B384-2516A3915B0F}"/>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60" creationId="{9131DBE4-91BF-7C47-938F-1ACA1F36C902}"/>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61" creationId="{057AF479-A903-C14A-A31F-CCA84B03D3F4}"/>
            </ac:spMkLst>
          </pc:spChg>
          <pc:spChg chg="mod">
            <ac:chgData name="Arav Barot" userId="2aabccd7-f410-4c9c-8764-2e3ea0dd7040" providerId="ADAL" clId="{6545EF83-34ED-4EBF-8118-20E7C988DC66}" dt="2023-11-03T13:36:21.554" v="14714"/>
            <ac:spMkLst>
              <pc:docMk/>
              <pc:sldMasterMk cId="3187980257" sldId="2147483817"/>
              <pc:sldLayoutMk cId="3143992622" sldId="2147483875"/>
              <ac:spMk id="62" creationId="{392BFB2B-7823-764C-A48B-9E2092ED2CF8}"/>
            </ac:spMkLst>
          </pc:spChg>
          <pc:picChg chg="mod">
            <ac:chgData name="Arav Barot" userId="2aabccd7-f410-4c9c-8764-2e3ea0dd7040" providerId="ADAL" clId="{6545EF83-34ED-4EBF-8118-20E7C988DC66}" dt="2023-11-03T13:36:21.554" v="14714"/>
            <ac:picMkLst>
              <pc:docMk/>
              <pc:sldMasterMk cId="3187980257" sldId="2147483817"/>
              <pc:sldLayoutMk cId="3143992622" sldId="2147483875"/>
              <ac:picMk id="40" creationId="{DE449E4D-618E-754C-AFED-A484A03911E7}"/>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1789662386" sldId="2147483877"/>
          </pc:sldLayoutMkLst>
          <pc:spChg chg="mod">
            <ac:chgData name="Arav Barot" userId="2aabccd7-f410-4c9c-8764-2e3ea0dd7040" providerId="ADAL" clId="{6545EF83-34ED-4EBF-8118-20E7C988DC66}" dt="2023-11-03T13:36:21.554" v="14714"/>
            <ac:spMkLst>
              <pc:docMk/>
              <pc:sldMasterMk cId="3187980257" sldId="2147483817"/>
              <pc:sldLayoutMk cId="1789662386" sldId="2147483877"/>
              <ac:spMk id="11" creationId="{554BA24E-765A-754F-9CCA-9E7E106D275F}"/>
            </ac:spMkLst>
          </pc:spChg>
          <pc:spChg chg="mod">
            <ac:chgData name="Arav Barot" userId="2aabccd7-f410-4c9c-8764-2e3ea0dd7040" providerId="ADAL" clId="{6545EF83-34ED-4EBF-8118-20E7C988DC66}" dt="2023-11-03T13:36:21.554" v="14714"/>
            <ac:spMkLst>
              <pc:docMk/>
              <pc:sldMasterMk cId="3187980257" sldId="2147483817"/>
              <pc:sldLayoutMk cId="1789662386" sldId="2147483877"/>
              <ac:spMk id="12" creationId="{97ADEC40-1542-7447-AF01-55366C4C51E6}"/>
            </ac:spMkLst>
          </pc:spChg>
          <pc:spChg chg="mod">
            <ac:chgData name="Arav Barot" userId="2aabccd7-f410-4c9c-8764-2e3ea0dd7040" providerId="ADAL" clId="{6545EF83-34ED-4EBF-8118-20E7C988DC66}" dt="2023-11-03T13:36:21.554" v="14714"/>
            <ac:spMkLst>
              <pc:docMk/>
              <pc:sldMasterMk cId="3187980257" sldId="2147483817"/>
              <pc:sldLayoutMk cId="1789662386" sldId="2147483877"/>
              <ac:spMk id="1152" creationId="{32238EF1-CF8A-C547-A40F-2575ADDC153B}"/>
            </ac:spMkLst>
          </pc:spChg>
          <pc:spChg chg="mod">
            <ac:chgData name="Arav Barot" userId="2aabccd7-f410-4c9c-8764-2e3ea0dd7040" providerId="ADAL" clId="{6545EF83-34ED-4EBF-8118-20E7C988DC66}" dt="2023-11-03T13:36:21.554" v="14714"/>
            <ac:spMkLst>
              <pc:docMk/>
              <pc:sldMasterMk cId="3187980257" sldId="2147483817"/>
              <pc:sldLayoutMk cId="1789662386" sldId="2147483877"/>
              <ac:spMk id="1153" creationId="{8921AF50-68CC-1442-83D9-112EDDF42E0D}"/>
            </ac:spMkLst>
          </pc:spChg>
          <pc:spChg chg="mod">
            <ac:chgData name="Arav Barot" userId="2aabccd7-f410-4c9c-8764-2e3ea0dd7040" providerId="ADAL" clId="{6545EF83-34ED-4EBF-8118-20E7C988DC66}" dt="2023-11-03T13:36:21.554" v="14714"/>
            <ac:spMkLst>
              <pc:docMk/>
              <pc:sldMasterMk cId="3187980257" sldId="2147483817"/>
              <pc:sldLayoutMk cId="1789662386" sldId="2147483877"/>
              <ac:spMk id="2268" creationId="{8D38F2FF-BD77-E34A-B2CD-83991E334C81}"/>
            </ac:spMkLst>
          </pc:spChg>
          <pc:spChg chg="mod">
            <ac:chgData name="Arav Barot" userId="2aabccd7-f410-4c9c-8764-2e3ea0dd7040" providerId="ADAL" clId="{6545EF83-34ED-4EBF-8118-20E7C988DC66}" dt="2023-11-03T13:36:21.554" v="14714"/>
            <ac:spMkLst>
              <pc:docMk/>
              <pc:sldMasterMk cId="3187980257" sldId="2147483817"/>
              <pc:sldLayoutMk cId="1789662386" sldId="2147483877"/>
              <ac:spMk id="2271" creationId="{7A565EC4-9FCA-A44B-867C-5AD9A3A4F996}"/>
            </ac:spMkLst>
          </pc:spChg>
          <pc:spChg chg="mod">
            <ac:chgData name="Arav Barot" userId="2aabccd7-f410-4c9c-8764-2e3ea0dd7040" providerId="ADAL" clId="{6545EF83-34ED-4EBF-8118-20E7C988DC66}" dt="2023-11-03T13:36:21.554" v="14714"/>
            <ac:spMkLst>
              <pc:docMk/>
              <pc:sldMasterMk cId="3187980257" sldId="2147483817"/>
              <pc:sldLayoutMk cId="1789662386" sldId="2147483877"/>
              <ac:spMk id="2272" creationId="{3B95D8F5-F40B-834B-AF46-C7CB8538D525}"/>
            </ac:spMkLst>
          </pc:spChg>
          <pc:spChg chg="mod">
            <ac:chgData name="Arav Barot" userId="2aabccd7-f410-4c9c-8764-2e3ea0dd7040" providerId="ADAL" clId="{6545EF83-34ED-4EBF-8118-20E7C988DC66}" dt="2023-11-03T13:36:21.554" v="14714"/>
            <ac:spMkLst>
              <pc:docMk/>
              <pc:sldMasterMk cId="3187980257" sldId="2147483817"/>
              <pc:sldLayoutMk cId="1789662386" sldId="2147483877"/>
              <ac:spMk id="2273" creationId="{7800C0F4-2B07-5147-9A20-71F7C7205A1B}"/>
            </ac:spMkLst>
          </pc:spChg>
          <pc:picChg chg="mod">
            <ac:chgData name="Arav Barot" userId="2aabccd7-f410-4c9c-8764-2e3ea0dd7040" providerId="ADAL" clId="{6545EF83-34ED-4EBF-8118-20E7C988DC66}" dt="2023-11-03T13:36:21.554" v="14714"/>
            <ac:picMkLst>
              <pc:docMk/>
              <pc:sldMasterMk cId="3187980257" sldId="2147483817"/>
              <pc:sldLayoutMk cId="1789662386" sldId="2147483877"/>
              <ac:picMk id="2269" creationId="{AC34C28D-15DC-DA4A-A1EF-A65C3C182BCE}"/>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710943736" sldId="2147483887"/>
          </pc:sldLayoutMkLst>
          <pc:spChg chg="mod">
            <ac:chgData name="Arav Barot" userId="2aabccd7-f410-4c9c-8764-2e3ea0dd7040" providerId="ADAL" clId="{6545EF83-34ED-4EBF-8118-20E7C988DC66}" dt="2023-11-03T13:36:21.554" v="14714"/>
            <ac:spMkLst>
              <pc:docMk/>
              <pc:sldMasterMk cId="3187980257" sldId="2147483817"/>
              <pc:sldLayoutMk cId="3710943736" sldId="2147483887"/>
              <ac:spMk id="2" creationId="{CE266FC2-DA4A-18F7-CB92-A839B3126E29}"/>
            </ac:spMkLst>
          </pc:spChg>
          <pc:spChg chg="mod">
            <ac:chgData name="Arav Barot" userId="2aabccd7-f410-4c9c-8764-2e3ea0dd7040" providerId="ADAL" clId="{6545EF83-34ED-4EBF-8118-20E7C988DC66}" dt="2023-11-03T13:36:21.554" v="14714"/>
            <ac:spMkLst>
              <pc:docMk/>
              <pc:sldMasterMk cId="3187980257" sldId="2147483817"/>
              <pc:sldLayoutMk cId="3710943736" sldId="2147483887"/>
              <ac:spMk id="8" creationId="{1F43BCD3-8FDE-0FC0-BCCC-48578B55031A}"/>
            </ac:spMkLst>
          </pc:spChg>
          <pc:graphicFrameChg chg="mod">
            <ac:chgData name="Arav Barot" userId="2aabccd7-f410-4c9c-8764-2e3ea0dd7040" providerId="ADAL" clId="{6545EF83-34ED-4EBF-8118-20E7C988DC66}" dt="2023-11-03T13:36:21.554" v="14714"/>
            <ac:graphicFrameMkLst>
              <pc:docMk/>
              <pc:sldMasterMk cId="3187980257" sldId="2147483817"/>
              <pc:sldLayoutMk cId="3710943736" sldId="2147483887"/>
              <ac:graphicFrameMk id="4" creationId="{F8D8155A-19CC-4C85-89F8-A55168F76CEA}"/>
            </ac:graphicFrameMkLst>
          </pc:graphicFrameChg>
          <pc:picChg chg="mod">
            <ac:chgData name="Arav Barot" userId="2aabccd7-f410-4c9c-8764-2e3ea0dd7040" providerId="ADAL" clId="{6545EF83-34ED-4EBF-8118-20E7C988DC66}" dt="2023-11-03T13:36:21.554" v="14714"/>
            <ac:picMkLst>
              <pc:docMk/>
              <pc:sldMasterMk cId="3187980257" sldId="2147483817"/>
              <pc:sldLayoutMk cId="3710943736" sldId="2147483887"/>
              <ac:picMk id="20" creationId="{4F0A64D2-4697-0A40-9A6B-8DD8A78004C3}"/>
            </ac:picMkLst>
          </pc:picChg>
        </pc:sldLayoutChg>
        <pc:sldLayoutChg chg="modSp setBg">
          <pc:chgData name="Arav Barot" userId="2aabccd7-f410-4c9c-8764-2e3ea0dd7040" providerId="ADAL" clId="{6545EF83-34ED-4EBF-8118-20E7C988DC66}" dt="2023-11-03T13:36:21.554" v="14714"/>
          <pc:sldLayoutMkLst>
            <pc:docMk/>
            <pc:sldMasterMk cId="3187980257" sldId="2147483817"/>
            <pc:sldLayoutMk cId="3904107827" sldId="2147483893"/>
          </pc:sldLayoutMkLst>
          <pc:spChg chg="mod">
            <ac:chgData name="Arav Barot" userId="2aabccd7-f410-4c9c-8764-2e3ea0dd7040" providerId="ADAL" clId="{6545EF83-34ED-4EBF-8118-20E7C988DC66}" dt="2023-11-03T13:36:21.554" v="14714"/>
            <ac:spMkLst>
              <pc:docMk/>
              <pc:sldMasterMk cId="3187980257" sldId="2147483817"/>
              <pc:sldLayoutMk cId="3904107827" sldId="2147483893"/>
              <ac:spMk id="13" creationId="{F0E63713-9BD6-4E4D-8D90-58DFB7F5AB4C}"/>
            </ac:spMkLst>
          </pc:spChg>
          <pc:spChg chg="mod">
            <ac:chgData name="Arav Barot" userId="2aabccd7-f410-4c9c-8764-2e3ea0dd7040" providerId="ADAL" clId="{6545EF83-34ED-4EBF-8118-20E7C988DC66}" dt="2023-11-03T13:36:21.554" v="14714"/>
            <ac:spMkLst>
              <pc:docMk/>
              <pc:sldMasterMk cId="3187980257" sldId="2147483817"/>
              <pc:sldLayoutMk cId="3904107827" sldId="2147483893"/>
              <ac:spMk id="14" creationId="{E2899900-BB4E-4557-932C-CBA908AE54B0}"/>
            </ac:spMkLst>
          </pc:spChg>
          <pc:spChg chg="mod">
            <ac:chgData name="Arav Barot" userId="2aabccd7-f410-4c9c-8764-2e3ea0dd7040" providerId="ADAL" clId="{6545EF83-34ED-4EBF-8118-20E7C988DC66}" dt="2023-11-03T13:36:21.554" v="14714"/>
            <ac:spMkLst>
              <pc:docMk/>
              <pc:sldMasterMk cId="3187980257" sldId="2147483817"/>
              <pc:sldLayoutMk cId="3904107827" sldId="2147483893"/>
              <ac:spMk id="16" creationId="{A7493F1C-EC4A-7D45-8D08-9CD8AD5C18F4}"/>
            </ac:spMkLst>
          </pc:spChg>
          <pc:graphicFrameChg chg="mod">
            <ac:chgData name="Arav Barot" userId="2aabccd7-f410-4c9c-8764-2e3ea0dd7040" providerId="ADAL" clId="{6545EF83-34ED-4EBF-8118-20E7C988DC66}" dt="2023-11-03T13:36:21.554" v="14714"/>
            <ac:graphicFrameMkLst>
              <pc:docMk/>
              <pc:sldMasterMk cId="3187980257" sldId="2147483817"/>
              <pc:sldLayoutMk cId="3904107827" sldId="2147483893"/>
              <ac:graphicFrameMk id="3" creationId="{6E7783A7-C43E-4010-ABB7-6B203A63DAFE}"/>
            </ac:graphicFrameMkLst>
          </pc:graphicFrameChg>
        </pc:sldLayoutChg>
      </pc:sldMasterChg>
    </pc:docChg>
  </pc:docChgLst>
  <pc:docChgLst>
    <pc:chgData name="Arav Barot" userId="2aabccd7-f410-4c9c-8764-2e3ea0dd7040" providerId="ADAL" clId="{9D6D74FF-3A58-4A94-AF76-3F465962CF79}"/>
    <pc:docChg chg="undo redo custSel addSld delSld modSld">
      <pc:chgData name="Arav Barot" userId="2aabccd7-f410-4c9c-8764-2e3ea0dd7040" providerId="ADAL" clId="{9D6D74FF-3A58-4A94-AF76-3F465962CF79}" dt="2023-08-18T08:35:51.309" v="1746" actId="478"/>
      <pc:docMkLst>
        <pc:docMk/>
      </pc:docMkLst>
      <pc:sldChg chg="modSp mod">
        <pc:chgData name="Arav Barot" userId="2aabccd7-f410-4c9c-8764-2e3ea0dd7040" providerId="ADAL" clId="{9D6D74FF-3A58-4A94-AF76-3F465962CF79}" dt="2023-08-01T13:37:41.026" v="0"/>
        <pc:sldMkLst>
          <pc:docMk/>
          <pc:sldMk cId="309941126" sldId="1283"/>
        </pc:sldMkLst>
        <pc:spChg chg="mod">
          <ac:chgData name="Arav Barot" userId="2aabccd7-f410-4c9c-8764-2e3ea0dd7040" providerId="ADAL" clId="{9D6D74FF-3A58-4A94-AF76-3F465962CF79}" dt="2023-08-01T13:37:41.026" v="0"/>
          <ac:spMkLst>
            <pc:docMk/>
            <pc:sldMk cId="309941126" sldId="1283"/>
            <ac:spMk id="2" creationId="{768C512F-03F8-B14D-9876-DC81C85B54D4}"/>
          </ac:spMkLst>
        </pc:spChg>
      </pc:sldChg>
      <pc:sldChg chg="del">
        <pc:chgData name="Arav Barot" userId="2aabccd7-f410-4c9c-8764-2e3ea0dd7040" providerId="ADAL" clId="{9D6D74FF-3A58-4A94-AF76-3F465962CF79}" dt="2023-08-01T13:37:50.170" v="1" actId="2696"/>
        <pc:sldMkLst>
          <pc:docMk/>
          <pc:sldMk cId="992325156" sldId="2147473122"/>
        </pc:sldMkLst>
      </pc:sldChg>
      <pc:sldChg chg="addSp delSp modSp mod">
        <pc:chgData name="Arav Barot" userId="2aabccd7-f410-4c9c-8764-2e3ea0dd7040" providerId="ADAL" clId="{9D6D74FF-3A58-4A94-AF76-3F465962CF79}" dt="2023-08-01T13:40:22.691" v="35" actId="404"/>
        <pc:sldMkLst>
          <pc:docMk/>
          <pc:sldMk cId="4195788555" sldId="2147473123"/>
        </pc:sldMkLst>
        <pc:spChg chg="mod">
          <ac:chgData name="Arav Barot" userId="2aabccd7-f410-4c9c-8764-2e3ea0dd7040" providerId="ADAL" clId="{9D6D74FF-3A58-4A94-AF76-3F465962CF79}" dt="2023-08-01T13:38:01.077" v="2"/>
          <ac:spMkLst>
            <pc:docMk/>
            <pc:sldMk cId="4195788555" sldId="2147473123"/>
            <ac:spMk id="3" creationId="{232CEC22-DC66-D83A-45B4-458CFF9FF2C2}"/>
          </ac:spMkLst>
        </pc:spChg>
        <pc:spChg chg="del">
          <ac:chgData name="Arav Barot" userId="2aabccd7-f410-4c9c-8764-2e3ea0dd7040" providerId="ADAL" clId="{9D6D74FF-3A58-4A94-AF76-3F465962CF79}" dt="2023-08-01T13:38:22.555" v="8" actId="478"/>
          <ac:spMkLst>
            <pc:docMk/>
            <pc:sldMk cId="4195788555" sldId="2147473123"/>
            <ac:spMk id="8" creationId="{05917BE1-96CA-C8AE-4E60-52686CE2CAB5}"/>
          </ac:spMkLst>
        </pc:spChg>
        <pc:spChg chg="del">
          <ac:chgData name="Arav Barot" userId="2aabccd7-f410-4c9c-8764-2e3ea0dd7040" providerId="ADAL" clId="{9D6D74FF-3A58-4A94-AF76-3F465962CF79}" dt="2023-08-01T13:38:16.298" v="6" actId="478"/>
          <ac:spMkLst>
            <pc:docMk/>
            <pc:sldMk cId="4195788555" sldId="2147473123"/>
            <ac:spMk id="9" creationId="{A9AB9B0D-DE3A-9608-FC34-1A8161B6A948}"/>
          </ac:spMkLst>
        </pc:spChg>
        <pc:spChg chg="add mod">
          <ac:chgData name="Arav Barot" userId="2aabccd7-f410-4c9c-8764-2e3ea0dd7040" providerId="ADAL" clId="{9D6D74FF-3A58-4A94-AF76-3F465962CF79}" dt="2023-08-01T13:40:22.691" v="35" actId="404"/>
          <ac:spMkLst>
            <pc:docMk/>
            <pc:sldMk cId="4195788555" sldId="2147473123"/>
            <ac:spMk id="11" creationId="{DB9761BA-E681-499F-A65B-301305DEDE07}"/>
          </ac:spMkLst>
        </pc:spChg>
        <pc:graphicFrameChg chg="del">
          <ac:chgData name="Arav Barot" userId="2aabccd7-f410-4c9c-8764-2e3ea0dd7040" providerId="ADAL" clId="{9D6D74FF-3A58-4A94-AF76-3F465962CF79}" dt="2023-08-01T13:38:04.076" v="3" actId="478"/>
          <ac:graphicFrameMkLst>
            <pc:docMk/>
            <pc:sldMk cId="4195788555" sldId="2147473123"/>
            <ac:graphicFrameMk id="7" creationId="{8DEF8F46-25A5-3622-A6E7-06F3F79C6CFF}"/>
          </ac:graphicFrameMkLst>
        </pc:graphicFrameChg>
        <pc:picChg chg="add mod">
          <ac:chgData name="Arav Barot" userId="2aabccd7-f410-4c9c-8764-2e3ea0dd7040" providerId="ADAL" clId="{9D6D74FF-3A58-4A94-AF76-3F465962CF79}" dt="2023-08-01T13:38:38.624" v="12" actId="1076"/>
          <ac:picMkLst>
            <pc:docMk/>
            <pc:sldMk cId="4195788555" sldId="2147473123"/>
            <ac:picMk id="12" creationId="{46FA86A7-AE8E-1191-C24A-CEACD4B27421}"/>
          </ac:picMkLst>
        </pc:picChg>
      </pc:sldChg>
      <pc:sldChg chg="addSp modSp new mod">
        <pc:chgData name="Arav Barot" userId="2aabccd7-f410-4c9c-8764-2e3ea0dd7040" providerId="ADAL" clId="{9D6D74FF-3A58-4A94-AF76-3F465962CF79}" dt="2023-08-01T13:40:13.451" v="33" actId="403"/>
        <pc:sldMkLst>
          <pc:docMk/>
          <pc:sldMk cId="3337052778" sldId="2147473124"/>
        </pc:sldMkLst>
        <pc:spChg chg="mod">
          <ac:chgData name="Arav Barot" userId="2aabccd7-f410-4c9c-8764-2e3ea0dd7040" providerId="ADAL" clId="{9D6D74FF-3A58-4A94-AF76-3F465962CF79}" dt="2023-08-01T13:38:49.402" v="14"/>
          <ac:spMkLst>
            <pc:docMk/>
            <pc:sldMk cId="3337052778" sldId="2147473124"/>
            <ac:spMk id="3" creationId="{D81C8E1C-5BBA-9848-8B2D-0D628AB232E9}"/>
          </ac:spMkLst>
        </pc:spChg>
        <pc:spChg chg="add mod">
          <ac:chgData name="Arav Barot" userId="2aabccd7-f410-4c9c-8764-2e3ea0dd7040" providerId="ADAL" clId="{9D6D74FF-3A58-4A94-AF76-3F465962CF79}" dt="2023-08-01T13:40:13.451" v="33" actId="403"/>
          <ac:spMkLst>
            <pc:docMk/>
            <pc:sldMk cId="3337052778" sldId="2147473124"/>
            <ac:spMk id="9" creationId="{FD22DB8B-D0F3-6EAC-E4B1-9F1199AA5760}"/>
          </ac:spMkLst>
        </pc:spChg>
        <pc:picChg chg="add mod">
          <ac:chgData name="Arav Barot" userId="2aabccd7-f410-4c9c-8764-2e3ea0dd7040" providerId="ADAL" clId="{9D6D74FF-3A58-4A94-AF76-3F465962CF79}" dt="2023-08-01T13:39:14.178" v="19" actId="1076"/>
          <ac:picMkLst>
            <pc:docMk/>
            <pc:sldMk cId="3337052778" sldId="2147473124"/>
            <ac:picMk id="7" creationId="{AE898A3B-99E7-16DB-DEAC-DF5D2C6D7A35}"/>
          </ac:picMkLst>
        </pc:picChg>
        <pc:picChg chg="add mod">
          <ac:chgData name="Arav Barot" userId="2aabccd7-f410-4c9c-8764-2e3ea0dd7040" providerId="ADAL" clId="{9D6D74FF-3A58-4A94-AF76-3F465962CF79}" dt="2023-08-01T13:39:26.568" v="23" actId="14100"/>
          <ac:picMkLst>
            <pc:docMk/>
            <pc:sldMk cId="3337052778" sldId="2147473124"/>
            <ac:picMk id="8" creationId="{A4AD6410-7715-91A2-E777-B656DE5BA252}"/>
          </ac:picMkLst>
        </pc:picChg>
      </pc:sldChg>
      <pc:sldChg chg="addSp modSp new mod">
        <pc:chgData name="Arav Barot" userId="2aabccd7-f410-4c9c-8764-2e3ea0dd7040" providerId="ADAL" clId="{9D6D74FF-3A58-4A94-AF76-3F465962CF79}" dt="2023-08-01T14:07:16.672" v="1145" actId="20577"/>
        <pc:sldMkLst>
          <pc:docMk/>
          <pc:sldMk cId="2411864418" sldId="2147473125"/>
        </pc:sldMkLst>
        <pc:spChg chg="mod">
          <ac:chgData name="Arav Barot" userId="2aabccd7-f410-4c9c-8764-2e3ea0dd7040" providerId="ADAL" clId="{9D6D74FF-3A58-4A94-AF76-3F465962CF79}" dt="2023-08-01T13:40:40.162" v="61" actId="20577"/>
          <ac:spMkLst>
            <pc:docMk/>
            <pc:sldMk cId="2411864418" sldId="2147473125"/>
            <ac:spMk id="3" creationId="{8F8008F4-4D0A-6F7A-9307-AC9C6C923268}"/>
          </ac:spMkLst>
        </pc:spChg>
        <pc:spChg chg="add mod">
          <ac:chgData name="Arav Barot" userId="2aabccd7-f410-4c9c-8764-2e3ea0dd7040" providerId="ADAL" clId="{9D6D74FF-3A58-4A94-AF76-3F465962CF79}" dt="2023-08-01T13:58:45.739" v="491" actId="20577"/>
          <ac:spMkLst>
            <pc:docMk/>
            <pc:sldMk cId="2411864418" sldId="2147473125"/>
            <ac:spMk id="7" creationId="{3C646A8B-4516-4678-8FFA-F798C0F29657}"/>
          </ac:spMkLst>
        </pc:spChg>
        <pc:spChg chg="add mod">
          <ac:chgData name="Arav Barot" userId="2aabccd7-f410-4c9c-8764-2e3ea0dd7040" providerId="ADAL" clId="{9D6D74FF-3A58-4A94-AF76-3F465962CF79}" dt="2023-08-01T14:07:16.672" v="1145" actId="20577"/>
          <ac:spMkLst>
            <pc:docMk/>
            <pc:sldMk cId="2411864418" sldId="2147473125"/>
            <ac:spMk id="8" creationId="{4168028B-4712-A018-2010-13643157A8DE}"/>
          </ac:spMkLst>
        </pc:spChg>
      </pc:sldChg>
      <pc:sldChg chg="addSp delSp modSp new mod">
        <pc:chgData name="Arav Barot" userId="2aabccd7-f410-4c9c-8764-2e3ea0dd7040" providerId="ADAL" clId="{9D6D74FF-3A58-4A94-AF76-3F465962CF79}" dt="2023-08-18T08:04:56.626" v="1701" actId="1076"/>
        <pc:sldMkLst>
          <pc:docMk/>
          <pc:sldMk cId="3137227597" sldId="2147473126"/>
        </pc:sldMkLst>
        <pc:spChg chg="del">
          <ac:chgData name="Arav Barot" userId="2aabccd7-f410-4c9c-8764-2e3ea0dd7040" providerId="ADAL" clId="{9D6D74FF-3A58-4A94-AF76-3F465962CF79}" dt="2023-08-18T07:04:33.211" v="1179" actId="478"/>
          <ac:spMkLst>
            <pc:docMk/>
            <pc:sldMk cId="3137227597" sldId="2147473126"/>
            <ac:spMk id="2" creationId="{4F00AC5C-1032-7860-0494-B153384AAD42}"/>
          </ac:spMkLst>
        </pc:spChg>
        <pc:spChg chg="mod">
          <ac:chgData name="Arav Barot" userId="2aabccd7-f410-4c9c-8764-2e3ea0dd7040" providerId="ADAL" clId="{9D6D74FF-3A58-4A94-AF76-3F465962CF79}" dt="2023-08-18T07:04:28.210" v="1178" actId="20577"/>
          <ac:spMkLst>
            <pc:docMk/>
            <pc:sldMk cId="3137227597" sldId="2147473126"/>
            <ac:spMk id="3" creationId="{C3668449-7BEC-12D2-181A-4FE63CEADA2C}"/>
          </ac:spMkLst>
        </pc:spChg>
        <pc:spChg chg="add mod">
          <ac:chgData name="Arav Barot" userId="2aabccd7-f410-4c9c-8764-2e3ea0dd7040" providerId="ADAL" clId="{9D6D74FF-3A58-4A94-AF76-3F465962CF79}" dt="2023-08-18T07:07:04.779" v="1392" actId="20577"/>
          <ac:spMkLst>
            <pc:docMk/>
            <pc:sldMk cId="3137227597" sldId="2147473126"/>
            <ac:spMk id="7" creationId="{7F8765DF-EC2B-629A-2427-A7C50C9FF11E}"/>
          </ac:spMkLst>
        </pc:spChg>
        <pc:spChg chg="add mod">
          <ac:chgData name="Arav Barot" userId="2aabccd7-f410-4c9c-8764-2e3ea0dd7040" providerId="ADAL" clId="{9D6D74FF-3A58-4A94-AF76-3F465962CF79}" dt="2023-08-18T07:21:37.495" v="1452" actId="1076"/>
          <ac:spMkLst>
            <pc:docMk/>
            <pc:sldMk cId="3137227597" sldId="2147473126"/>
            <ac:spMk id="12" creationId="{9D3311CA-4C67-DA0E-17F1-A7B4A817103F}"/>
          </ac:spMkLst>
        </pc:spChg>
        <pc:graphicFrameChg chg="add mod modGraphic">
          <ac:chgData name="Arav Barot" userId="2aabccd7-f410-4c9c-8764-2e3ea0dd7040" providerId="ADAL" clId="{9D6D74FF-3A58-4A94-AF76-3F465962CF79}" dt="2023-08-18T07:39:28.319" v="1628" actId="1076"/>
          <ac:graphicFrameMkLst>
            <pc:docMk/>
            <pc:sldMk cId="3137227597" sldId="2147473126"/>
            <ac:graphicFrameMk id="13" creationId="{D1CE51E1-B310-8F72-70D3-BF6EA928645A}"/>
          </ac:graphicFrameMkLst>
        </pc:graphicFrameChg>
        <pc:picChg chg="add mod">
          <ac:chgData name="Arav Barot" userId="2aabccd7-f410-4c9c-8764-2e3ea0dd7040" providerId="ADAL" clId="{9D6D74FF-3A58-4A94-AF76-3F465962CF79}" dt="2023-08-18T07:20:09.894" v="1395" actId="1076"/>
          <ac:picMkLst>
            <pc:docMk/>
            <pc:sldMk cId="3137227597" sldId="2147473126"/>
            <ac:picMk id="9" creationId="{A6374EE8-A71D-C2A2-D2DA-EBDF8280C0BB}"/>
          </ac:picMkLst>
        </pc:picChg>
        <pc:picChg chg="add del">
          <ac:chgData name="Arav Barot" userId="2aabccd7-f410-4c9c-8764-2e3ea0dd7040" providerId="ADAL" clId="{9D6D74FF-3A58-4A94-AF76-3F465962CF79}" dt="2023-08-18T07:20:22.724" v="1397" actId="22"/>
          <ac:picMkLst>
            <pc:docMk/>
            <pc:sldMk cId="3137227597" sldId="2147473126"/>
            <ac:picMk id="11" creationId="{5942A8BF-A406-A3BC-CAAA-718CFCCA03C1}"/>
          </ac:picMkLst>
        </pc:picChg>
        <pc:picChg chg="add mod">
          <ac:chgData name="Arav Barot" userId="2aabccd7-f410-4c9c-8764-2e3ea0dd7040" providerId="ADAL" clId="{9D6D74FF-3A58-4A94-AF76-3F465962CF79}" dt="2023-08-18T08:04:56.626" v="1701" actId="1076"/>
          <ac:picMkLst>
            <pc:docMk/>
            <pc:sldMk cId="3137227597" sldId="2147473126"/>
            <ac:picMk id="15" creationId="{18E6F2C2-2271-FA59-8207-5A8504BA616A}"/>
          </ac:picMkLst>
        </pc:picChg>
      </pc:sldChg>
      <pc:sldChg chg="addSp modSp new mod">
        <pc:chgData name="Arav Barot" userId="2aabccd7-f410-4c9c-8764-2e3ea0dd7040" providerId="ADAL" clId="{9D6D74FF-3A58-4A94-AF76-3F465962CF79}" dt="2023-08-18T07:58:21.470" v="1697" actId="20577"/>
        <pc:sldMkLst>
          <pc:docMk/>
          <pc:sldMk cId="832467667" sldId="2147473127"/>
        </pc:sldMkLst>
        <pc:spChg chg="mod">
          <ac:chgData name="Arav Barot" userId="2aabccd7-f410-4c9c-8764-2e3ea0dd7040" providerId="ADAL" clId="{9D6D74FF-3A58-4A94-AF76-3F465962CF79}" dt="2023-08-18T07:29:28.075" v="1499" actId="20577"/>
          <ac:spMkLst>
            <pc:docMk/>
            <pc:sldMk cId="832467667" sldId="2147473127"/>
            <ac:spMk id="3" creationId="{7446B745-1CDD-83B3-5357-968F9E2471C2}"/>
          </ac:spMkLst>
        </pc:spChg>
        <pc:spChg chg="add mod">
          <ac:chgData name="Arav Barot" userId="2aabccd7-f410-4c9c-8764-2e3ea0dd7040" providerId="ADAL" clId="{9D6D74FF-3A58-4A94-AF76-3F465962CF79}" dt="2023-08-18T07:30:41.434" v="1544" actId="20577"/>
          <ac:spMkLst>
            <pc:docMk/>
            <pc:sldMk cId="832467667" sldId="2147473127"/>
            <ac:spMk id="9" creationId="{65632490-B3D6-44F1-DD78-85DEBE5BA44D}"/>
          </ac:spMkLst>
        </pc:spChg>
        <pc:graphicFrameChg chg="add mod modGraphic">
          <ac:chgData name="Arav Barot" userId="2aabccd7-f410-4c9c-8764-2e3ea0dd7040" providerId="ADAL" clId="{9D6D74FF-3A58-4A94-AF76-3F465962CF79}" dt="2023-08-18T07:58:21.470" v="1697" actId="20577"/>
          <ac:graphicFrameMkLst>
            <pc:docMk/>
            <pc:sldMk cId="832467667" sldId="2147473127"/>
            <ac:graphicFrameMk id="10" creationId="{F459669C-4F00-8C5F-9345-9A47093C0171}"/>
          </ac:graphicFrameMkLst>
        </pc:graphicFrameChg>
        <pc:picChg chg="add mod">
          <ac:chgData name="Arav Barot" userId="2aabccd7-f410-4c9c-8764-2e3ea0dd7040" providerId="ADAL" clId="{9D6D74FF-3A58-4A94-AF76-3F465962CF79}" dt="2023-08-18T07:30:20.347" v="1503" actId="1076"/>
          <ac:picMkLst>
            <pc:docMk/>
            <pc:sldMk cId="832467667" sldId="2147473127"/>
            <ac:picMk id="8" creationId="{157C6932-0DCF-2773-C386-35D0ECE0D390}"/>
          </ac:picMkLst>
        </pc:picChg>
      </pc:sldChg>
      <pc:sldChg chg="new">
        <pc:chgData name="Arav Barot" userId="2aabccd7-f410-4c9c-8764-2e3ea0dd7040" providerId="ADAL" clId="{9D6D74FF-3A58-4A94-AF76-3F465962CF79}" dt="2023-08-18T07:59:06.727" v="1698" actId="680"/>
        <pc:sldMkLst>
          <pc:docMk/>
          <pc:sldMk cId="4156763662" sldId="2147473128"/>
        </pc:sldMkLst>
      </pc:sldChg>
      <pc:sldChg chg="addSp delSp modSp new mod">
        <pc:chgData name="Arav Barot" userId="2aabccd7-f410-4c9c-8764-2e3ea0dd7040" providerId="ADAL" clId="{9D6D74FF-3A58-4A94-AF76-3F465962CF79}" dt="2023-08-18T08:35:51.309" v="1746" actId="478"/>
        <pc:sldMkLst>
          <pc:docMk/>
          <pc:sldMk cId="782564862" sldId="2147473129"/>
        </pc:sldMkLst>
        <pc:spChg chg="mod">
          <ac:chgData name="Arav Barot" userId="2aabccd7-f410-4c9c-8764-2e3ea0dd7040" providerId="ADAL" clId="{9D6D74FF-3A58-4A94-AF76-3F465962CF79}" dt="2023-08-18T08:26:10.963" v="1736" actId="20577"/>
          <ac:spMkLst>
            <pc:docMk/>
            <pc:sldMk cId="782564862" sldId="2147473129"/>
            <ac:spMk id="3" creationId="{8FE51932-60AB-0830-CD6D-15048487E3F3}"/>
          </ac:spMkLst>
        </pc:spChg>
        <pc:picChg chg="add mod">
          <ac:chgData name="Arav Barot" userId="2aabccd7-f410-4c9c-8764-2e3ea0dd7040" providerId="ADAL" clId="{9D6D74FF-3A58-4A94-AF76-3F465962CF79}" dt="2023-08-18T08:34:41.804" v="1741" actId="1076"/>
          <ac:picMkLst>
            <pc:docMk/>
            <pc:sldMk cId="782564862" sldId="2147473129"/>
            <ac:picMk id="8" creationId="{D9035059-1CC5-0766-4759-8FFB9598D982}"/>
          </ac:picMkLst>
        </pc:picChg>
        <pc:picChg chg="add del mod">
          <ac:chgData name="Arav Barot" userId="2aabccd7-f410-4c9c-8764-2e3ea0dd7040" providerId="ADAL" clId="{9D6D74FF-3A58-4A94-AF76-3F465962CF79}" dt="2023-08-18T08:35:51.309" v="1746" actId="478"/>
          <ac:picMkLst>
            <pc:docMk/>
            <pc:sldMk cId="782564862" sldId="2147473129"/>
            <ac:picMk id="10" creationId="{CAB95D2F-FF15-75B6-4685-790EFDA65E80}"/>
          </ac:picMkLst>
        </pc:picChg>
      </pc:sldChg>
    </pc:docChg>
  </pc:docChgLst>
  <pc:docChgLst>
    <pc:chgData name="Arav Barot" userId="2aabccd7-f410-4c9c-8764-2e3ea0dd7040" providerId="ADAL" clId="{C880DF1F-5316-4E69-9DBA-77ECC89E4B30}"/>
    <pc:docChg chg="undo custSel addSld delSld modSld">
      <pc:chgData name="Arav Barot" userId="2aabccd7-f410-4c9c-8764-2e3ea0dd7040" providerId="ADAL" clId="{C880DF1F-5316-4E69-9DBA-77ECC89E4B30}" dt="2023-09-14T11:03:36.694" v="1380" actId="20577"/>
      <pc:docMkLst>
        <pc:docMk/>
      </pc:docMkLst>
      <pc:sldChg chg="modSp mod">
        <pc:chgData name="Arav Barot" userId="2aabccd7-f410-4c9c-8764-2e3ea0dd7040" providerId="ADAL" clId="{C880DF1F-5316-4E69-9DBA-77ECC89E4B30}" dt="2023-09-08T10:23:08.059" v="1" actId="20577"/>
        <pc:sldMkLst>
          <pc:docMk/>
          <pc:sldMk cId="309941126" sldId="1283"/>
        </pc:sldMkLst>
        <pc:spChg chg="mod">
          <ac:chgData name="Arav Barot" userId="2aabccd7-f410-4c9c-8764-2e3ea0dd7040" providerId="ADAL" clId="{C880DF1F-5316-4E69-9DBA-77ECC89E4B30}" dt="2023-09-08T10:23:08.059" v="1" actId="20577"/>
          <ac:spMkLst>
            <pc:docMk/>
            <pc:sldMk cId="309941126" sldId="1283"/>
            <ac:spMk id="2" creationId="{768C512F-03F8-B14D-9876-DC81C85B54D4}"/>
          </ac:spMkLst>
        </pc:spChg>
      </pc:sldChg>
      <pc:sldChg chg="new del">
        <pc:chgData name="Arav Barot" userId="2aabccd7-f410-4c9c-8764-2e3ea0dd7040" providerId="ADAL" clId="{C880DF1F-5316-4E69-9DBA-77ECC89E4B30}" dt="2023-09-08T10:23:24.502" v="11" actId="680"/>
        <pc:sldMkLst>
          <pc:docMk/>
          <pc:sldMk cId="2323314610" sldId="1284"/>
        </pc:sldMkLst>
      </pc:sldChg>
      <pc:sldChg chg="del">
        <pc:chgData name="Arav Barot" userId="2aabccd7-f410-4c9c-8764-2e3ea0dd7040" providerId="ADAL" clId="{C880DF1F-5316-4E69-9DBA-77ECC89E4B30}" dt="2023-09-08T10:23:14.908" v="2" actId="47"/>
        <pc:sldMkLst>
          <pc:docMk/>
          <pc:sldMk cId="2411864418" sldId="2147473125"/>
        </pc:sldMkLst>
      </pc:sldChg>
      <pc:sldChg chg="del">
        <pc:chgData name="Arav Barot" userId="2aabccd7-f410-4c9c-8764-2e3ea0dd7040" providerId="ADAL" clId="{C880DF1F-5316-4E69-9DBA-77ECC89E4B30}" dt="2023-09-08T10:23:15.693" v="3" actId="47"/>
        <pc:sldMkLst>
          <pc:docMk/>
          <pc:sldMk cId="3137227597" sldId="2147473126"/>
        </pc:sldMkLst>
      </pc:sldChg>
      <pc:sldChg chg="addSp delSp modSp add del mod">
        <pc:chgData name="Arav Barot" userId="2aabccd7-f410-4c9c-8764-2e3ea0dd7040" providerId="ADAL" clId="{C880DF1F-5316-4E69-9DBA-77ECC89E4B30}" dt="2023-09-08T10:52:26.583" v="178" actId="478"/>
        <pc:sldMkLst>
          <pc:docMk/>
          <pc:sldMk cId="832467667" sldId="2147473127"/>
        </pc:sldMkLst>
        <pc:spChg chg="mod">
          <ac:chgData name="Arav Barot" userId="2aabccd7-f410-4c9c-8764-2e3ea0dd7040" providerId="ADAL" clId="{C880DF1F-5316-4E69-9DBA-77ECC89E4B30}" dt="2023-09-08T10:23:56.241" v="83" actId="20577"/>
          <ac:spMkLst>
            <pc:docMk/>
            <pc:sldMk cId="832467667" sldId="2147473127"/>
            <ac:spMk id="3" creationId="{7446B745-1CDD-83B3-5357-968F9E2471C2}"/>
          </ac:spMkLst>
        </pc:spChg>
        <pc:spChg chg="del">
          <ac:chgData name="Arav Barot" userId="2aabccd7-f410-4c9c-8764-2e3ea0dd7040" providerId="ADAL" clId="{C880DF1F-5316-4E69-9DBA-77ECC89E4B30}" dt="2023-09-08T10:23:46.946" v="63" actId="478"/>
          <ac:spMkLst>
            <pc:docMk/>
            <pc:sldMk cId="832467667" sldId="2147473127"/>
            <ac:spMk id="9" creationId="{65632490-B3D6-44F1-DD78-85DEBE5BA44D}"/>
          </ac:spMkLst>
        </pc:spChg>
        <pc:spChg chg="add del mod">
          <ac:chgData name="Arav Barot" userId="2aabccd7-f410-4c9c-8764-2e3ea0dd7040" providerId="ADAL" clId="{C880DF1F-5316-4E69-9DBA-77ECC89E4B30}" dt="2023-09-08T10:50:39.187" v="155" actId="478"/>
          <ac:spMkLst>
            <pc:docMk/>
            <pc:sldMk cId="832467667" sldId="2147473127"/>
            <ac:spMk id="12" creationId="{DB76DB28-84D0-4F04-283D-51D3FC175432}"/>
          </ac:spMkLst>
        </pc:spChg>
        <pc:spChg chg="add mod">
          <ac:chgData name="Arav Barot" userId="2aabccd7-f410-4c9c-8764-2e3ea0dd7040" providerId="ADAL" clId="{C880DF1F-5316-4E69-9DBA-77ECC89E4B30}" dt="2023-09-08T10:52:14.238" v="176" actId="14100"/>
          <ac:spMkLst>
            <pc:docMk/>
            <pc:sldMk cId="832467667" sldId="2147473127"/>
            <ac:spMk id="15" creationId="{8336EA2C-032D-96AE-9B77-22477AAEE95A}"/>
          </ac:spMkLst>
        </pc:spChg>
        <pc:spChg chg="add del">
          <ac:chgData name="Arav Barot" userId="2aabccd7-f410-4c9c-8764-2e3ea0dd7040" providerId="ADAL" clId="{C880DF1F-5316-4E69-9DBA-77ECC89E4B30}" dt="2023-09-08T10:52:26.583" v="178" actId="478"/>
          <ac:spMkLst>
            <pc:docMk/>
            <pc:sldMk cId="832467667" sldId="2147473127"/>
            <ac:spMk id="17" creationId="{3A5AAB61-E14C-33DD-D46D-1C6A18EDE53D}"/>
          </ac:spMkLst>
        </pc:spChg>
        <pc:graphicFrameChg chg="add del mod">
          <ac:chgData name="Arav Barot" userId="2aabccd7-f410-4c9c-8764-2e3ea0dd7040" providerId="ADAL" clId="{C880DF1F-5316-4E69-9DBA-77ECC89E4B30}" dt="2023-09-08T10:24:45.037" v="85"/>
          <ac:graphicFrameMkLst>
            <pc:docMk/>
            <pc:sldMk cId="832467667" sldId="2147473127"/>
            <ac:graphicFrameMk id="5" creationId="{848EEDE2-B987-7DA9-0BAC-AFBBCE1F3E8C}"/>
          </ac:graphicFrameMkLst>
        </pc:graphicFrameChg>
        <pc:graphicFrameChg chg="del modGraphic">
          <ac:chgData name="Arav Barot" userId="2aabccd7-f410-4c9c-8764-2e3ea0dd7040" providerId="ADAL" clId="{C880DF1F-5316-4E69-9DBA-77ECC89E4B30}" dt="2023-09-08T10:23:48.317" v="65" actId="478"/>
          <ac:graphicFrameMkLst>
            <pc:docMk/>
            <pc:sldMk cId="832467667" sldId="2147473127"/>
            <ac:graphicFrameMk id="10" creationId="{F459669C-4F00-8C5F-9345-9A47093C0171}"/>
          </ac:graphicFrameMkLst>
        </pc:graphicFrameChg>
        <pc:picChg chg="del">
          <ac:chgData name="Arav Barot" userId="2aabccd7-f410-4c9c-8764-2e3ea0dd7040" providerId="ADAL" clId="{C880DF1F-5316-4E69-9DBA-77ECC89E4B30}" dt="2023-09-08T10:23:45.640" v="62" actId="478"/>
          <ac:picMkLst>
            <pc:docMk/>
            <pc:sldMk cId="832467667" sldId="2147473127"/>
            <ac:picMk id="8" creationId="{157C6932-0DCF-2773-C386-35D0ECE0D390}"/>
          </ac:picMkLst>
        </pc:picChg>
        <pc:picChg chg="add del mod">
          <ac:chgData name="Arav Barot" userId="2aabccd7-f410-4c9c-8764-2e3ea0dd7040" providerId="ADAL" clId="{C880DF1F-5316-4E69-9DBA-77ECC89E4B30}" dt="2023-09-08T10:50:37.761" v="154" actId="478"/>
          <ac:picMkLst>
            <pc:docMk/>
            <pc:sldMk cId="832467667" sldId="2147473127"/>
            <ac:picMk id="11" creationId="{807141EC-274F-0ACF-5268-64BD17CA5C80}"/>
          </ac:picMkLst>
        </pc:picChg>
        <pc:picChg chg="add mod">
          <ac:chgData name="Arav Barot" userId="2aabccd7-f410-4c9c-8764-2e3ea0dd7040" providerId="ADAL" clId="{C880DF1F-5316-4E69-9DBA-77ECC89E4B30}" dt="2023-09-08T10:51:37.565" v="171" actId="1076"/>
          <ac:picMkLst>
            <pc:docMk/>
            <pc:sldMk cId="832467667" sldId="2147473127"/>
            <ac:picMk id="14" creationId="{C4F46BF9-5BC3-65B9-5A4B-B361B2405D05}"/>
          </ac:picMkLst>
        </pc:picChg>
      </pc:sldChg>
      <pc:sldChg chg="addSp delSp modSp new mod">
        <pc:chgData name="Arav Barot" userId="2aabccd7-f410-4c9c-8764-2e3ea0dd7040" providerId="ADAL" clId="{C880DF1F-5316-4E69-9DBA-77ECC89E4B30}" dt="2023-09-08T13:52:03.576" v="974" actId="14100"/>
        <pc:sldMkLst>
          <pc:docMk/>
          <pc:sldMk cId="3502183302" sldId="2147473128"/>
        </pc:sldMkLst>
        <pc:spChg chg="del">
          <ac:chgData name="Arav Barot" userId="2aabccd7-f410-4c9c-8764-2e3ea0dd7040" providerId="ADAL" clId="{C880DF1F-5316-4E69-9DBA-77ECC89E4B30}" dt="2023-09-08T10:27:15.506" v="108" actId="478"/>
          <ac:spMkLst>
            <pc:docMk/>
            <pc:sldMk cId="3502183302" sldId="2147473128"/>
            <ac:spMk id="2" creationId="{BFB716C3-B618-6836-46C1-A69058E60EA2}"/>
          </ac:spMkLst>
        </pc:spChg>
        <pc:spChg chg="del">
          <ac:chgData name="Arav Barot" userId="2aabccd7-f410-4c9c-8764-2e3ea0dd7040" providerId="ADAL" clId="{C880DF1F-5316-4E69-9DBA-77ECC89E4B30}" dt="2023-09-08T10:27:14.028" v="107" actId="478"/>
          <ac:spMkLst>
            <pc:docMk/>
            <pc:sldMk cId="3502183302" sldId="2147473128"/>
            <ac:spMk id="3" creationId="{4951F569-2BD7-CA6D-6544-65FBC13FF80D}"/>
          </ac:spMkLst>
        </pc:spChg>
        <pc:spChg chg="del">
          <ac:chgData name="Arav Barot" userId="2aabccd7-f410-4c9c-8764-2e3ea0dd7040" providerId="ADAL" clId="{C880DF1F-5316-4E69-9DBA-77ECC89E4B30}" dt="2023-09-08T13:50:14.583" v="964" actId="478"/>
          <ac:spMkLst>
            <pc:docMk/>
            <pc:sldMk cId="3502183302" sldId="2147473128"/>
            <ac:spMk id="5" creationId="{B34CC523-D6A9-1380-69B3-EB94E7221615}"/>
          </ac:spMkLst>
        </pc:spChg>
        <pc:spChg chg="add del mod">
          <ac:chgData name="Arav Barot" userId="2aabccd7-f410-4c9c-8764-2e3ea0dd7040" providerId="ADAL" clId="{C880DF1F-5316-4E69-9DBA-77ECC89E4B30}" dt="2023-09-08T10:50:42.322" v="157" actId="478"/>
          <ac:spMkLst>
            <pc:docMk/>
            <pc:sldMk cId="3502183302" sldId="2147473128"/>
            <ac:spMk id="8" creationId="{340F53E6-2EA5-CCD2-62EF-9A8CFD0D0078}"/>
          </ac:spMkLst>
        </pc:spChg>
        <pc:spChg chg="add del mod">
          <ac:chgData name="Arav Barot" userId="2aabccd7-f410-4c9c-8764-2e3ea0dd7040" providerId="ADAL" clId="{C880DF1F-5316-4E69-9DBA-77ECC89E4B30}" dt="2023-09-08T10:50:47.955" v="159" actId="478"/>
          <ac:spMkLst>
            <pc:docMk/>
            <pc:sldMk cId="3502183302" sldId="2147473128"/>
            <ac:spMk id="13" creationId="{74EE17B3-F875-16BE-2344-738DD7367CD8}"/>
          </ac:spMkLst>
        </pc:spChg>
        <pc:spChg chg="add mod">
          <ac:chgData name="Arav Barot" userId="2aabccd7-f410-4c9c-8764-2e3ea0dd7040" providerId="ADAL" clId="{C880DF1F-5316-4E69-9DBA-77ECC89E4B30}" dt="2023-09-08T13:32:58.203" v="737" actId="20577"/>
          <ac:spMkLst>
            <pc:docMk/>
            <pc:sldMk cId="3502183302" sldId="2147473128"/>
            <ac:spMk id="17" creationId="{9B0AAAEB-58BE-6B34-8A29-A32504A45134}"/>
          </ac:spMkLst>
        </pc:spChg>
        <pc:spChg chg="add mod">
          <ac:chgData name="Arav Barot" userId="2aabccd7-f410-4c9c-8764-2e3ea0dd7040" providerId="ADAL" clId="{C880DF1F-5316-4E69-9DBA-77ECC89E4B30}" dt="2023-09-08T13:50:57.963" v="970" actId="164"/>
          <ac:spMkLst>
            <pc:docMk/>
            <pc:sldMk cId="3502183302" sldId="2147473128"/>
            <ac:spMk id="22" creationId="{F83826EE-084F-10E1-EC5A-B64E8698393D}"/>
          </ac:spMkLst>
        </pc:spChg>
        <pc:grpChg chg="add mod">
          <ac:chgData name="Arav Barot" userId="2aabccd7-f410-4c9c-8764-2e3ea0dd7040" providerId="ADAL" clId="{C880DF1F-5316-4E69-9DBA-77ECC89E4B30}" dt="2023-09-08T13:52:03.576" v="974" actId="14100"/>
          <ac:grpSpMkLst>
            <pc:docMk/>
            <pc:sldMk cId="3502183302" sldId="2147473128"/>
            <ac:grpSpMk id="43" creationId="{DF14E96C-F414-8ED5-E18B-E148C79BCADC}"/>
          </ac:grpSpMkLst>
        </pc:grpChg>
        <pc:graphicFrameChg chg="add mod modGraphic">
          <ac:chgData name="Arav Barot" userId="2aabccd7-f410-4c9c-8764-2e3ea0dd7040" providerId="ADAL" clId="{C880DF1F-5316-4E69-9DBA-77ECC89E4B30}" dt="2023-09-08T13:50:10.822" v="963" actId="14100"/>
          <ac:graphicFrameMkLst>
            <pc:docMk/>
            <pc:sldMk cId="3502183302" sldId="2147473128"/>
            <ac:graphicFrameMk id="26" creationId="{E8CF479C-51FD-221B-C8D1-B8F8EAF1A6E1}"/>
          </ac:graphicFrameMkLst>
        </pc:graphicFrameChg>
        <pc:picChg chg="add del mod">
          <ac:chgData name="Arav Barot" userId="2aabccd7-f410-4c9c-8764-2e3ea0dd7040" providerId="ADAL" clId="{C880DF1F-5316-4E69-9DBA-77ECC89E4B30}" dt="2023-09-08T10:50:40.929" v="156" actId="478"/>
          <ac:picMkLst>
            <pc:docMk/>
            <pc:sldMk cId="3502183302" sldId="2147473128"/>
            <ac:picMk id="7" creationId="{2A2EF3AB-A292-974D-E023-6BCF85CD5DBB}"/>
          </ac:picMkLst>
        </pc:picChg>
        <pc:picChg chg="add del mod">
          <ac:chgData name="Arav Barot" userId="2aabccd7-f410-4c9c-8764-2e3ea0dd7040" providerId="ADAL" clId="{C880DF1F-5316-4E69-9DBA-77ECC89E4B30}" dt="2023-09-08T13:34:09.880" v="745" actId="478"/>
          <ac:picMkLst>
            <pc:docMk/>
            <pc:sldMk cId="3502183302" sldId="2147473128"/>
            <ac:picMk id="19" creationId="{7F576FEA-1321-9BDD-4464-5C76AF6C504C}"/>
          </ac:picMkLst>
        </pc:picChg>
        <pc:picChg chg="add mod">
          <ac:chgData name="Arav Barot" userId="2aabccd7-f410-4c9c-8764-2e3ea0dd7040" providerId="ADAL" clId="{C880DF1F-5316-4E69-9DBA-77ECC89E4B30}" dt="2023-09-08T13:50:57.963" v="970" actId="164"/>
          <ac:picMkLst>
            <pc:docMk/>
            <pc:sldMk cId="3502183302" sldId="2147473128"/>
            <ac:picMk id="21" creationId="{F6BCFAAE-44F0-14EC-63C3-D2D06D39B2A1}"/>
          </ac:picMkLst>
        </pc:picChg>
        <pc:cxnChg chg="add del mod">
          <ac:chgData name="Arav Barot" userId="2aabccd7-f410-4c9c-8764-2e3ea0dd7040" providerId="ADAL" clId="{C880DF1F-5316-4E69-9DBA-77ECC89E4B30}" dt="2023-09-08T10:29:11.067" v="152" actId="478"/>
          <ac:cxnSpMkLst>
            <pc:docMk/>
            <pc:sldMk cId="3502183302" sldId="2147473128"/>
            <ac:cxnSpMk id="10" creationId="{6FC5AB8A-F6EE-5C2D-3C11-652048F38083}"/>
          </ac:cxnSpMkLst>
        </pc:cxnChg>
        <pc:cxnChg chg="add del mod">
          <ac:chgData name="Arav Barot" userId="2aabccd7-f410-4c9c-8764-2e3ea0dd7040" providerId="ADAL" clId="{C880DF1F-5316-4E69-9DBA-77ECC89E4B30}" dt="2023-09-08T10:50:44.400" v="158" actId="478"/>
          <ac:cxnSpMkLst>
            <pc:docMk/>
            <pc:sldMk cId="3502183302" sldId="2147473128"/>
            <ac:cxnSpMk id="16" creationId="{257CED39-38E0-177D-FAEC-8212E59467DF}"/>
          </ac:cxnSpMkLst>
        </pc:cxnChg>
        <pc:cxnChg chg="add del mod">
          <ac:chgData name="Arav Barot" userId="2aabccd7-f410-4c9c-8764-2e3ea0dd7040" providerId="ADAL" clId="{C880DF1F-5316-4E69-9DBA-77ECC89E4B30}" dt="2023-09-08T13:48:05.532" v="959" actId="478"/>
          <ac:cxnSpMkLst>
            <pc:docMk/>
            <pc:sldMk cId="3502183302" sldId="2147473128"/>
            <ac:cxnSpMk id="24" creationId="{B6BA2AB2-485C-7B4C-0254-071014828E7C}"/>
          </ac:cxnSpMkLst>
        </pc:cxnChg>
        <pc:cxnChg chg="add mod">
          <ac:chgData name="Arav Barot" userId="2aabccd7-f410-4c9c-8764-2e3ea0dd7040" providerId="ADAL" clId="{C880DF1F-5316-4E69-9DBA-77ECC89E4B30}" dt="2023-09-08T13:50:10.822" v="963" actId="14100"/>
          <ac:cxnSpMkLst>
            <pc:docMk/>
            <pc:sldMk cId="3502183302" sldId="2147473128"/>
            <ac:cxnSpMk id="39" creationId="{0516D157-5ADD-4D0B-C45B-105D2DE03899}"/>
          </ac:cxnSpMkLst>
        </pc:cxnChg>
      </pc:sldChg>
      <pc:sldChg chg="del">
        <pc:chgData name="Arav Barot" userId="2aabccd7-f410-4c9c-8764-2e3ea0dd7040" providerId="ADAL" clId="{C880DF1F-5316-4E69-9DBA-77ECC89E4B30}" dt="2023-09-08T10:23:18.779" v="8" actId="47"/>
        <pc:sldMkLst>
          <pc:docMk/>
          <pc:sldMk cId="4156763662" sldId="2147473128"/>
        </pc:sldMkLst>
      </pc:sldChg>
      <pc:sldChg chg="del">
        <pc:chgData name="Arav Barot" userId="2aabccd7-f410-4c9c-8764-2e3ea0dd7040" providerId="ADAL" clId="{C880DF1F-5316-4E69-9DBA-77ECC89E4B30}" dt="2023-09-08T10:23:16.952" v="5" actId="47"/>
        <pc:sldMkLst>
          <pc:docMk/>
          <pc:sldMk cId="782564862" sldId="2147473129"/>
        </pc:sldMkLst>
      </pc:sldChg>
      <pc:sldChg chg="addSp delSp modSp add mod">
        <pc:chgData name="Arav Barot" userId="2aabccd7-f410-4c9c-8764-2e3ea0dd7040" providerId="ADAL" clId="{C880DF1F-5316-4E69-9DBA-77ECC89E4B30}" dt="2023-09-08T13:51:37.439" v="972" actId="164"/>
        <pc:sldMkLst>
          <pc:docMk/>
          <pc:sldMk cId="1617075167" sldId="2147473129"/>
        </pc:sldMkLst>
        <pc:spChg chg="add mod">
          <ac:chgData name="Arav Barot" userId="2aabccd7-f410-4c9c-8764-2e3ea0dd7040" providerId="ADAL" clId="{C880DF1F-5316-4E69-9DBA-77ECC89E4B30}" dt="2023-09-08T13:22:22.777" v="694" actId="1076"/>
          <ac:spMkLst>
            <pc:docMk/>
            <pc:sldMk cId="1617075167" sldId="2147473129"/>
            <ac:spMk id="9" creationId="{A1A78D91-D369-3802-67B3-3DA5C27387CE}"/>
          </ac:spMkLst>
        </pc:spChg>
        <pc:spChg chg="mod">
          <ac:chgData name="Arav Barot" userId="2aabccd7-f410-4c9c-8764-2e3ea0dd7040" providerId="ADAL" clId="{C880DF1F-5316-4E69-9DBA-77ECC89E4B30}" dt="2023-09-08T13:51:37.439" v="972" actId="164"/>
          <ac:spMkLst>
            <pc:docMk/>
            <pc:sldMk cId="1617075167" sldId="2147473129"/>
            <ac:spMk id="15" creationId="{8336EA2C-032D-96AE-9B77-22477AAEE95A}"/>
          </ac:spMkLst>
        </pc:spChg>
        <pc:spChg chg="add del mod">
          <ac:chgData name="Arav Barot" userId="2aabccd7-f410-4c9c-8764-2e3ea0dd7040" providerId="ADAL" clId="{C880DF1F-5316-4E69-9DBA-77ECC89E4B30}" dt="2023-09-08T11:22:06.214" v="525" actId="478"/>
          <ac:spMkLst>
            <pc:docMk/>
            <pc:sldMk cId="1617075167" sldId="2147473129"/>
            <ac:spMk id="18" creationId="{98A367DE-5D16-DF50-FE6F-9AF20D538953}"/>
          </ac:spMkLst>
        </pc:spChg>
        <pc:spChg chg="add del mod">
          <ac:chgData name="Arav Barot" userId="2aabccd7-f410-4c9c-8764-2e3ea0dd7040" providerId="ADAL" clId="{C880DF1F-5316-4E69-9DBA-77ECC89E4B30}" dt="2023-09-08T11:22:03.492" v="524" actId="478"/>
          <ac:spMkLst>
            <pc:docMk/>
            <pc:sldMk cId="1617075167" sldId="2147473129"/>
            <ac:spMk id="21" creationId="{C8F9E394-CB00-70C1-3715-AFB7AF3BFF94}"/>
          </ac:spMkLst>
        </pc:spChg>
        <pc:grpChg chg="add mod">
          <ac:chgData name="Arav Barot" userId="2aabccd7-f410-4c9c-8764-2e3ea0dd7040" providerId="ADAL" clId="{C880DF1F-5316-4E69-9DBA-77ECC89E4B30}" dt="2023-09-08T13:51:17.304" v="971" actId="164"/>
          <ac:grpSpMkLst>
            <pc:docMk/>
            <pc:sldMk cId="1617075167" sldId="2147473129"/>
            <ac:grpSpMk id="43" creationId="{B40EFE00-65D8-E36D-ACC2-80A27F358491}"/>
          </ac:grpSpMkLst>
        </pc:grpChg>
        <pc:grpChg chg="add mod">
          <ac:chgData name="Arav Barot" userId="2aabccd7-f410-4c9c-8764-2e3ea0dd7040" providerId="ADAL" clId="{C880DF1F-5316-4E69-9DBA-77ECC89E4B30}" dt="2023-09-08T13:51:37.439" v="972" actId="164"/>
          <ac:grpSpMkLst>
            <pc:docMk/>
            <pc:sldMk cId="1617075167" sldId="2147473129"/>
            <ac:grpSpMk id="44" creationId="{24C48520-604C-DD59-27DD-42DBCEF348F1}"/>
          </ac:grpSpMkLst>
        </pc:grpChg>
        <pc:graphicFrameChg chg="add mod modGraphic">
          <ac:chgData name="Arav Barot" userId="2aabccd7-f410-4c9c-8764-2e3ea0dd7040" providerId="ADAL" clId="{C880DF1F-5316-4E69-9DBA-77ECC89E4B30}" dt="2023-09-08T13:22:30.152" v="695" actId="14734"/>
          <ac:graphicFrameMkLst>
            <pc:docMk/>
            <pc:sldMk cId="1617075167" sldId="2147473129"/>
            <ac:graphicFrameMk id="24" creationId="{77DD4FF1-F0CE-B3A7-17DD-6E227853FECD}"/>
          </ac:graphicFrameMkLst>
        </pc:graphicFrameChg>
        <pc:picChg chg="mod">
          <ac:chgData name="Arav Barot" userId="2aabccd7-f410-4c9c-8764-2e3ea0dd7040" providerId="ADAL" clId="{C880DF1F-5316-4E69-9DBA-77ECC89E4B30}" dt="2023-09-08T13:51:37.439" v="972" actId="164"/>
          <ac:picMkLst>
            <pc:docMk/>
            <pc:sldMk cId="1617075167" sldId="2147473129"/>
            <ac:picMk id="14" creationId="{C4F46BF9-5BC3-65B9-5A4B-B361B2405D05}"/>
          </ac:picMkLst>
        </pc:picChg>
        <pc:cxnChg chg="add mod">
          <ac:chgData name="Arav Barot" userId="2aabccd7-f410-4c9c-8764-2e3ea0dd7040" providerId="ADAL" clId="{C880DF1F-5316-4E69-9DBA-77ECC89E4B30}" dt="2023-09-08T13:22:19.285" v="693" actId="14100"/>
          <ac:cxnSpMkLst>
            <pc:docMk/>
            <pc:sldMk cId="1617075167" sldId="2147473129"/>
            <ac:cxnSpMk id="7" creationId="{B9C59E97-61BD-AEB4-3A55-D36734D273C5}"/>
          </ac:cxnSpMkLst>
        </pc:cxnChg>
        <pc:cxnChg chg="add del mod">
          <ac:chgData name="Arav Barot" userId="2aabccd7-f410-4c9c-8764-2e3ea0dd7040" providerId="ADAL" clId="{C880DF1F-5316-4E69-9DBA-77ECC89E4B30}" dt="2023-09-08T11:22:44.806" v="530" actId="478"/>
          <ac:cxnSpMkLst>
            <pc:docMk/>
            <pc:sldMk cId="1617075167" sldId="2147473129"/>
            <ac:cxnSpMk id="11" creationId="{AD2AF677-2522-FD16-248A-580A79D9BB96}"/>
          </ac:cxnSpMkLst>
        </pc:cxnChg>
        <pc:cxnChg chg="add del">
          <ac:chgData name="Arav Barot" userId="2aabccd7-f410-4c9c-8764-2e3ea0dd7040" providerId="ADAL" clId="{C880DF1F-5316-4E69-9DBA-77ECC89E4B30}" dt="2023-09-08T11:22:43.703" v="529" actId="478"/>
          <ac:cxnSpMkLst>
            <pc:docMk/>
            <pc:sldMk cId="1617075167" sldId="2147473129"/>
            <ac:cxnSpMk id="23" creationId="{4E3B76D5-3459-CAD4-263B-BA9B933A38EB}"/>
          </ac:cxnSpMkLst>
        </pc:cxnChg>
        <pc:cxnChg chg="add mod">
          <ac:chgData name="Arav Barot" userId="2aabccd7-f410-4c9c-8764-2e3ea0dd7040" providerId="ADAL" clId="{C880DF1F-5316-4E69-9DBA-77ECC89E4B30}" dt="2023-09-08T13:51:17.304" v="971" actId="164"/>
          <ac:cxnSpMkLst>
            <pc:docMk/>
            <pc:sldMk cId="1617075167" sldId="2147473129"/>
            <ac:cxnSpMk id="27" creationId="{B01A8627-E438-595C-A4CB-BDECA3C249EF}"/>
          </ac:cxnSpMkLst>
        </pc:cxnChg>
        <pc:cxnChg chg="add mod">
          <ac:chgData name="Arav Barot" userId="2aabccd7-f410-4c9c-8764-2e3ea0dd7040" providerId="ADAL" clId="{C880DF1F-5316-4E69-9DBA-77ECC89E4B30}" dt="2023-09-08T13:51:17.304" v="971" actId="164"/>
          <ac:cxnSpMkLst>
            <pc:docMk/>
            <pc:sldMk cId="1617075167" sldId="2147473129"/>
            <ac:cxnSpMk id="29" creationId="{761DBCAE-5D73-0234-AFDC-D4EE052395D4}"/>
          </ac:cxnSpMkLst>
        </pc:cxnChg>
        <pc:cxnChg chg="add mod">
          <ac:chgData name="Arav Barot" userId="2aabccd7-f410-4c9c-8764-2e3ea0dd7040" providerId="ADAL" clId="{C880DF1F-5316-4E69-9DBA-77ECC89E4B30}" dt="2023-09-08T13:51:17.304" v="971" actId="164"/>
          <ac:cxnSpMkLst>
            <pc:docMk/>
            <pc:sldMk cId="1617075167" sldId="2147473129"/>
            <ac:cxnSpMk id="37" creationId="{30728258-0933-1CB9-DEF7-794FC3975FCE}"/>
          </ac:cxnSpMkLst>
        </pc:cxnChg>
      </pc:sldChg>
      <pc:sldChg chg="del">
        <pc:chgData name="Arav Barot" userId="2aabccd7-f410-4c9c-8764-2e3ea0dd7040" providerId="ADAL" clId="{C880DF1F-5316-4E69-9DBA-77ECC89E4B30}" dt="2023-09-08T10:23:16.358" v="4" actId="47"/>
        <pc:sldMkLst>
          <pc:docMk/>
          <pc:sldMk cId="24430028" sldId="2147473130"/>
        </pc:sldMkLst>
      </pc:sldChg>
      <pc:sldChg chg="addSp delSp modSp new mod">
        <pc:chgData name="Arav Barot" userId="2aabccd7-f410-4c9c-8764-2e3ea0dd7040" providerId="ADAL" clId="{C880DF1F-5316-4E69-9DBA-77ECC89E4B30}" dt="2023-09-14T11:03:36.694" v="1380" actId="20577"/>
        <pc:sldMkLst>
          <pc:docMk/>
          <pc:sldMk cId="2279832368" sldId="2147473130"/>
        </pc:sldMkLst>
        <pc:spChg chg="mod">
          <ac:chgData name="Arav Barot" userId="2aabccd7-f410-4c9c-8764-2e3ea0dd7040" providerId="ADAL" clId="{C880DF1F-5316-4E69-9DBA-77ECC89E4B30}" dt="2023-09-14T10:55:42.825" v="996" actId="20577"/>
          <ac:spMkLst>
            <pc:docMk/>
            <pc:sldMk cId="2279832368" sldId="2147473130"/>
            <ac:spMk id="3" creationId="{8631DCF4-0C77-2298-65F9-6D17F02E1706}"/>
          </ac:spMkLst>
        </pc:spChg>
        <pc:spChg chg="add del">
          <ac:chgData name="Arav Barot" userId="2aabccd7-f410-4c9c-8764-2e3ea0dd7040" providerId="ADAL" clId="{C880DF1F-5316-4E69-9DBA-77ECC89E4B30}" dt="2023-09-14T10:56:03.395" v="998" actId="22"/>
          <ac:spMkLst>
            <pc:docMk/>
            <pc:sldMk cId="2279832368" sldId="2147473130"/>
            <ac:spMk id="8" creationId="{56825FE6-BD0D-1924-DBB1-2A308B18058E}"/>
          </ac:spMkLst>
        </pc:spChg>
        <pc:spChg chg="add del">
          <ac:chgData name="Arav Barot" userId="2aabccd7-f410-4c9c-8764-2e3ea0dd7040" providerId="ADAL" clId="{C880DF1F-5316-4E69-9DBA-77ECC89E4B30}" dt="2023-09-14T10:56:15.617" v="1000" actId="22"/>
          <ac:spMkLst>
            <pc:docMk/>
            <pc:sldMk cId="2279832368" sldId="2147473130"/>
            <ac:spMk id="10" creationId="{3654125D-2CDE-8881-6657-B021C477AEA9}"/>
          </ac:spMkLst>
        </pc:spChg>
        <pc:graphicFrameChg chg="add mod modGraphic">
          <ac:chgData name="Arav Barot" userId="2aabccd7-f410-4c9c-8764-2e3ea0dd7040" providerId="ADAL" clId="{C880DF1F-5316-4E69-9DBA-77ECC89E4B30}" dt="2023-09-14T11:03:36.694" v="1380" actId="20577"/>
          <ac:graphicFrameMkLst>
            <pc:docMk/>
            <pc:sldMk cId="2279832368" sldId="2147473130"/>
            <ac:graphicFrameMk id="11" creationId="{3C02FF45-BA95-2B9C-2136-8ECAFD59058B}"/>
          </ac:graphicFrameMkLst>
        </pc:graphicFrameChg>
      </pc:sldChg>
      <pc:sldChg chg="del">
        <pc:chgData name="Arav Barot" userId="2aabccd7-f410-4c9c-8764-2e3ea0dd7040" providerId="ADAL" clId="{C880DF1F-5316-4E69-9DBA-77ECC89E4B30}" dt="2023-09-08T10:23:17.630" v="6" actId="47"/>
        <pc:sldMkLst>
          <pc:docMk/>
          <pc:sldMk cId="166153108" sldId="2147473131"/>
        </pc:sldMkLst>
      </pc:sldChg>
      <pc:sldChg chg="del">
        <pc:chgData name="Arav Barot" userId="2aabccd7-f410-4c9c-8764-2e3ea0dd7040" providerId="ADAL" clId="{C880DF1F-5316-4E69-9DBA-77ECC89E4B30}" dt="2023-09-08T10:23:18.222" v="7" actId="47"/>
        <pc:sldMkLst>
          <pc:docMk/>
          <pc:sldMk cId="2639486945" sldId="2147473132"/>
        </pc:sldMkLst>
      </pc:sldChg>
      <pc:sldMasterChg chg="addSldLayout delSldLayout">
        <pc:chgData name="Arav Barot" userId="2aabccd7-f410-4c9c-8764-2e3ea0dd7040" providerId="ADAL" clId="{C880DF1F-5316-4E69-9DBA-77ECC89E4B30}" dt="2023-09-08T10:23:25.497" v="12" actId="47"/>
        <pc:sldMasterMkLst>
          <pc:docMk/>
          <pc:sldMasterMk cId="3187980257" sldId="2147483817"/>
        </pc:sldMasterMkLst>
        <pc:sldLayoutChg chg="add del">
          <pc:chgData name="Arav Barot" userId="2aabccd7-f410-4c9c-8764-2e3ea0dd7040" providerId="ADAL" clId="{C880DF1F-5316-4E69-9DBA-77ECC89E4B30}" dt="2023-09-08T10:23:25.497" v="12" actId="47"/>
          <pc:sldLayoutMkLst>
            <pc:docMk/>
            <pc:sldMasterMk cId="3187980257" sldId="2147483817"/>
            <pc:sldLayoutMk cId="3710943736" sldId="2147483887"/>
          </pc:sldLayoutMkLst>
        </pc:sldLayoutChg>
      </pc:sldMasterChg>
    </pc:docChg>
  </pc:docChgLst>
  <pc:docChgLst>
    <pc:chgData name="Arav Barot" userId="2aabccd7-f410-4c9c-8764-2e3ea0dd7040" providerId="ADAL" clId="{E002BA3C-24BB-429D-AB13-29793043DB06}"/>
    <pc:docChg chg="modSld">
      <pc:chgData name="Arav Barot" userId="2aabccd7-f410-4c9c-8764-2e3ea0dd7040" providerId="ADAL" clId="{E002BA3C-24BB-429D-AB13-29793043DB06}" dt="2023-07-27T14:36:29.518" v="18" actId="20577"/>
      <pc:docMkLst>
        <pc:docMk/>
      </pc:docMkLst>
      <pc:sldChg chg="modSp mod">
        <pc:chgData name="Arav Barot" userId="2aabccd7-f410-4c9c-8764-2e3ea0dd7040" providerId="ADAL" clId="{E002BA3C-24BB-429D-AB13-29793043DB06}" dt="2023-07-27T14:36:29.518" v="18" actId="20577"/>
        <pc:sldMkLst>
          <pc:docMk/>
          <pc:sldMk cId="309941126" sldId="1283"/>
        </pc:sldMkLst>
        <pc:spChg chg="mod">
          <ac:chgData name="Arav Barot" userId="2aabccd7-f410-4c9c-8764-2e3ea0dd7040" providerId="ADAL" clId="{E002BA3C-24BB-429D-AB13-29793043DB06}" dt="2023-07-27T14:36:29.518" v="18" actId="20577"/>
          <ac:spMkLst>
            <pc:docMk/>
            <pc:sldMk cId="309941126" sldId="1283"/>
            <ac:spMk id="2" creationId="{768C512F-03F8-B14D-9876-DC81C85B54D4}"/>
          </ac:spMkLst>
        </pc:spChg>
      </pc:sldChg>
    </pc:docChg>
  </pc:docChgLst>
  <pc:docChgLst>
    <pc:chgData name="Arav Barot" userId="2aabccd7-f410-4c9c-8764-2e3ea0dd7040" providerId="ADAL" clId="{31980283-4BD5-4CB6-811E-EB144DD98B44}"/>
    <pc:docChg chg="undo redo custSel addSld delSld modSld sldOrd">
      <pc:chgData name="Arav Barot" userId="2aabccd7-f410-4c9c-8764-2e3ea0dd7040" providerId="ADAL" clId="{31980283-4BD5-4CB6-811E-EB144DD98B44}" dt="2023-10-18T14:59:54.080" v="4569" actId="20577"/>
      <pc:docMkLst>
        <pc:docMk/>
      </pc:docMkLst>
      <pc:sldChg chg="modSp mod">
        <pc:chgData name="Arav Barot" userId="2aabccd7-f410-4c9c-8764-2e3ea0dd7040" providerId="ADAL" clId="{31980283-4BD5-4CB6-811E-EB144DD98B44}" dt="2023-10-16T13:49:20.874" v="3" actId="20577"/>
        <pc:sldMkLst>
          <pc:docMk/>
          <pc:sldMk cId="309941126" sldId="1283"/>
        </pc:sldMkLst>
        <pc:spChg chg="mod">
          <ac:chgData name="Arav Barot" userId="2aabccd7-f410-4c9c-8764-2e3ea0dd7040" providerId="ADAL" clId="{31980283-4BD5-4CB6-811E-EB144DD98B44}" dt="2023-10-16T13:49:20.874" v="3" actId="20577"/>
          <ac:spMkLst>
            <pc:docMk/>
            <pc:sldMk cId="309941126" sldId="1283"/>
            <ac:spMk id="2" creationId="{768C512F-03F8-B14D-9876-DC81C85B54D4}"/>
          </ac:spMkLst>
        </pc:spChg>
      </pc:sldChg>
      <pc:sldChg chg="addSp delSp modSp mod">
        <pc:chgData name="Arav Barot" userId="2aabccd7-f410-4c9c-8764-2e3ea0dd7040" providerId="ADAL" clId="{31980283-4BD5-4CB6-811E-EB144DD98B44}" dt="2023-10-18T14:59:54.080" v="4569" actId="20577"/>
        <pc:sldMkLst>
          <pc:docMk/>
          <pc:sldMk cId="832467667" sldId="2147473127"/>
        </pc:sldMkLst>
        <pc:spChg chg="mod">
          <ac:chgData name="Arav Barot" userId="2aabccd7-f410-4c9c-8764-2e3ea0dd7040" providerId="ADAL" clId="{31980283-4BD5-4CB6-811E-EB144DD98B44}" dt="2023-10-18T14:59:54.080" v="4569" actId="20577"/>
          <ac:spMkLst>
            <pc:docMk/>
            <pc:sldMk cId="832467667" sldId="2147473127"/>
            <ac:spMk id="3" creationId="{7446B745-1CDD-83B3-5357-968F9E2471C2}"/>
          </ac:spMkLst>
        </pc:spChg>
        <pc:spChg chg="add del mod">
          <ac:chgData name="Arav Barot" userId="2aabccd7-f410-4c9c-8764-2e3ea0dd7040" providerId="ADAL" clId="{31980283-4BD5-4CB6-811E-EB144DD98B44}" dt="2023-10-16T13:56:40.449" v="169" actId="478"/>
          <ac:spMkLst>
            <pc:docMk/>
            <pc:sldMk cId="832467667" sldId="2147473127"/>
            <ac:spMk id="7" creationId="{52830D4B-FA95-1C0F-0235-60BB2FB8D96A}"/>
          </ac:spMkLst>
        </pc:spChg>
        <pc:spChg chg="del">
          <ac:chgData name="Arav Barot" userId="2aabccd7-f410-4c9c-8764-2e3ea0dd7040" providerId="ADAL" clId="{31980283-4BD5-4CB6-811E-EB144DD98B44}" dt="2023-10-16T13:49:37.749" v="5" actId="478"/>
          <ac:spMkLst>
            <pc:docMk/>
            <pc:sldMk cId="832467667" sldId="2147473127"/>
            <ac:spMk id="15" creationId="{8336EA2C-032D-96AE-9B77-22477AAEE95A}"/>
          </ac:spMkLst>
        </pc:spChg>
        <pc:spChg chg="add del mod">
          <ac:chgData name="Arav Barot" userId="2aabccd7-f410-4c9c-8764-2e3ea0dd7040" providerId="ADAL" clId="{31980283-4BD5-4CB6-811E-EB144DD98B44}" dt="2023-10-16T14:23:49.222" v="550"/>
          <ac:spMkLst>
            <pc:docMk/>
            <pc:sldMk cId="832467667" sldId="2147473127"/>
            <ac:spMk id="18" creationId="{944EBF89-F4A2-BB0D-19FF-1D2F125740AA}"/>
          </ac:spMkLst>
        </pc:spChg>
        <pc:graphicFrameChg chg="add mod">
          <ac:chgData name="Arav Barot" userId="2aabccd7-f410-4c9c-8764-2e3ea0dd7040" providerId="ADAL" clId="{31980283-4BD5-4CB6-811E-EB144DD98B44}" dt="2023-10-16T14:10:10.405" v="453"/>
          <ac:graphicFrameMkLst>
            <pc:docMk/>
            <pc:sldMk cId="832467667" sldId="2147473127"/>
            <ac:graphicFrameMk id="5" creationId="{E259A4A3-E2B9-FF69-6541-25FB1D67116D}"/>
          </ac:graphicFrameMkLst>
        </pc:graphicFrameChg>
        <pc:graphicFrameChg chg="add mod modGraphic">
          <ac:chgData name="Arav Barot" userId="2aabccd7-f410-4c9c-8764-2e3ea0dd7040" providerId="ADAL" clId="{31980283-4BD5-4CB6-811E-EB144DD98B44}" dt="2023-10-16T14:09:12.067" v="435" actId="20577"/>
          <ac:graphicFrameMkLst>
            <pc:docMk/>
            <pc:sldMk cId="832467667" sldId="2147473127"/>
            <ac:graphicFrameMk id="8" creationId="{89F3A395-08E6-8024-D897-D0F5EC53E1E7}"/>
          </ac:graphicFrameMkLst>
        </pc:graphicFrameChg>
        <pc:graphicFrameChg chg="add mod modGraphic">
          <ac:chgData name="Arav Barot" userId="2aabccd7-f410-4c9c-8764-2e3ea0dd7040" providerId="ADAL" clId="{31980283-4BD5-4CB6-811E-EB144DD98B44}" dt="2023-10-16T14:31:11.807" v="654" actId="1076"/>
          <ac:graphicFrameMkLst>
            <pc:docMk/>
            <pc:sldMk cId="832467667" sldId="2147473127"/>
            <ac:graphicFrameMk id="9" creationId="{F3DD721F-5389-1144-5EB0-36845797802A}"/>
          </ac:graphicFrameMkLst>
        </pc:graphicFrameChg>
        <pc:graphicFrameChg chg="add mod modGraphic">
          <ac:chgData name="Arav Barot" userId="2aabccd7-f410-4c9c-8764-2e3ea0dd7040" providerId="ADAL" clId="{31980283-4BD5-4CB6-811E-EB144DD98B44}" dt="2023-10-16T14:31:21.959" v="655" actId="1076"/>
          <ac:graphicFrameMkLst>
            <pc:docMk/>
            <pc:sldMk cId="832467667" sldId="2147473127"/>
            <ac:graphicFrameMk id="17" creationId="{D9286CE1-A6F1-D42F-204D-23C94849C313}"/>
          </ac:graphicFrameMkLst>
        </pc:graphicFrameChg>
        <pc:graphicFrameChg chg="add mod modGraphic">
          <ac:chgData name="Arav Barot" userId="2aabccd7-f410-4c9c-8764-2e3ea0dd7040" providerId="ADAL" clId="{31980283-4BD5-4CB6-811E-EB144DD98B44}" dt="2023-10-16T14:31:05.113" v="653" actId="1076"/>
          <ac:graphicFrameMkLst>
            <pc:docMk/>
            <pc:sldMk cId="832467667" sldId="2147473127"/>
            <ac:graphicFrameMk id="19" creationId="{B072EEFA-2297-6C66-FAE8-76DB16081912}"/>
          </ac:graphicFrameMkLst>
        </pc:graphicFrameChg>
        <pc:graphicFrameChg chg="add mod modGraphic">
          <ac:chgData name="Arav Barot" userId="2aabccd7-f410-4c9c-8764-2e3ea0dd7040" providerId="ADAL" clId="{31980283-4BD5-4CB6-811E-EB144DD98B44}" dt="2023-10-16T14:37:50.216" v="865" actId="1076"/>
          <ac:graphicFrameMkLst>
            <pc:docMk/>
            <pc:sldMk cId="832467667" sldId="2147473127"/>
            <ac:graphicFrameMk id="20" creationId="{36987CE2-27D6-8C88-2193-B498C55E6793}"/>
          </ac:graphicFrameMkLst>
        </pc:graphicFrameChg>
        <pc:picChg chg="del">
          <ac:chgData name="Arav Barot" userId="2aabccd7-f410-4c9c-8764-2e3ea0dd7040" providerId="ADAL" clId="{31980283-4BD5-4CB6-811E-EB144DD98B44}" dt="2023-10-16T13:49:34.749" v="4" actId="478"/>
          <ac:picMkLst>
            <pc:docMk/>
            <pc:sldMk cId="832467667" sldId="2147473127"/>
            <ac:picMk id="14" creationId="{C4F46BF9-5BC3-65B9-5A4B-B361B2405D05}"/>
          </ac:picMkLst>
        </pc:picChg>
        <pc:cxnChg chg="add del mod">
          <ac:chgData name="Arav Barot" userId="2aabccd7-f410-4c9c-8764-2e3ea0dd7040" providerId="ADAL" clId="{31980283-4BD5-4CB6-811E-EB144DD98B44}" dt="2023-10-16T14:08:55.900" v="421" actId="478"/>
          <ac:cxnSpMkLst>
            <pc:docMk/>
            <pc:sldMk cId="832467667" sldId="2147473127"/>
            <ac:cxnSpMk id="11" creationId="{11075E54-3A7A-C9C0-E421-7487A461B8DE}"/>
          </ac:cxnSpMkLst>
        </pc:cxnChg>
      </pc:sldChg>
      <pc:sldChg chg="addSp delSp modSp new mod ord">
        <pc:chgData name="Arav Barot" userId="2aabccd7-f410-4c9c-8764-2e3ea0dd7040" providerId="ADAL" clId="{31980283-4BD5-4CB6-811E-EB144DD98B44}" dt="2023-10-18T11:54:57.348" v="1301" actId="478"/>
        <pc:sldMkLst>
          <pc:docMk/>
          <pc:sldMk cId="349995883" sldId="2147473128"/>
        </pc:sldMkLst>
        <pc:spChg chg="del">
          <ac:chgData name="Arav Barot" userId="2aabccd7-f410-4c9c-8764-2e3ea0dd7040" providerId="ADAL" clId="{31980283-4BD5-4CB6-811E-EB144DD98B44}" dt="2023-10-18T11:25:03.993" v="870" actId="478"/>
          <ac:spMkLst>
            <pc:docMk/>
            <pc:sldMk cId="349995883" sldId="2147473128"/>
            <ac:spMk id="2" creationId="{2594AAF8-3FA6-3D91-FF63-8BD26E13D344}"/>
          </ac:spMkLst>
        </pc:spChg>
        <pc:spChg chg="del">
          <ac:chgData name="Arav Barot" userId="2aabccd7-f410-4c9c-8764-2e3ea0dd7040" providerId="ADAL" clId="{31980283-4BD5-4CB6-811E-EB144DD98B44}" dt="2023-10-18T11:25:01.987" v="869" actId="478"/>
          <ac:spMkLst>
            <pc:docMk/>
            <pc:sldMk cId="349995883" sldId="2147473128"/>
            <ac:spMk id="3" creationId="{89C9626D-7A67-6674-BF64-625E0AF77196}"/>
          </ac:spMkLst>
        </pc:spChg>
        <pc:spChg chg="add del mod">
          <ac:chgData name="Arav Barot" userId="2aabccd7-f410-4c9c-8764-2e3ea0dd7040" providerId="ADAL" clId="{31980283-4BD5-4CB6-811E-EB144DD98B44}" dt="2023-10-18T11:54:55.544" v="1300" actId="478"/>
          <ac:spMkLst>
            <pc:docMk/>
            <pc:sldMk cId="349995883" sldId="2147473128"/>
            <ac:spMk id="9" creationId="{8D3CC61D-139C-D595-9FCF-768A3EB30A72}"/>
          </ac:spMkLst>
        </pc:spChg>
        <pc:spChg chg="add del mod">
          <ac:chgData name="Arav Barot" userId="2aabccd7-f410-4c9c-8764-2e3ea0dd7040" providerId="ADAL" clId="{31980283-4BD5-4CB6-811E-EB144DD98B44}" dt="2023-10-18T11:54:54.007" v="1299" actId="478"/>
          <ac:spMkLst>
            <pc:docMk/>
            <pc:sldMk cId="349995883" sldId="2147473128"/>
            <ac:spMk id="10" creationId="{6CB8A349-E915-513F-BBE2-02B255A93CAC}"/>
          </ac:spMkLst>
        </pc:spChg>
        <pc:spChg chg="add del mod">
          <ac:chgData name="Arav Barot" userId="2aabccd7-f410-4c9c-8764-2e3ea0dd7040" providerId="ADAL" clId="{31980283-4BD5-4CB6-811E-EB144DD98B44}" dt="2023-10-18T11:54:57.348" v="1301" actId="478"/>
          <ac:spMkLst>
            <pc:docMk/>
            <pc:sldMk cId="349995883" sldId="2147473128"/>
            <ac:spMk id="11" creationId="{DD98A7D6-25A4-3284-BDD9-543BE160A369}"/>
          </ac:spMkLst>
        </pc:spChg>
        <pc:picChg chg="add mod">
          <ac:chgData name="Arav Barot" userId="2aabccd7-f410-4c9c-8764-2e3ea0dd7040" providerId="ADAL" clId="{31980283-4BD5-4CB6-811E-EB144DD98B44}" dt="2023-10-18T11:39:37.912" v="890" actId="1076"/>
          <ac:picMkLst>
            <pc:docMk/>
            <pc:sldMk cId="349995883" sldId="2147473128"/>
            <ac:picMk id="8" creationId="{D7BF927E-8871-AF39-F24B-EC084311932D}"/>
          </ac:picMkLst>
        </pc:picChg>
      </pc:sldChg>
      <pc:sldChg chg="add del">
        <pc:chgData name="Arav Barot" userId="2aabccd7-f410-4c9c-8764-2e3ea0dd7040" providerId="ADAL" clId="{31980283-4BD5-4CB6-811E-EB144DD98B44}" dt="2023-10-16T13:51:12.017" v="66" actId="47"/>
        <pc:sldMkLst>
          <pc:docMk/>
          <pc:sldMk cId="3502183302" sldId="2147473128"/>
        </pc:sldMkLst>
      </pc:sldChg>
      <pc:sldChg chg="addSp modSp new mod">
        <pc:chgData name="Arav Barot" userId="2aabccd7-f410-4c9c-8764-2e3ea0dd7040" providerId="ADAL" clId="{31980283-4BD5-4CB6-811E-EB144DD98B44}" dt="2023-10-18T11:54:28.556" v="1298" actId="14100"/>
        <pc:sldMkLst>
          <pc:docMk/>
          <pc:sldMk cId="794277576" sldId="2147473129"/>
        </pc:sldMkLst>
        <pc:spChg chg="mod">
          <ac:chgData name="Arav Barot" userId="2aabccd7-f410-4c9c-8764-2e3ea0dd7040" providerId="ADAL" clId="{31980283-4BD5-4CB6-811E-EB144DD98B44}" dt="2023-10-18T11:41:58.798" v="947" actId="20577"/>
          <ac:spMkLst>
            <pc:docMk/>
            <pc:sldMk cId="794277576" sldId="2147473129"/>
            <ac:spMk id="3" creationId="{01212213-9CE1-988E-686E-1993D204B811}"/>
          </ac:spMkLst>
        </pc:spChg>
        <pc:spChg chg="add mod">
          <ac:chgData name="Arav Barot" userId="2aabccd7-f410-4c9c-8764-2e3ea0dd7040" providerId="ADAL" clId="{31980283-4BD5-4CB6-811E-EB144DD98B44}" dt="2023-10-18T11:50:52.409" v="1270" actId="404"/>
          <ac:spMkLst>
            <pc:docMk/>
            <pc:sldMk cId="794277576" sldId="2147473129"/>
            <ac:spMk id="7" creationId="{B343264D-B43F-E7E2-759F-ED5346B5F410}"/>
          </ac:spMkLst>
        </pc:spChg>
        <pc:spChg chg="add mod">
          <ac:chgData name="Arav Barot" userId="2aabccd7-f410-4c9c-8764-2e3ea0dd7040" providerId="ADAL" clId="{31980283-4BD5-4CB6-811E-EB144DD98B44}" dt="2023-10-18T11:53:24.686" v="1286" actId="14100"/>
          <ac:spMkLst>
            <pc:docMk/>
            <pc:sldMk cId="794277576" sldId="2147473129"/>
            <ac:spMk id="10" creationId="{00A6DA93-9A07-F75F-EB48-9FD46EC34555}"/>
          </ac:spMkLst>
        </pc:spChg>
        <pc:spChg chg="add mod">
          <ac:chgData name="Arav Barot" userId="2aabccd7-f410-4c9c-8764-2e3ea0dd7040" providerId="ADAL" clId="{31980283-4BD5-4CB6-811E-EB144DD98B44}" dt="2023-10-18T11:53:53.141" v="1290" actId="14100"/>
          <ac:spMkLst>
            <pc:docMk/>
            <pc:sldMk cId="794277576" sldId="2147473129"/>
            <ac:spMk id="11" creationId="{3ED673F7-0D66-1B96-E1E9-0C7C622B85F4}"/>
          </ac:spMkLst>
        </pc:spChg>
        <pc:spChg chg="add mod">
          <ac:chgData name="Arav Barot" userId="2aabccd7-f410-4c9c-8764-2e3ea0dd7040" providerId="ADAL" clId="{31980283-4BD5-4CB6-811E-EB144DD98B44}" dt="2023-10-18T11:54:07.781" v="1293" actId="14100"/>
          <ac:spMkLst>
            <pc:docMk/>
            <pc:sldMk cId="794277576" sldId="2147473129"/>
            <ac:spMk id="12" creationId="{43B28BA6-F37D-96F7-8FF6-6AC28D74D519}"/>
          </ac:spMkLst>
        </pc:spChg>
        <pc:spChg chg="add mod">
          <ac:chgData name="Arav Barot" userId="2aabccd7-f410-4c9c-8764-2e3ea0dd7040" providerId="ADAL" clId="{31980283-4BD5-4CB6-811E-EB144DD98B44}" dt="2023-10-18T11:54:18.392" v="1295" actId="1076"/>
          <ac:spMkLst>
            <pc:docMk/>
            <pc:sldMk cId="794277576" sldId="2147473129"/>
            <ac:spMk id="13" creationId="{1314EC66-C189-CA88-2DA0-5A7A9053DAF5}"/>
          </ac:spMkLst>
        </pc:spChg>
        <pc:spChg chg="add mod">
          <ac:chgData name="Arav Barot" userId="2aabccd7-f410-4c9c-8764-2e3ea0dd7040" providerId="ADAL" clId="{31980283-4BD5-4CB6-811E-EB144DD98B44}" dt="2023-10-18T11:54:28.556" v="1298" actId="14100"/>
          <ac:spMkLst>
            <pc:docMk/>
            <pc:sldMk cId="794277576" sldId="2147473129"/>
            <ac:spMk id="14" creationId="{D1175E09-7C73-5DCB-E3F7-5054D791E18B}"/>
          </ac:spMkLst>
        </pc:spChg>
        <pc:picChg chg="add mod">
          <ac:chgData name="Arav Barot" userId="2aabccd7-f410-4c9c-8764-2e3ea0dd7040" providerId="ADAL" clId="{31980283-4BD5-4CB6-811E-EB144DD98B44}" dt="2023-10-18T11:52:15.216" v="1277" actId="1076"/>
          <ac:picMkLst>
            <pc:docMk/>
            <pc:sldMk cId="794277576" sldId="2147473129"/>
            <ac:picMk id="9" creationId="{FA0712C2-4BA1-E568-951D-D6069732115F}"/>
          </ac:picMkLst>
        </pc:picChg>
      </pc:sldChg>
      <pc:sldChg chg="del">
        <pc:chgData name="Arav Barot" userId="2aabccd7-f410-4c9c-8764-2e3ea0dd7040" providerId="ADAL" clId="{31980283-4BD5-4CB6-811E-EB144DD98B44}" dt="2023-10-16T13:49:44.795" v="6" actId="47"/>
        <pc:sldMkLst>
          <pc:docMk/>
          <pc:sldMk cId="1617075167" sldId="2147473129"/>
        </pc:sldMkLst>
      </pc:sldChg>
      <pc:sldChg chg="modSp new del mod">
        <pc:chgData name="Arav Barot" userId="2aabccd7-f410-4c9c-8764-2e3ea0dd7040" providerId="ADAL" clId="{31980283-4BD5-4CB6-811E-EB144DD98B44}" dt="2023-10-18T11:48:18.598" v="1118" actId="2696"/>
        <pc:sldMkLst>
          <pc:docMk/>
          <pc:sldMk cId="343177581" sldId="2147473130"/>
        </pc:sldMkLst>
        <pc:spChg chg="mod">
          <ac:chgData name="Arav Barot" userId="2aabccd7-f410-4c9c-8764-2e3ea0dd7040" providerId="ADAL" clId="{31980283-4BD5-4CB6-811E-EB144DD98B44}" dt="2023-10-18T11:48:10.272" v="1117" actId="20577"/>
          <ac:spMkLst>
            <pc:docMk/>
            <pc:sldMk cId="343177581" sldId="2147473130"/>
            <ac:spMk id="3" creationId="{DE1CE834-F71C-D421-8873-34BFA86E0EDB}"/>
          </ac:spMkLst>
        </pc:spChg>
      </pc:sldChg>
      <pc:sldChg chg="add del">
        <pc:chgData name="Arav Barot" userId="2aabccd7-f410-4c9c-8764-2e3ea0dd7040" providerId="ADAL" clId="{31980283-4BD5-4CB6-811E-EB144DD98B44}" dt="2023-10-16T13:51:10.715" v="65" actId="47"/>
        <pc:sldMkLst>
          <pc:docMk/>
          <pc:sldMk cId="2279832368" sldId="2147473130"/>
        </pc:sldMkLst>
      </pc:sldChg>
      <pc:sldChg chg="addSp modSp new mod">
        <pc:chgData name="Arav Barot" userId="2aabccd7-f410-4c9c-8764-2e3ea0dd7040" providerId="ADAL" clId="{31980283-4BD5-4CB6-811E-EB144DD98B44}" dt="2023-10-18T13:20:05.054" v="4271" actId="20577"/>
        <pc:sldMkLst>
          <pc:docMk/>
          <pc:sldMk cId="3560953545" sldId="2147473130"/>
        </pc:sldMkLst>
        <pc:spChg chg="mod">
          <ac:chgData name="Arav Barot" userId="2aabccd7-f410-4c9c-8764-2e3ea0dd7040" providerId="ADAL" clId="{31980283-4BD5-4CB6-811E-EB144DD98B44}" dt="2023-10-18T11:55:18.016" v="1311" actId="20577"/>
          <ac:spMkLst>
            <pc:docMk/>
            <pc:sldMk cId="3560953545" sldId="2147473130"/>
            <ac:spMk id="3" creationId="{62E15505-9E9D-BCEA-9098-B49093CE126D}"/>
          </ac:spMkLst>
        </pc:spChg>
        <pc:spChg chg="add mod">
          <ac:chgData name="Arav Barot" userId="2aabccd7-f410-4c9c-8764-2e3ea0dd7040" providerId="ADAL" clId="{31980283-4BD5-4CB6-811E-EB144DD98B44}" dt="2023-10-18T13:20:05.054" v="4271" actId="20577"/>
          <ac:spMkLst>
            <pc:docMk/>
            <pc:sldMk cId="3560953545" sldId="2147473130"/>
            <ac:spMk id="7" creationId="{71376506-ED67-824A-9D20-06A3C2A151BD}"/>
          </ac:spMkLst>
        </pc:spChg>
      </pc:sldChg>
      <pc:sldChg chg="addSp modSp new mod">
        <pc:chgData name="Arav Barot" userId="2aabccd7-f410-4c9c-8764-2e3ea0dd7040" providerId="ADAL" clId="{31980283-4BD5-4CB6-811E-EB144DD98B44}" dt="2023-10-18T12:47:16.961" v="3368" actId="20577"/>
        <pc:sldMkLst>
          <pc:docMk/>
          <pc:sldMk cId="1259919303" sldId="2147473131"/>
        </pc:sldMkLst>
        <pc:spChg chg="mod">
          <ac:chgData name="Arav Barot" userId="2aabccd7-f410-4c9c-8764-2e3ea0dd7040" providerId="ADAL" clId="{31980283-4BD5-4CB6-811E-EB144DD98B44}" dt="2023-10-18T12:11:46.597" v="1967" actId="20577"/>
          <ac:spMkLst>
            <pc:docMk/>
            <pc:sldMk cId="1259919303" sldId="2147473131"/>
            <ac:spMk id="3" creationId="{6F52B981-D351-C16A-2EA5-6CBEDEC0F9C1}"/>
          </ac:spMkLst>
        </pc:spChg>
        <pc:spChg chg="add mod">
          <ac:chgData name="Arav Barot" userId="2aabccd7-f410-4c9c-8764-2e3ea0dd7040" providerId="ADAL" clId="{31980283-4BD5-4CB6-811E-EB144DD98B44}" dt="2023-10-18T12:47:16.961" v="3368" actId="20577"/>
          <ac:spMkLst>
            <pc:docMk/>
            <pc:sldMk cId="1259919303" sldId="2147473131"/>
            <ac:spMk id="7" creationId="{267D5311-250A-E9A7-72BE-939C89C9E6B5}"/>
          </ac:spMkLst>
        </pc:spChg>
      </pc:sldChg>
      <pc:sldChg chg="modSp add mod">
        <pc:chgData name="Arav Barot" userId="2aabccd7-f410-4c9c-8764-2e3ea0dd7040" providerId="ADAL" clId="{31980283-4BD5-4CB6-811E-EB144DD98B44}" dt="2023-10-18T12:36:35.083" v="3345" actId="20577"/>
        <pc:sldMkLst>
          <pc:docMk/>
          <pc:sldMk cId="3876837676" sldId="2147473132"/>
        </pc:sldMkLst>
        <pc:spChg chg="mod">
          <ac:chgData name="Arav Barot" userId="2aabccd7-f410-4c9c-8764-2e3ea0dd7040" providerId="ADAL" clId="{31980283-4BD5-4CB6-811E-EB144DD98B44}" dt="2023-10-18T12:24:05.999" v="2533" actId="20577"/>
          <ac:spMkLst>
            <pc:docMk/>
            <pc:sldMk cId="3876837676" sldId="2147473132"/>
            <ac:spMk id="3" creationId="{6F52B981-D351-C16A-2EA5-6CBEDEC0F9C1}"/>
          </ac:spMkLst>
        </pc:spChg>
        <pc:spChg chg="mod">
          <ac:chgData name="Arav Barot" userId="2aabccd7-f410-4c9c-8764-2e3ea0dd7040" providerId="ADAL" clId="{31980283-4BD5-4CB6-811E-EB144DD98B44}" dt="2023-10-18T12:36:35.083" v="3345" actId="20577"/>
          <ac:spMkLst>
            <pc:docMk/>
            <pc:sldMk cId="3876837676" sldId="2147473132"/>
            <ac:spMk id="7" creationId="{267D5311-250A-E9A7-72BE-939C89C9E6B5}"/>
          </ac:spMkLst>
        </pc:spChg>
      </pc:sldChg>
      <pc:sldChg chg="addSp delSp modSp new mod">
        <pc:chgData name="Arav Barot" userId="2aabccd7-f410-4c9c-8764-2e3ea0dd7040" providerId="ADAL" clId="{31980283-4BD5-4CB6-811E-EB144DD98B44}" dt="2023-10-18T12:48:26.650" v="3376" actId="1582"/>
        <pc:sldMkLst>
          <pc:docMk/>
          <pc:sldMk cId="3736348142" sldId="2147473133"/>
        </pc:sldMkLst>
        <pc:spChg chg="del">
          <ac:chgData name="Arav Barot" userId="2aabccd7-f410-4c9c-8764-2e3ea0dd7040" providerId="ADAL" clId="{31980283-4BD5-4CB6-811E-EB144DD98B44}" dt="2023-10-18T12:47:46.909" v="3372" actId="478"/>
          <ac:spMkLst>
            <pc:docMk/>
            <pc:sldMk cId="3736348142" sldId="2147473133"/>
            <ac:spMk id="2" creationId="{BFDA46E0-F75A-6D6D-3C56-CACA95C79C2F}"/>
          </ac:spMkLst>
        </pc:spChg>
        <pc:spChg chg="del">
          <ac:chgData name="Arav Barot" userId="2aabccd7-f410-4c9c-8764-2e3ea0dd7040" providerId="ADAL" clId="{31980283-4BD5-4CB6-811E-EB144DD98B44}" dt="2023-10-18T12:47:44.211" v="3371" actId="478"/>
          <ac:spMkLst>
            <pc:docMk/>
            <pc:sldMk cId="3736348142" sldId="2147473133"/>
            <ac:spMk id="3" creationId="{F1349CA7-3BFA-CBD0-8E63-7D549CF29C87}"/>
          </ac:spMkLst>
        </pc:spChg>
        <pc:spChg chg="add mod">
          <ac:chgData name="Arav Barot" userId="2aabccd7-f410-4c9c-8764-2e3ea0dd7040" providerId="ADAL" clId="{31980283-4BD5-4CB6-811E-EB144DD98B44}" dt="2023-10-18T12:48:26.650" v="3376" actId="1582"/>
          <ac:spMkLst>
            <pc:docMk/>
            <pc:sldMk cId="3736348142" sldId="2147473133"/>
            <ac:spMk id="8" creationId="{87A78138-C841-E2BE-420C-1457A6037893}"/>
          </ac:spMkLst>
        </pc:spChg>
        <pc:picChg chg="add mod">
          <ac:chgData name="Arav Barot" userId="2aabccd7-f410-4c9c-8764-2e3ea0dd7040" providerId="ADAL" clId="{31980283-4BD5-4CB6-811E-EB144DD98B44}" dt="2023-10-18T12:47:39.265" v="3370"/>
          <ac:picMkLst>
            <pc:docMk/>
            <pc:sldMk cId="3736348142" sldId="2147473133"/>
            <ac:picMk id="7" creationId="{5D81CA4B-2510-6AE8-D3C0-FAFF7DFF8209}"/>
          </ac:picMkLst>
        </pc:picChg>
      </pc:sldChg>
      <pc:sldChg chg="modSp add mod">
        <pc:chgData name="Arav Barot" userId="2aabccd7-f410-4c9c-8764-2e3ea0dd7040" providerId="ADAL" clId="{31980283-4BD5-4CB6-811E-EB144DD98B44}" dt="2023-10-18T12:48:52.430" v="3379" actId="14100"/>
        <pc:sldMkLst>
          <pc:docMk/>
          <pc:sldMk cId="991905134" sldId="2147473134"/>
        </pc:sldMkLst>
        <pc:spChg chg="mod">
          <ac:chgData name="Arav Barot" userId="2aabccd7-f410-4c9c-8764-2e3ea0dd7040" providerId="ADAL" clId="{31980283-4BD5-4CB6-811E-EB144DD98B44}" dt="2023-10-18T12:48:52.430" v="3379" actId="14100"/>
          <ac:spMkLst>
            <pc:docMk/>
            <pc:sldMk cId="991905134" sldId="2147473134"/>
            <ac:spMk id="8" creationId="{87A78138-C841-E2BE-420C-1457A6037893}"/>
          </ac:spMkLst>
        </pc:spChg>
      </pc:sldChg>
      <pc:sldChg chg="modSp add mod">
        <pc:chgData name="Arav Barot" userId="2aabccd7-f410-4c9c-8764-2e3ea0dd7040" providerId="ADAL" clId="{31980283-4BD5-4CB6-811E-EB144DD98B44}" dt="2023-10-18T12:49:16.997" v="3382" actId="14100"/>
        <pc:sldMkLst>
          <pc:docMk/>
          <pc:sldMk cId="1008462687" sldId="2147473135"/>
        </pc:sldMkLst>
        <pc:spChg chg="mod">
          <ac:chgData name="Arav Barot" userId="2aabccd7-f410-4c9c-8764-2e3ea0dd7040" providerId="ADAL" clId="{31980283-4BD5-4CB6-811E-EB144DD98B44}" dt="2023-10-18T12:49:16.997" v="3382" actId="14100"/>
          <ac:spMkLst>
            <pc:docMk/>
            <pc:sldMk cId="1008462687" sldId="2147473135"/>
            <ac:spMk id="8" creationId="{87A78138-C841-E2BE-420C-1457A6037893}"/>
          </ac:spMkLst>
        </pc:spChg>
      </pc:sldChg>
      <pc:sldChg chg="new del">
        <pc:chgData name="Arav Barot" userId="2aabccd7-f410-4c9c-8764-2e3ea0dd7040" providerId="ADAL" clId="{31980283-4BD5-4CB6-811E-EB144DD98B44}" dt="2023-10-18T12:51:47.380" v="3384" actId="680"/>
        <pc:sldMkLst>
          <pc:docMk/>
          <pc:sldMk cId="579851064" sldId="2147473136"/>
        </pc:sldMkLst>
      </pc:sldChg>
      <pc:sldChg chg="addSp delSp modSp add mod">
        <pc:chgData name="Arav Barot" userId="2aabccd7-f410-4c9c-8764-2e3ea0dd7040" providerId="ADAL" clId="{31980283-4BD5-4CB6-811E-EB144DD98B44}" dt="2023-10-18T14:31:42.875" v="4520" actId="20577"/>
        <pc:sldMkLst>
          <pc:docMk/>
          <pc:sldMk cId="2655572524" sldId="2147473136"/>
        </pc:sldMkLst>
        <pc:spChg chg="mod">
          <ac:chgData name="Arav Barot" userId="2aabccd7-f410-4c9c-8764-2e3ea0dd7040" providerId="ADAL" clId="{31980283-4BD5-4CB6-811E-EB144DD98B44}" dt="2023-10-18T14:31:19.745" v="4501" actId="20577"/>
          <ac:spMkLst>
            <pc:docMk/>
            <pc:sldMk cId="2655572524" sldId="2147473136"/>
            <ac:spMk id="3" creationId="{6F52B981-D351-C16A-2EA5-6CBEDEC0F9C1}"/>
          </ac:spMkLst>
        </pc:spChg>
        <pc:spChg chg="mod">
          <ac:chgData name="Arav Barot" userId="2aabccd7-f410-4c9c-8764-2e3ea0dd7040" providerId="ADAL" clId="{31980283-4BD5-4CB6-811E-EB144DD98B44}" dt="2023-10-18T14:31:42.875" v="4520" actId="20577"/>
          <ac:spMkLst>
            <pc:docMk/>
            <pc:sldMk cId="2655572524" sldId="2147473136"/>
            <ac:spMk id="7" creationId="{267D5311-250A-E9A7-72BE-939C89C9E6B5}"/>
          </ac:spMkLst>
        </pc:spChg>
        <pc:picChg chg="add del mod">
          <ac:chgData name="Arav Barot" userId="2aabccd7-f410-4c9c-8764-2e3ea0dd7040" providerId="ADAL" clId="{31980283-4BD5-4CB6-811E-EB144DD98B44}" dt="2023-10-18T14:12:36.090" v="4382"/>
          <ac:picMkLst>
            <pc:docMk/>
            <pc:sldMk cId="2655572524" sldId="2147473136"/>
            <ac:picMk id="8" creationId="{C1F7B1CA-E258-A02C-CB13-F98337C9D883}"/>
          </ac:picMkLst>
        </pc:picChg>
      </pc:sldChg>
      <pc:sldChg chg="addSp modSp add mod">
        <pc:chgData name="Arav Barot" userId="2aabccd7-f410-4c9c-8764-2e3ea0dd7040" providerId="ADAL" clId="{31980283-4BD5-4CB6-811E-EB144DD98B44}" dt="2023-10-18T14:32:07.597" v="4525" actId="14100"/>
        <pc:sldMkLst>
          <pc:docMk/>
          <pc:sldMk cId="1832206218" sldId="2147473137"/>
        </pc:sldMkLst>
        <pc:spChg chg="add mod">
          <ac:chgData name="Arav Barot" userId="2aabccd7-f410-4c9c-8764-2e3ea0dd7040" providerId="ADAL" clId="{31980283-4BD5-4CB6-811E-EB144DD98B44}" dt="2023-10-18T14:32:07.597" v="4525" actId="14100"/>
          <ac:spMkLst>
            <pc:docMk/>
            <pc:sldMk cId="1832206218" sldId="2147473137"/>
            <ac:spMk id="2" creationId="{DFF81E6C-F1D8-72A7-C76B-C8C9727F1E02}"/>
          </ac:spMkLst>
        </pc:spChg>
        <pc:spChg chg="mod">
          <ac:chgData name="Arav Barot" userId="2aabccd7-f410-4c9c-8764-2e3ea0dd7040" providerId="ADAL" clId="{31980283-4BD5-4CB6-811E-EB144DD98B44}" dt="2023-10-18T14:12:52.325" v="4386" actId="1076"/>
          <ac:spMkLst>
            <pc:docMk/>
            <pc:sldMk cId="1832206218" sldId="2147473137"/>
            <ac:spMk id="8" creationId="{87A78138-C841-E2BE-420C-1457A6037893}"/>
          </ac:spMkLst>
        </pc:spChg>
        <pc:picChg chg="mod">
          <ac:chgData name="Arav Barot" userId="2aabccd7-f410-4c9c-8764-2e3ea0dd7040" providerId="ADAL" clId="{31980283-4BD5-4CB6-811E-EB144DD98B44}" dt="2023-10-18T14:32:00.181" v="4523" actId="1076"/>
          <ac:picMkLst>
            <pc:docMk/>
            <pc:sldMk cId="1832206218" sldId="2147473137"/>
            <ac:picMk id="7" creationId="{5D81CA4B-2510-6AE8-D3C0-FAFF7DFF8209}"/>
          </ac:picMkLst>
        </pc:picChg>
      </pc:sldChg>
    </pc:docChg>
  </pc:docChgLst>
  <pc:docChgLst>
    <pc:chgData name="Arav Barot" userId="2aabccd7-f410-4c9c-8764-2e3ea0dd7040" providerId="ADAL" clId="{A19E6C28-CF64-4719-BF91-7807FFD82BEB}"/>
    <pc:docChg chg="undo custSel addSld delSld modSld sldOrd">
      <pc:chgData name="Arav Barot" userId="2aabccd7-f410-4c9c-8764-2e3ea0dd7040" providerId="ADAL" clId="{A19E6C28-CF64-4719-BF91-7807FFD82BEB}" dt="2023-11-21T12:35:02.647" v="2934" actId="20577"/>
      <pc:docMkLst>
        <pc:docMk/>
      </pc:docMkLst>
      <pc:sldChg chg="del">
        <pc:chgData name="Arav Barot" userId="2aabccd7-f410-4c9c-8764-2e3ea0dd7040" providerId="ADAL" clId="{A19E6C28-CF64-4719-BF91-7807FFD82BEB}" dt="2023-11-14T09:08:13.302" v="3" actId="47"/>
        <pc:sldMkLst>
          <pc:docMk/>
          <pc:sldMk cId="2128846026" sldId="2147473128"/>
        </pc:sldMkLst>
      </pc:sldChg>
      <pc:sldChg chg="ord">
        <pc:chgData name="Arav Barot" userId="2aabccd7-f410-4c9c-8764-2e3ea0dd7040" providerId="ADAL" clId="{A19E6C28-CF64-4719-BF91-7807FFD82BEB}" dt="2023-11-14T09:07:50.564" v="2"/>
        <pc:sldMkLst>
          <pc:docMk/>
          <pc:sldMk cId="2501430157" sldId="2147473129"/>
        </pc:sldMkLst>
      </pc:sldChg>
      <pc:sldChg chg="modSp mod ord">
        <pc:chgData name="Arav Barot" userId="2aabccd7-f410-4c9c-8764-2e3ea0dd7040" providerId="ADAL" clId="{A19E6C28-CF64-4719-BF91-7807FFD82BEB}" dt="2023-11-21T11:58:11.798" v="1602"/>
        <pc:sldMkLst>
          <pc:docMk/>
          <pc:sldMk cId="1594670965" sldId="2147473130"/>
        </pc:sldMkLst>
        <pc:spChg chg="mod">
          <ac:chgData name="Arav Barot" userId="2aabccd7-f410-4c9c-8764-2e3ea0dd7040" providerId="ADAL" clId="{A19E6C28-CF64-4719-BF91-7807FFD82BEB}" dt="2023-11-21T11:53:47.763" v="1372" actId="20577"/>
          <ac:spMkLst>
            <pc:docMk/>
            <pc:sldMk cId="1594670965" sldId="2147473130"/>
            <ac:spMk id="2" creationId="{16D583EA-D274-DB9E-84A0-97B856B4CF06}"/>
          </ac:spMkLst>
        </pc:spChg>
        <pc:spChg chg="mod">
          <ac:chgData name="Arav Barot" userId="2aabccd7-f410-4c9c-8764-2e3ea0dd7040" providerId="ADAL" clId="{A19E6C28-CF64-4719-BF91-7807FFD82BEB}" dt="2023-11-21T11:53:18.549" v="1325" actId="20577"/>
          <ac:spMkLst>
            <pc:docMk/>
            <pc:sldMk cId="1594670965" sldId="2147473130"/>
            <ac:spMk id="3" creationId="{99BAFB4D-FCC8-CADB-BCDD-C5DAC15D9497}"/>
          </ac:spMkLst>
        </pc:spChg>
        <pc:spChg chg="mod">
          <ac:chgData name="Arav Barot" userId="2aabccd7-f410-4c9c-8764-2e3ea0dd7040" providerId="ADAL" clId="{A19E6C28-CF64-4719-BF91-7807FFD82BEB}" dt="2023-11-14T09:20:51.763" v="614" actId="34135"/>
          <ac:spMkLst>
            <pc:docMk/>
            <pc:sldMk cId="1594670965" sldId="2147473130"/>
            <ac:spMk id="7" creationId="{8D6C4E42-EEA0-98AF-4AE0-428623604E1F}"/>
          </ac:spMkLst>
        </pc:spChg>
        <pc:graphicFrameChg chg="mod modGraphic">
          <ac:chgData name="Arav Barot" userId="2aabccd7-f410-4c9c-8764-2e3ea0dd7040" providerId="ADAL" clId="{A19E6C28-CF64-4719-BF91-7807FFD82BEB}" dt="2023-11-21T11:55:23.299" v="1598" actId="20577"/>
          <ac:graphicFrameMkLst>
            <pc:docMk/>
            <pc:sldMk cId="1594670965" sldId="2147473130"/>
            <ac:graphicFrameMk id="10" creationId="{F2CF7F64-B806-3EDB-ABEE-97A844628204}"/>
          </ac:graphicFrameMkLst>
        </pc:graphicFrameChg>
      </pc:sldChg>
      <pc:sldChg chg="modSp mod">
        <pc:chgData name="Arav Barot" userId="2aabccd7-f410-4c9c-8764-2e3ea0dd7040" providerId="ADAL" clId="{A19E6C28-CF64-4719-BF91-7807FFD82BEB}" dt="2023-11-14T09:11:17.226" v="204" actId="14100"/>
        <pc:sldMkLst>
          <pc:docMk/>
          <pc:sldMk cId="82771601" sldId="2147473131"/>
        </pc:sldMkLst>
        <pc:spChg chg="mod">
          <ac:chgData name="Arav Barot" userId="2aabccd7-f410-4c9c-8764-2e3ea0dd7040" providerId="ADAL" clId="{A19E6C28-CF64-4719-BF91-7807FFD82BEB}" dt="2023-11-14T09:11:17.226" v="204" actId="14100"/>
          <ac:spMkLst>
            <pc:docMk/>
            <pc:sldMk cId="82771601" sldId="2147473131"/>
            <ac:spMk id="2" creationId="{67025DB1-6433-E5F3-7AA1-8E9FCEC163B2}"/>
          </ac:spMkLst>
        </pc:spChg>
      </pc:sldChg>
      <pc:sldChg chg="del">
        <pc:chgData name="Arav Barot" userId="2aabccd7-f410-4c9c-8764-2e3ea0dd7040" providerId="ADAL" clId="{A19E6C28-CF64-4719-BF91-7807FFD82BEB}" dt="2023-11-14T09:08:13.302" v="3" actId="47"/>
        <pc:sldMkLst>
          <pc:docMk/>
          <pc:sldMk cId="3476172999" sldId="2147473132"/>
        </pc:sldMkLst>
      </pc:sldChg>
      <pc:sldChg chg="del">
        <pc:chgData name="Arav Barot" userId="2aabccd7-f410-4c9c-8764-2e3ea0dd7040" providerId="ADAL" clId="{A19E6C28-CF64-4719-BF91-7807FFD82BEB}" dt="2023-11-14T09:08:13.302" v="3" actId="47"/>
        <pc:sldMkLst>
          <pc:docMk/>
          <pc:sldMk cId="739512461" sldId="2147473133"/>
        </pc:sldMkLst>
      </pc:sldChg>
      <pc:sldChg chg="del">
        <pc:chgData name="Arav Barot" userId="2aabccd7-f410-4c9c-8764-2e3ea0dd7040" providerId="ADAL" clId="{A19E6C28-CF64-4719-BF91-7807FFD82BEB}" dt="2023-11-14T09:08:13.302" v="3" actId="47"/>
        <pc:sldMkLst>
          <pc:docMk/>
          <pc:sldMk cId="2727372363" sldId="2147473134"/>
        </pc:sldMkLst>
      </pc:sldChg>
      <pc:sldChg chg="del">
        <pc:chgData name="Arav Barot" userId="2aabccd7-f410-4c9c-8764-2e3ea0dd7040" providerId="ADAL" clId="{A19E6C28-CF64-4719-BF91-7807FFD82BEB}" dt="2023-11-14T09:08:13.302" v="3" actId="47"/>
        <pc:sldMkLst>
          <pc:docMk/>
          <pc:sldMk cId="2338084468" sldId="2147473135"/>
        </pc:sldMkLst>
      </pc:sldChg>
      <pc:sldChg chg="del">
        <pc:chgData name="Arav Barot" userId="2aabccd7-f410-4c9c-8764-2e3ea0dd7040" providerId="ADAL" clId="{A19E6C28-CF64-4719-BF91-7807FFD82BEB}" dt="2023-11-14T09:11:00.903" v="194" actId="2696"/>
        <pc:sldMkLst>
          <pc:docMk/>
          <pc:sldMk cId="3896115294" sldId="2147473137"/>
        </pc:sldMkLst>
      </pc:sldChg>
      <pc:sldChg chg="del">
        <pc:chgData name="Arav Barot" userId="2aabccd7-f410-4c9c-8764-2e3ea0dd7040" providerId="ADAL" clId="{A19E6C28-CF64-4719-BF91-7807FFD82BEB}" dt="2023-11-14T09:11:00.903" v="194" actId="2696"/>
        <pc:sldMkLst>
          <pc:docMk/>
          <pc:sldMk cId="3212157678" sldId="2147473138"/>
        </pc:sldMkLst>
      </pc:sldChg>
      <pc:sldChg chg="del">
        <pc:chgData name="Arav Barot" userId="2aabccd7-f410-4c9c-8764-2e3ea0dd7040" providerId="ADAL" clId="{A19E6C28-CF64-4719-BF91-7807FFD82BEB}" dt="2023-11-14T09:11:00.903" v="194" actId="2696"/>
        <pc:sldMkLst>
          <pc:docMk/>
          <pc:sldMk cId="312222443" sldId="2147473139"/>
        </pc:sldMkLst>
      </pc:sldChg>
      <pc:sldChg chg="del">
        <pc:chgData name="Arav Barot" userId="2aabccd7-f410-4c9c-8764-2e3ea0dd7040" providerId="ADAL" clId="{A19E6C28-CF64-4719-BF91-7807FFD82BEB}" dt="2023-11-14T09:11:00.903" v="194" actId="2696"/>
        <pc:sldMkLst>
          <pc:docMk/>
          <pc:sldMk cId="3617700994" sldId="2147473140"/>
        </pc:sldMkLst>
      </pc:sldChg>
      <pc:sldChg chg="del">
        <pc:chgData name="Arav Barot" userId="2aabccd7-f410-4c9c-8764-2e3ea0dd7040" providerId="ADAL" clId="{A19E6C28-CF64-4719-BF91-7807FFD82BEB}" dt="2023-11-14T09:08:13.302" v="3" actId="47"/>
        <pc:sldMkLst>
          <pc:docMk/>
          <pc:sldMk cId="275253377" sldId="2147473141"/>
        </pc:sldMkLst>
      </pc:sldChg>
      <pc:sldChg chg="del">
        <pc:chgData name="Arav Barot" userId="2aabccd7-f410-4c9c-8764-2e3ea0dd7040" providerId="ADAL" clId="{A19E6C28-CF64-4719-BF91-7807FFD82BEB}" dt="2023-11-14T09:11:00.903" v="194" actId="2696"/>
        <pc:sldMkLst>
          <pc:docMk/>
          <pc:sldMk cId="2709157278" sldId="2147473142"/>
        </pc:sldMkLst>
      </pc:sldChg>
      <pc:sldChg chg="del">
        <pc:chgData name="Arav Barot" userId="2aabccd7-f410-4c9c-8764-2e3ea0dd7040" providerId="ADAL" clId="{A19E6C28-CF64-4719-BF91-7807FFD82BEB}" dt="2023-11-14T09:11:00.903" v="194" actId="2696"/>
        <pc:sldMkLst>
          <pc:docMk/>
          <pc:sldMk cId="1423257771" sldId="2147473144"/>
        </pc:sldMkLst>
      </pc:sldChg>
      <pc:sldChg chg="del">
        <pc:chgData name="Arav Barot" userId="2aabccd7-f410-4c9c-8764-2e3ea0dd7040" providerId="ADAL" clId="{A19E6C28-CF64-4719-BF91-7807FFD82BEB}" dt="2023-11-14T09:08:13.302" v="3" actId="47"/>
        <pc:sldMkLst>
          <pc:docMk/>
          <pc:sldMk cId="2536722643" sldId="2147473145"/>
        </pc:sldMkLst>
      </pc:sldChg>
      <pc:sldChg chg="del">
        <pc:chgData name="Arav Barot" userId="2aabccd7-f410-4c9c-8764-2e3ea0dd7040" providerId="ADAL" clId="{A19E6C28-CF64-4719-BF91-7807FFD82BEB}" dt="2023-11-14T09:08:13.302" v="3" actId="47"/>
        <pc:sldMkLst>
          <pc:docMk/>
          <pc:sldMk cId="3100430628" sldId="2147473146"/>
        </pc:sldMkLst>
      </pc:sldChg>
      <pc:sldChg chg="del">
        <pc:chgData name="Arav Barot" userId="2aabccd7-f410-4c9c-8764-2e3ea0dd7040" providerId="ADAL" clId="{A19E6C28-CF64-4719-BF91-7807FFD82BEB}" dt="2023-11-14T09:08:43.960" v="12" actId="47"/>
        <pc:sldMkLst>
          <pc:docMk/>
          <pc:sldMk cId="3433144530" sldId="2147473147"/>
        </pc:sldMkLst>
      </pc:sldChg>
      <pc:sldChg chg="del">
        <pc:chgData name="Arav Barot" userId="2aabccd7-f410-4c9c-8764-2e3ea0dd7040" providerId="ADAL" clId="{A19E6C28-CF64-4719-BF91-7807FFD82BEB}" dt="2023-11-14T09:08:43.960" v="12" actId="47"/>
        <pc:sldMkLst>
          <pc:docMk/>
          <pc:sldMk cId="1711726476" sldId="2147473148"/>
        </pc:sldMkLst>
      </pc:sldChg>
      <pc:sldChg chg="del">
        <pc:chgData name="Arav Barot" userId="2aabccd7-f410-4c9c-8764-2e3ea0dd7040" providerId="ADAL" clId="{A19E6C28-CF64-4719-BF91-7807FFD82BEB}" dt="2023-11-14T09:11:00.903" v="194" actId="2696"/>
        <pc:sldMkLst>
          <pc:docMk/>
          <pc:sldMk cId="1342193621" sldId="2147473149"/>
        </pc:sldMkLst>
      </pc:sldChg>
      <pc:sldChg chg="del">
        <pc:chgData name="Arav Barot" userId="2aabccd7-f410-4c9c-8764-2e3ea0dd7040" providerId="ADAL" clId="{A19E6C28-CF64-4719-BF91-7807FFD82BEB}" dt="2023-11-14T09:08:13.302" v="3" actId="47"/>
        <pc:sldMkLst>
          <pc:docMk/>
          <pc:sldMk cId="2836116360" sldId="2147473150"/>
        </pc:sldMkLst>
      </pc:sldChg>
      <pc:sldChg chg="del">
        <pc:chgData name="Arav Barot" userId="2aabccd7-f410-4c9c-8764-2e3ea0dd7040" providerId="ADAL" clId="{A19E6C28-CF64-4719-BF91-7807FFD82BEB}" dt="2023-11-14T09:07:49.073" v="0" actId="47"/>
        <pc:sldMkLst>
          <pc:docMk/>
          <pc:sldMk cId="2252440996" sldId="2147473151"/>
        </pc:sldMkLst>
      </pc:sldChg>
      <pc:sldChg chg="del">
        <pc:chgData name="Arav Barot" userId="2aabccd7-f410-4c9c-8764-2e3ea0dd7040" providerId="ADAL" clId="{A19E6C28-CF64-4719-BF91-7807FFD82BEB}" dt="2023-11-14T09:08:13.302" v="3" actId="47"/>
        <pc:sldMkLst>
          <pc:docMk/>
          <pc:sldMk cId="1994704970" sldId="2147473154"/>
        </pc:sldMkLst>
      </pc:sldChg>
      <pc:sldChg chg="del">
        <pc:chgData name="Arav Barot" userId="2aabccd7-f410-4c9c-8764-2e3ea0dd7040" providerId="ADAL" clId="{A19E6C28-CF64-4719-BF91-7807FFD82BEB}" dt="2023-11-14T09:07:49.073" v="0" actId="47"/>
        <pc:sldMkLst>
          <pc:docMk/>
          <pc:sldMk cId="389590637" sldId="2147473155"/>
        </pc:sldMkLst>
      </pc:sldChg>
      <pc:sldChg chg="del">
        <pc:chgData name="Arav Barot" userId="2aabccd7-f410-4c9c-8764-2e3ea0dd7040" providerId="ADAL" clId="{A19E6C28-CF64-4719-BF91-7807FFD82BEB}" dt="2023-11-14T09:08:13.302" v="3" actId="47"/>
        <pc:sldMkLst>
          <pc:docMk/>
          <pc:sldMk cId="1461363788" sldId="2147473156"/>
        </pc:sldMkLst>
      </pc:sldChg>
      <pc:sldChg chg="del">
        <pc:chgData name="Arav Barot" userId="2aabccd7-f410-4c9c-8764-2e3ea0dd7040" providerId="ADAL" clId="{A19E6C28-CF64-4719-BF91-7807FFD82BEB}" dt="2023-11-14T09:08:13.302" v="3" actId="47"/>
        <pc:sldMkLst>
          <pc:docMk/>
          <pc:sldMk cId="2933940914" sldId="2147473157"/>
        </pc:sldMkLst>
      </pc:sldChg>
      <pc:sldChg chg="addSp modSp add mod">
        <pc:chgData name="Arav Barot" userId="2aabccd7-f410-4c9c-8764-2e3ea0dd7040" providerId="ADAL" clId="{A19E6C28-CF64-4719-BF91-7807FFD82BEB}" dt="2023-11-21T12:15:54.665" v="1833"/>
        <pc:sldMkLst>
          <pc:docMk/>
          <pc:sldMk cId="1574358128" sldId="2147473158"/>
        </pc:sldMkLst>
        <pc:spChg chg="mod">
          <ac:chgData name="Arav Barot" userId="2aabccd7-f410-4c9c-8764-2e3ea0dd7040" providerId="ADAL" clId="{A19E6C28-CF64-4719-BF91-7807FFD82BEB}" dt="2023-11-21T12:15:54.665" v="1833"/>
          <ac:spMkLst>
            <pc:docMk/>
            <pc:sldMk cId="1574358128" sldId="2147473158"/>
            <ac:spMk id="2" creationId="{B0611D2C-898F-7E92-46A2-25176ECD3853}"/>
          </ac:spMkLst>
        </pc:spChg>
        <pc:spChg chg="add mod ord">
          <ac:chgData name="Arav Barot" userId="2aabccd7-f410-4c9c-8764-2e3ea0dd7040" providerId="ADAL" clId="{A19E6C28-CF64-4719-BF91-7807FFD82BEB}" dt="2023-11-14T09:23:53.690" v="636" actId="14100"/>
          <ac:spMkLst>
            <pc:docMk/>
            <pc:sldMk cId="1574358128" sldId="2147473158"/>
            <ac:spMk id="8" creationId="{B8B7D561-20A4-2F39-CE3A-8D8A540FB10F}"/>
          </ac:spMkLst>
        </pc:spChg>
        <pc:spChg chg="add mod">
          <ac:chgData name="Arav Barot" userId="2aabccd7-f410-4c9c-8764-2e3ea0dd7040" providerId="ADAL" clId="{A19E6C28-CF64-4719-BF91-7807FFD82BEB}" dt="2023-11-14T09:21:14.839" v="619" actId="34135"/>
          <ac:spMkLst>
            <pc:docMk/>
            <pc:sldMk cId="1574358128" sldId="2147473158"/>
            <ac:spMk id="9" creationId="{4FFA04EA-361A-F4F6-3A96-725483C52C46}"/>
          </ac:spMkLst>
        </pc:spChg>
        <pc:spChg chg="mod">
          <ac:chgData name="Arav Barot" userId="2aabccd7-f410-4c9c-8764-2e3ea0dd7040" providerId="ADAL" clId="{A19E6C28-CF64-4719-BF91-7807FFD82BEB}" dt="2023-11-14T09:31:05.287" v="1211" actId="20577"/>
          <ac:spMkLst>
            <pc:docMk/>
            <pc:sldMk cId="1574358128" sldId="2147473158"/>
            <ac:spMk id="11" creationId="{70C3FF8C-FED7-E01F-C908-D2424150C049}"/>
          </ac:spMkLst>
        </pc:spChg>
        <pc:spChg chg="mod">
          <ac:chgData name="Arav Barot" userId="2aabccd7-f410-4c9c-8764-2e3ea0dd7040" providerId="ADAL" clId="{A19E6C28-CF64-4719-BF91-7807FFD82BEB}" dt="2023-11-14T09:24:30.936" v="728" actId="20577"/>
          <ac:spMkLst>
            <pc:docMk/>
            <pc:sldMk cId="1574358128" sldId="2147473158"/>
            <ac:spMk id="12" creationId="{1CB7F3D0-5656-08D9-8FE1-0528876BCB0C}"/>
          </ac:spMkLst>
        </pc:spChg>
        <pc:spChg chg="add mod ord">
          <ac:chgData name="Arav Barot" userId="2aabccd7-f410-4c9c-8764-2e3ea0dd7040" providerId="ADAL" clId="{A19E6C28-CF64-4719-BF91-7807FFD82BEB}" dt="2023-11-14T09:32:25.598" v="1229" actId="167"/>
          <ac:spMkLst>
            <pc:docMk/>
            <pc:sldMk cId="1574358128" sldId="2147473158"/>
            <ac:spMk id="14" creationId="{C82770FE-11D0-CD28-765C-A72EF14E4864}"/>
          </ac:spMkLst>
        </pc:spChg>
        <pc:grpChg chg="add mod">
          <ac:chgData name="Arav Barot" userId="2aabccd7-f410-4c9c-8764-2e3ea0dd7040" providerId="ADAL" clId="{A19E6C28-CF64-4719-BF91-7807FFD82BEB}" dt="2023-11-14T09:32:08.865" v="1227" actId="14100"/>
          <ac:grpSpMkLst>
            <pc:docMk/>
            <pc:sldMk cId="1574358128" sldId="2147473158"/>
            <ac:grpSpMk id="10" creationId="{EB7C82B1-73B5-8410-4908-7044F30D1277}"/>
          </ac:grpSpMkLst>
        </pc:grpChg>
        <pc:picChg chg="mod">
          <ac:chgData name="Arav Barot" userId="2aabccd7-f410-4c9c-8764-2e3ea0dd7040" providerId="ADAL" clId="{A19E6C28-CF64-4719-BF91-7807FFD82BEB}" dt="2023-11-14T09:23:48.394" v="635" actId="1076"/>
          <ac:picMkLst>
            <pc:docMk/>
            <pc:sldMk cId="1574358128" sldId="2147473158"/>
            <ac:picMk id="7" creationId="{200868C6-F020-2D6E-666C-73A07970E506}"/>
          </ac:picMkLst>
        </pc:picChg>
        <pc:picChg chg="add mod">
          <ac:chgData name="Arav Barot" userId="2aabccd7-f410-4c9c-8764-2e3ea0dd7040" providerId="ADAL" clId="{A19E6C28-CF64-4719-BF91-7807FFD82BEB}" dt="2023-11-14T09:32:31.564" v="1231" actId="1076"/>
          <ac:picMkLst>
            <pc:docMk/>
            <pc:sldMk cId="1574358128" sldId="2147473158"/>
            <ac:picMk id="13" creationId="{7670F4E7-91D7-B052-CD1F-6674AE6C39CC}"/>
          </ac:picMkLst>
        </pc:picChg>
      </pc:sldChg>
      <pc:sldChg chg="del">
        <pc:chgData name="Arav Barot" userId="2aabccd7-f410-4c9c-8764-2e3ea0dd7040" providerId="ADAL" clId="{A19E6C28-CF64-4719-BF91-7807FFD82BEB}" dt="2023-11-14T09:08:53.653" v="13" actId="2696"/>
        <pc:sldMkLst>
          <pc:docMk/>
          <pc:sldMk cId="1667395650" sldId="2147473158"/>
        </pc:sldMkLst>
      </pc:sldChg>
      <pc:sldChg chg="del">
        <pc:chgData name="Arav Barot" userId="2aabccd7-f410-4c9c-8764-2e3ea0dd7040" providerId="ADAL" clId="{A19E6C28-CF64-4719-BF91-7807FFD82BEB}" dt="2023-11-14T09:08:13.302" v="3" actId="47"/>
        <pc:sldMkLst>
          <pc:docMk/>
          <pc:sldMk cId="2115580233" sldId="2147473159"/>
        </pc:sldMkLst>
      </pc:sldChg>
      <pc:sldChg chg="del">
        <pc:chgData name="Arav Barot" userId="2aabccd7-f410-4c9c-8764-2e3ea0dd7040" providerId="ADAL" clId="{A19E6C28-CF64-4719-BF91-7807FFD82BEB}" dt="2023-11-14T09:08:13.302" v="3" actId="47"/>
        <pc:sldMkLst>
          <pc:docMk/>
          <pc:sldMk cId="3604445969" sldId="2147473160"/>
        </pc:sldMkLst>
      </pc:sldChg>
      <pc:sldChg chg="del">
        <pc:chgData name="Arav Barot" userId="2aabccd7-f410-4c9c-8764-2e3ea0dd7040" providerId="ADAL" clId="{A19E6C28-CF64-4719-BF91-7807FFD82BEB}" dt="2023-11-14T09:08:13.302" v="3" actId="47"/>
        <pc:sldMkLst>
          <pc:docMk/>
          <pc:sldMk cId="2887313516" sldId="2147473161"/>
        </pc:sldMkLst>
      </pc:sldChg>
      <pc:sldChg chg="del">
        <pc:chgData name="Arav Barot" userId="2aabccd7-f410-4c9c-8764-2e3ea0dd7040" providerId="ADAL" clId="{A19E6C28-CF64-4719-BF91-7807FFD82BEB}" dt="2023-11-14T09:08:13.302" v="3" actId="47"/>
        <pc:sldMkLst>
          <pc:docMk/>
          <pc:sldMk cId="3700014627" sldId="2147473162"/>
        </pc:sldMkLst>
      </pc:sldChg>
      <pc:sldChg chg="del">
        <pc:chgData name="Arav Barot" userId="2aabccd7-f410-4c9c-8764-2e3ea0dd7040" providerId="ADAL" clId="{A19E6C28-CF64-4719-BF91-7807FFD82BEB}" dt="2023-11-14T09:08:13.302" v="3" actId="47"/>
        <pc:sldMkLst>
          <pc:docMk/>
          <pc:sldMk cId="3942461327" sldId="2147473163"/>
        </pc:sldMkLst>
      </pc:sldChg>
      <pc:sldChg chg="del">
        <pc:chgData name="Arav Barot" userId="2aabccd7-f410-4c9c-8764-2e3ea0dd7040" providerId="ADAL" clId="{A19E6C28-CF64-4719-BF91-7807FFD82BEB}" dt="2023-11-14T09:11:00.903" v="194" actId="2696"/>
        <pc:sldMkLst>
          <pc:docMk/>
          <pc:sldMk cId="2340397703" sldId="2147473164"/>
        </pc:sldMkLst>
      </pc:sldChg>
      <pc:sldChg chg="del">
        <pc:chgData name="Arav Barot" userId="2aabccd7-f410-4c9c-8764-2e3ea0dd7040" providerId="ADAL" clId="{A19E6C28-CF64-4719-BF91-7807FFD82BEB}" dt="2023-11-14T09:08:13.302" v="3" actId="47"/>
        <pc:sldMkLst>
          <pc:docMk/>
          <pc:sldMk cId="1208467510" sldId="2147473165"/>
        </pc:sldMkLst>
      </pc:sldChg>
      <pc:sldChg chg="addSp delSp modSp mod">
        <pc:chgData name="Arav Barot" userId="2aabccd7-f410-4c9c-8764-2e3ea0dd7040" providerId="ADAL" clId="{A19E6C28-CF64-4719-BF91-7807FFD82BEB}" dt="2023-11-21T12:15:27.078" v="1743"/>
        <pc:sldMkLst>
          <pc:docMk/>
          <pc:sldMk cId="685667255" sldId="2147473166"/>
        </pc:sldMkLst>
        <pc:spChg chg="mod">
          <ac:chgData name="Arav Barot" userId="2aabccd7-f410-4c9c-8764-2e3ea0dd7040" providerId="ADAL" clId="{A19E6C28-CF64-4719-BF91-7807FFD82BEB}" dt="2023-11-21T12:15:27.078" v="1743"/>
          <ac:spMkLst>
            <pc:docMk/>
            <pc:sldMk cId="685667255" sldId="2147473166"/>
            <ac:spMk id="2" creationId="{C17794AD-D951-85B0-D20A-AF1467060A1C}"/>
          </ac:spMkLst>
        </pc:spChg>
        <pc:spChg chg="add del mod">
          <ac:chgData name="Arav Barot" userId="2aabccd7-f410-4c9c-8764-2e3ea0dd7040" providerId="ADAL" clId="{A19E6C28-CF64-4719-BF91-7807FFD82BEB}" dt="2023-11-14T09:20:21.679" v="607"/>
          <ac:spMkLst>
            <pc:docMk/>
            <pc:sldMk cId="685667255" sldId="2147473166"/>
            <ac:spMk id="11" creationId="{595228BF-C3EE-03D9-34A8-007CC0395180}"/>
          </ac:spMkLst>
        </pc:spChg>
        <pc:spChg chg="add mod">
          <ac:chgData name="Arav Barot" userId="2aabccd7-f410-4c9c-8764-2e3ea0dd7040" providerId="ADAL" clId="{A19E6C28-CF64-4719-BF91-7807FFD82BEB}" dt="2023-11-14T09:20:56.390" v="615" actId="34135"/>
          <ac:spMkLst>
            <pc:docMk/>
            <pc:sldMk cId="685667255" sldId="2147473166"/>
            <ac:spMk id="13" creationId="{30B15B01-A786-E4CC-65E6-F2CD1CD9431B}"/>
          </ac:spMkLst>
        </pc:spChg>
      </pc:sldChg>
      <pc:sldChg chg="addSp modSp mod">
        <pc:chgData name="Arav Barot" userId="2aabccd7-f410-4c9c-8764-2e3ea0dd7040" providerId="ADAL" clId="{A19E6C28-CF64-4719-BF91-7807FFD82BEB}" dt="2023-11-21T12:15:34.659" v="1770"/>
        <pc:sldMkLst>
          <pc:docMk/>
          <pc:sldMk cId="3924617425" sldId="2147473167"/>
        </pc:sldMkLst>
        <pc:spChg chg="mod">
          <ac:chgData name="Arav Barot" userId="2aabccd7-f410-4c9c-8764-2e3ea0dd7040" providerId="ADAL" clId="{A19E6C28-CF64-4719-BF91-7807FFD82BEB}" dt="2023-11-21T12:15:34.659" v="1770"/>
          <ac:spMkLst>
            <pc:docMk/>
            <pc:sldMk cId="3924617425" sldId="2147473167"/>
            <ac:spMk id="2" creationId="{E5DDB4B4-7CCB-45FE-C9B9-AABBC1FABB93}"/>
          </ac:spMkLst>
        </pc:spChg>
        <pc:spChg chg="add mod">
          <ac:chgData name="Arav Barot" userId="2aabccd7-f410-4c9c-8764-2e3ea0dd7040" providerId="ADAL" clId="{A19E6C28-CF64-4719-BF91-7807FFD82BEB}" dt="2023-11-14T09:21:00.219" v="616" actId="34135"/>
          <ac:spMkLst>
            <pc:docMk/>
            <pc:sldMk cId="3924617425" sldId="2147473167"/>
            <ac:spMk id="11" creationId="{CC11DFA4-361F-48AB-F60B-818340030184}"/>
          </ac:spMkLst>
        </pc:spChg>
        <pc:spChg chg="mod">
          <ac:chgData name="Arav Barot" userId="2aabccd7-f410-4c9c-8764-2e3ea0dd7040" providerId="ADAL" clId="{A19E6C28-CF64-4719-BF91-7807FFD82BEB}" dt="2023-11-14T09:17:32.169" v="413" actId="404"/>
          <ac:spMkLst>
            <pc:docMk/>
            <pc:sldMk cId="3924617425" sldId="2147473167"/>
            <ac:spMk id="13" creationId="{A6AB0C58-2F11-0DFF-229E-699BD1208EB1}"/>
          </ac:spMkLst>
        </pc:spChg>
        <pc:spChg chg="mod">
          <ac:chgData name="Arav Barot" userId="2aabccd7-f410-4c9c-8764-2e3ea0dd7040" providerId="ADAL" clId="{A19E6C28-CF64-4719-BF91-7807FFD82BEB}" dt="2023-11-14T09:17:28.850" v="412" actId="404"/>
          <ac:spMkLst>
            <pc:docMk/>
            <pc:sldMk cId="3924617425" sldId="2147473167"/>
            <ac:spMk id="23" creationId="{292307EA-E175-8648-4715-47F19E1948C2}"/>
          </ac:spMkLst>
        </pc:spChg>
      </pc:sldChg>
      <pc:sldChg chg="addSp modSp mod">
        <pc:chgData name="Arav Barot" userId="2aabccd7-f410-4c9c-8764-2e3ea0dd7040" providerId="ADAL" clId="{A19E6C28-CF64-4719-BF91-7807FFD82BEB}" dt="2023-11-21T12:15:41.473" v="1797"/>
        <pc:sldMkLst>
          <pc:docMk/>
          <pc:sldMk cId="2559157231" sldId="2147473168"/>
        </pc:sldMkLst>
        <pc:spChg chg="mod">
          <ac:chgData name="Arav Barot" userId="2aabccd7-f410-4c9c-8764-2e3ea0dd7040" providerId="ADAL" clId="{A19E6C28-CF64-4719-BF91-7807FFD82BEB}" dt="2023-11-21T12:15:41.473" v="1797"/>
          <ac:spMkLst>
            <pc:docMk/>
            <pc:sldMk cId="2559157231" sldId="2147473168"/>
            <ac:spMk id="2" creationId="{FBB36A22-642F-A63D-FE42-AE9738AEAF97}"/>
          </ac:spMkLst>
        </pc:spChg>
        <pc:spChg chg="add mod">
          <ac:chgData name="Arav Barot" userId="2aabccd7-f410-4c9c-8764-2e3ea0dd7040" providerId="ADAL" clId="{A19E6C28-CF64-4719-BF91-7807FFD82BEB}" dt="2023-11-14T09:21:04.596" v="617" actId="34135"/>
          <ac:spMkLst>
            <pc:docMk/>
            <pc:sldMk cId="2559157231" sldId="2147473168"/>
            <ac:spMk id="10" creationId="{EFCFBEF9-4306-D95E-6BB0-E8D98586D85C}"/>
          </ac:spMkLst>
        </pc:spChg>
        <pc:spChg chg="mod">
          <ac:chgData name="Arav Barot" userId="2aabccd7-f410-4c9c-8764-2e3ea0dd7040" providerId="ADAL" clId="{A19E6C28-CF64-4719-BF91-7807FFD82BEB}" dt="2023-11-14T09:21:54.430" v="626" actId="14100"/>
          <ac:spMkLst>
            <pc:docMk/>
            <pc:sldMk cId="2559157231" sldId="2147473168"/>
            <ac:spMk id="17" creationId="{72CC10EE-A958-BA5D-B9CE-99F1A909FDEC}"/>
          </ac:spMkLst>
        </pc:spChg>
      </pc:sldChg>
      <pc:sldChg chg="addSp modSp mod">
        <pc:chgData name="Arav Barot" userId="2aabccd7-f410-4c9c-8764-2e3ea0dd7040" providerId="ADAL" clId="{A19E6C28-CF64-4719-BF91-7807FFD82BEB}" dt="2023-11-21T12:15:48.112" v="1815"/>
        <pc:sldMkLst>
          <pc:docMk/>
          <pc:sldMk cId="1595344461" sldId="2147473169"/>
        </pc:sldMkLst>
        <pc:spChg chg="mod">
          <ac:chgData name="Arav Barot" userId="2aabccd7-f410-4c9c-8764-2e3ea0dd7040" providerId="ADAL" clId="{A19E6C28-CF64-4719-BF91-7807FFD82BEB}" dt="2023-11-21T12:15:48.112" v="1815"/>
          <ac:spMkLst>
            <pc:docMk/>
            <pc:sldMk cId="1595344461" sldId="2147473169"/>
            <ac:spMk id="2" creationId="{7EFEB05E-83F5-13EF-113A-EAB87CBB6AFC}"/>
          </ac:spMkLst>
        </pc:spChg>
        <pc:spChg chg="mod">
          <ac:chgData name="Arav Barot" userId="2aabccd7-f410-4c9c-8764-2e3ea0dd7040" providerId="ADAL" clId="{A19E6C28-CF64-4719-BF91-7807FFD82BEB}" dt="2023-11-14T09:39:49.880" v="1263" actId="20577"/>
          <ac:spMkLst>
            <pc:docMk/>
            <pc:sldMk cId="1595344461" sldId="2147473169"/>
            <ac:spMk id="3" creationId="{D0DF1E83-CB4A-C1B6-8C59-9D2A4C9E082D}"/>
          </ac:spMkLst>
        </pc:spChg>
        <pc:spChg chg="add mod">
          <ac:chgData name="Arav Barot" userId="2aabccd7-f410-4c9c-8764-2e3ea0dd7040" providerId="ADAL" clId="{A19E6C28-CF64-4719-BF91-7807FFD82BEB}" dt="2023-11-14T09:19:20.180" v="600" actId="1076"/>
          <ac:spMkLst>
            <pc:docMk/>
            <pc:sldMk cId="1595344461" sldId="2147473169"/>
            <ac:spMk id="8" creationId="{BACDC853-1AA5-5B79-AEB4-3AB9903474BE}"/>
          </ac:spMkLst>
        </pc:spChg>
        <pc:spChg chg="add mod">
          <ac:chgData name="Arav Barot" userId="2aabccd7-f410-4c9c-8764-2e3ea0dd7040" providerId="ADAL" clId="{A19E6C28-CF64-4719-BF91-7807FFD82BEB}" dt="2023-11-14T09:21:10.223" v="618" actId="34135"/>
          <ac:spMkLst>
            <pc:docMk/>
            <pc:sldMk cId="1595344461" sldId="2147473169"/>
            <ac:spMk id="9" creationId="{1536D8D5-8D60-2841-2520-D8D01CFA5ACF}"/>
          </ac:spMkLst>
        </pc:spChg>
        <pc:spChg chg="mod">
          <ac:chgData name="Arav Barot" userId="2aabccd7-f410-4c9c-8764-2e3ea0dd7040" providerId="ADAL" clId="{A19E6C28-CF64-4719-BF91-7807FFD82BEB}" dt="2023-11-14T09:17:20.056" v="411" actId="403"/>
          <ac:spMkLst>
            <pc:docMk/>
            <pc:sldMk cId="1595344461" sldId="2147473169"/>
            <ac:spMk id="14" creationId="{71674AEA-4128-5B0D-C903-C96623A9B67D}"/>
          </ac:spMkLst>
        </pc:spChg>
        <pc:spChg chg="mod">
          <ac:chgData name="Arav Barot" userId="2aabccd7-f410-4c9c-8764-2e3ea0dd7040" providerId="ADAL" clId="{A19E6C28-CF64-4719-BF91-7807FFD82BEB}" dt="2023-11-14T09:14:00.719" v="275" actId="1076"/>
          <ac:spMkLst>
            <pc:docMk/>
            <pc:sldMk cId="1595344461" sldId="2147473169"/>
            <ac:spMk id="15" creationId="{83EB7DE4-B9A2-3F13-A3D2-D709E96F01F6}"/>
          </ac:spMkLst>
        </pc:spChg>
        <pc:spChg chg="mod">
          <ac:chgData name="Arav Barot" userId="2aabccd7-f410-4c9c-8764-2e3ea0dd7040" providerId="ADAL" clId="{A19E6C28-CF64-4719-BF91-7807FFD82BEB}" dt="2023-11-14T09:19:06.080" v="597" actId="1076"/>
          <ac:spMkLst>
            <pc:docMk/>
            <pc:sldMk cId="1595344461" sldId="2147473169"/>
            <ac:spMk id="18" creationId="{3C727850-9ED1-E9C8-6184-767D618BB88F}"/>
          </ac:spMkLst>
        </pc:spChg>
        <pc:picChg chg="mod">
          <ac:chgData name="Arav Barot" userId="2aabccd7-f410-4c9c-8764-2e3ea0dd7040" providerId="ADAL" clId="{A19E6C28-CF64-4719-BF91-7807FFD82BEB}" dt="2023-11-14T09:14:31.255" v="295" actId="1076"/>
          <ac:picMkLst>
            <pc:docMk/>
            <pc:sldMk cId="1595344461" sldId="2147473169"/>
            <ac:picMk id="17" creationId="{6FDCFDCE-0797-36EE-A828-D50B1FF7BD64}"/>
          </ac:picMkLst>
        </pc:picChg>
      </pc:sldChg>
      <pc:sldChg chg="add del ord">
        <pc:chgData name="Arav Barot" userId="2aabccd7-f410-4c9c-8764-2e3ea0dd7040" providerId="ADAL" clId="{A19E6C28-CF64-4719-BF91-7807FFD82BEB}" dt="2023-11-21T11:53:02.978" v="1318"/>
        <pc:sldMkLst>
          <pc:docMk/>
          <pc:sldMk cId="1733434538" sldId="2147473170"/>
        </pc:sldMkLst>
      </pc:sldChg>
      <pc:sldChg chg="modSp add del mod">
        <pc:chgData name="Arav Barot" userId="2aabccd7-f410-4c9c-8764-2e3ea0dd7040" providerId="ADAL" clId="{A19E6C28-CF64-4719-BF91-7807FFD82BEB}" dt="2023-11-21T12:14:17.606" v="1608" actId="47"/>
        <pc:sldMkLst>
          <pc:docMk/>
          <pc:sldMk cId="2405548212" sldId="2147473170"/>
        </pc:sldMkLst>
        <pc:graphicFrameChg chg="modGraphic">
          <ac:chgData name="Arav Barot" userId="2aabccd7-f410-4c9c-8764-2e3ea0dd7040" providerId="ADAL" clId="{A19E6C28-CF64-4719-BF91-7807FFD82BEB}" dt="2023-11-14T09:46:53.739" v="1271" actId="207"/>
          <ac:graphicFrameMkLst>
            <pc:docMk/>
            <pc:sldMk cId="2405548212" sldId="2147473170"/>
            <ac:graphicFrameMk id="10" creationId="{F2CF7F64-B806-3EDB-ABEE-97A844628204}"/>
          </ac:graphicFrameMkLst>
        </pc:graphicFrameChg>
      </pc:sldChg>
      <pc:sldChg chg="modSp add del mod">
        <pc:chgData name="Arav Barot" userId="2aabccd7-f410-4c9c-8764-2e3ea0dd7040" providerId="ADAL" clId="{A19E6C28-CF64-4719-BF91-7807FFD82BEB}" dt="2023-11-21T11:58:20.157" v="1603" actId="47"/>
        <pc:sldMkLst>
          <pc:docMk/>
          <pc:sldMk cId="2986689314" sldId="2147473171"/>
        </pc:sldMkLst>
        <pc:graphicFrameChg chg="modGraphic">
          <ac:chgData name="Arav Barot" userId="2aabccd7-f410-4c9c-8764-2e3ea0dd7040" providerId="ADAL" clId="{A19E6C28-CF64-4719-BF91-7807FFD82BEB}" dt="2023-11-14T09:47:05.400" v="1274" actId="207"/>
          <ac:graphicFrameMkLst>
            <pc:docMk/>
            <pc:sldMk cId="2986689314" sldId="2147473171"/>
            <ac:graphicFrameMk id="10" creationId="{F2CF7F64-B806-3EDB-ABEE-97A844628204}"/>
          </ac:graphicFrameMkLst>
        </pc:graphicFrameChg>
      </pc:sldChg>
      <pc:sldChg chg="modSp add del mod">
        <pc:chgData name="Arav Barot" userId="2aabccd7-f410-4c9c-8764-2e3ea0dd7040" providerId="ADAL" clId="{A19E6C28-CF64-4719-BF91-7807FFD82BEB}" dt="2023-11-21T11:58:23.111" v="1604" actId="47"/>
        <pc:sldMkLst>
          <pc:docMk/>
          <pc:sldMk cId="409306044" sldId="2147473172"/>
        </pc:sldMkLst>
        <pc:graphicFrameChg chg="modGraphic">
          <ac:chgData name="Arav Barot" userId="2aabccd7-f410-4c9c-8764-2e3ea0dd7040" providerId="ADAL" clId="{A19E6C28-CF64-4719-BF91-7807FFD82BEB}" dt="2023-11-14T09:47:17.095" v="1277" actId="207"/>
          <ac:graphicFrameMkLst>
            <pc:docMk/>
            <pc:sldMk cId="409306044" sldId="2147473172"/>
            <ac:graphicFrameMk id="10" creationId="{F2CF7F64-B806-3EDB-ABEE-97A844628204}"/>
          </ac:graphicFrameMkLst>
        </pc:graphicFrameChg>
      </pc:sldChg>
      <pc:sldChg chg="modSp add mod ord">
        <pc:chgData name="Arav Barot" userId="2aabccd7-f410-4c9c-8764-2e3ea0dd7040" providerId="ADAL" clId="{A19E6C28-CF64-4719-BF91-7807FFD82BEB}" dt="2023-11-21T12:15:15.699" v="1709" actId="20577"/>
        <pc:sldMkLst>
          <pc:docMk/>
          <pc:sldMk cId="1789100080" sldId="2147473173"/>
        </pc:sldMkLst>
        <pc:spChg chg="mod">
          <ac:chgData name="Arav Barot" userId="2aabccd7-f410-4c9c-8764-2e3ea0dd7040" providerId="ADAL" clId="{A19E6C28-CF64-4719-BF91-7807FFD82BEB}" dt="2023-11-21T12:15:15.699" v="1709" actId="20577"/>
          <ac:spMkLst>
            <pc:docMk/>
            <pc:sldMk cId="1789100080" sldId="2147473173"/>
            <ac:spMk id="2" creationId="{16D583EA-D274-DB9E-84A0-97B856B4CF06}"/>
          </ac:spMkLst>
        </pc:spChg>
        <pc:spChg chg="mod">
          <ac:chgData name="Arav Barot" userId="2aabccd7-f410-4c9c-8764-2e3ea0dd7040" providerId="ADAL" clId="{A19E6C28-CF64-4719-BF91-7807FFD82BEB}" dt="2023-11-21T11:53:41.246" v="1369" actId="20577"/>
          <ac:spMkLst>
            <pc:docMk/>
            <pc:sldMk cId="1789100080" sldId="2147473173"/>
            <ac:spMk id="3" creationId="{99BAFB4D-FCC8-CADB-BCDD-C5DAC15D9497}"/>
          </ac:spMkLst>
        </pc:spChg>
      </pc:sldChg>
      <pc:sldChg chg="new del">
        <pc:chgData name="Arav Barot" userId="2aabccd7-f410-4c9c-8764-2e3ea0dd7040" providerId="ADAL" clId="{A19E6C28-CF64-4719-BF91-7807FFD82BEB}" dt="2023-11-21T12:16:06.307" v="1834" actId="47"/>
        <pc:sldMkLst>
          <pc:docMk/>
          <pc:sldMk cId="3338282910" sldId="2147473174"/>
        </pc:sldMkLst>
      </pc:sldChg>
      <pc:sldChg chg="modSp add mod">
        <pc:chgData name="Arav Barot" userId="2aabccd7-f410-4c9c-8764-2e3ea0dd7040" providerId="ADAL" clId="{A19E6C28-CF64-4719-BF91-7807FFD82BEB}" dt="2023-11-21T12:14:29.883" v="1616" actId="403"/>
        <pc:sldMkLst>
          <pc:docMk/>
          <pc:sldMk cId="2977602978" sldId="2147473175"/>
        </pc:sldMkLst>
        <pc:graphicFrameChg chg="modGraphic">
          <ac:chgData name="Arav Barot" userId="2aabccd7-f410-4c9c-8764-2e3ea0dd7040" providerId="ADAL" clId="{A19E6C28-CF64-4719-BF91-7807FFD82BEB}" dt="2023-11-21T12:14:29.883" v="1616" actId="403"/>
          <ac:graphicFrameMkLst>
            <pc:docMk/>
            <pc:sldMk cId="2977602978" sldId="2147473175"/>
            <ac:graphicFrameMk id="10" creationId="{F2CF7F64-B806-3EDB-ABEE-97A844628204}"/>
          </ac:graphicFrameMkLst>
        </pc:graphicFrameChg>
      </pc:sldChg>
      <pc:sldChg chg="modSp add mod">
        <pc:chgData name="Arav Barot" userId="2aabccd7-f410-4c9c-8764-2e3ea0dd7040" providerId="ADAL" clId="{A19E6C28-CF64-4719-BF91-7807FFD82BEB}" dt="2023-11-21T12:16:14.549" v="1838" actId="403"/>
        <pc:sldMkLst>
          <pc:docMk/>
          <pc:sldMk cId="3349167410" sldId="2147473176"/>
        </pc:sldMkLst>
        <pc:graphicFrameChg chg="modGraphic">
          <ac:chgData name="Arav Barot" userId="2aabccd7-f410-4c9c-8764-2e3ea0dd7040" providerId="ADAL" clId="{A19E6C28-CF64-4719-BF91-7807FFD82BEB}" dt="2023-11-21T12:16:14.549" v="1838" actId="403"/>
          <ac:graphicFrameMkLst>
            <pc:docMk/>
            <pc:sldMk cId="3349167410" sldId="2147473176"/>
            <ac:graphicFrameMk id="10" creationId="{F2CF7F64-B806-3EDB-ABEE-97A844628204}"/>
          </ac:graphicFrameMkLst>
        </pc:graphicFrameChg>
      </pc:sldChg>
      <pc:sldChg chg="addSp modSp new mod">
        <pc:chgData name="Arav Barot" userId="2aabccd7-f410-4c9c-8764-2e3ea0dd7040" providerId="ADAL" clId="{A19E6C28-CF64-4719-BF91-7807FFD82BEB}" dt="2023-11-21T12:33:46.341" v="2821" actId="14100"/>
        <pc:sldMkLst>
          <pc:docMk/>
          <pc:sldMk cId="4204963084" sldId="2147473177"/>
        </pc:sldMkLst>
        <pc:spChg chg="mod">
          <ac:chgData name="Arav Barot" userId="2aabccd7-f410-4c9c-8764-2e3ea0dd7040" providerId="ADAL" clId="{A19E6C28-CF64-4719-BF91-7807FFD82BEB}" dt="2023-11-21T12:27:39.720" v="2503" actId="20577"/>
          <ac:spMkLst>
            <pc:docMk/>
            <pc:sldMk cId="4204963084" sldId="2147473177"/>
            <ac:spMk id="2" creationId="{B21AA6F2-3CD4-DC09-8BF4-D8DAC575DE59}"/>
          </ac:spMkLst>
        </pc:spChg>
        <pc:spChg chg="mod">
          <ac:chgData name="Arav Barot" userId="2aabccd7-f410-4c9c-8764-2e3ea0dd7040" providerId="ADAL" clId="{A19E6C28-CF64-4719-BF91-7807FFD82BEB}" dt="2023-11-21T12:17:47.641" v="1928" actId="20577"/>
          <ac:spMkLst>
            <pc:docMk/>
            <pc:sldMk cId="4204963084" sldId="2147473177"/>
            <ac:spMk id="3" creationId="{414014B0-7B67-1D4A-1281-7047185DAB4A}"/>
          </ac:spMkLst>
        </pc:spChg>
        <pc:spChg chg="mod">
          <ac:chgData name="Arav Barot" userId="2aabccd7-f410-4c9c-8764-2e3ea0dd7040" providerId="ADAL" clId="{A19E6C28-CF64-4719-BF91-7807FFD82BEB}" dt="2023-11-21T12:22:27.888" v="2465" actId="20577"/>
          <ac:spMkLst>
            <pc:docMk/>
            <pc:sldMk cId="4204963084" sldId="2147473177"/>
            <ac:spMk id="8" creationId="{9020CB02-219A-F3FA-C380-BF2071A0CABB}"/>
          </ac:spMkLst>
        </pc:spChg>
        <pc:spChg chg="mod">
          <ac:chgData name="Arav Barot" userId="2aabccd7-f410-4c9c-8764-2e3ea0dd7040" providerId="ADAL" clId="{A19E6C28-CF64-4719-BF91-7807FFD82BEB}" dt="2023-11-21T12:18:05.308" v="1963" actId="20577"/>
          <ac:spMkLst>
            <pc:docMk/>
            <pc:sldMk cId="4204963084" sldId="2147473177"/>
            <ac:spMk id="9" creationId="{DFEF2AFF-F92D-9297-8F29-8C7D9F73B677}"/>
          </ac:spMkLst>
        </pc:spChg>
        <pc:spChg chg="mod">
          <ac:chgData name="Arav Barot" userId="2aabccd7-f410-4c9c-8764-2e3ea0dd7040" providerId="ADAL" clId="{A19E6C28-CF64-4719-BF91-7807FFD82BEB}" dt="2023-11-21T12:32:04.788" v="2808" actId="14100"/>
          <ac:spMkLst>
            <pc:docMk/>
            <pc:sldMk cId="4204963084" sldId="2147473177"/>
            <ac:spMk id="11" creationId="{EA326A15-76E5-96B3-CABB-E80B2718590A}"/>
          </ac:spMkLst>
        </pc:spChg>
        <pc:spChg chg="mod">
          <ac:chgData name="Arav Barot" userId="2aabccd7-f410-4c9c-8764-2e3ea0dd7040" providerId="ADAL" clId="{A19E6C28-CF64-4719-BF91-7807FFD82BEB}" dt="2023-11-21T12:28:26.174" v="2545" actId="20577"/>
          <ac:spMkLst>
            <pc:docMk/>
            <pc:sldMk cId="4204963084" sldId="2147473177"/>
            <ac:spMk id="12" creationId="{26612403-97EA-089A-AE14-F39C8935474F}"/>
          </ac:spMkLst>
        </pc:spChg>
        <pc:spChg chg="add mod ord">
          <ac:chgData name="Arav Barot" userId="2aabccd7-f410-4c9c-8764-2e3ea0dd7040" providerId="ADAL" clId="{A19E6C28-CF64-4719-BF91-7807FFD82BEB}" dt="2023-11-21T12:33:27.336" v="2816" actId="1076"/>
          <ac:spMkLst>
            <pc:docMk/>
            <pc:sldMk cId="4204963084" sldId="2147473177"/>
            <ac:spMk id="14" creationId="{7050B645-419C-634D-89F8-889874406AEA}"/>
          </ac:spMkLst>
        </pc:spChg>
        <pc:grpChg chg="add mod">
          <ac:chgData name="Arav Barot" userId="2aabccd7-f410-4c9c-8764-2e3ea0dd7040" providerId="ADAL" clId="{A19E6C28-CF64-4719-BF91-7807FFD82BEB}" dt="2023-11-21T12:17:56.637" v="1929"/>
          <ac:grpSpMkLst>
            <pc:docMk/>
            <pc:sldMk cId="4204963084" sldId="2147473177"/>
            <ac:grpSpMk id="7" creationId="{1B7628B7-9344-8CBE-AD06-056215F71E57}"/>
          </ac:grpSpMkLst>
        </pc:grpChg>
        <pc:grpChg chg="add mod">
          <ac:chgData name="Arav Barot" userId="2aabccd7-f410-4c9c-8764-2e3ea0dd7040" providerId="ADAL" clId="{A19E6C28-CF64-4719-BF91-7807FFD82BEB}" dt="2023-11-21T12:31:59.734" v="2807" actId="14100"/>
          <ac:grpSpMkLst>
            <pc:docMk/>
            <pc:sldMk cId="4204963084" sldId="2147473177"/>
            <ac:grpSpMk id="10" creationId="{3B81E3B6-670B-74BD-8118-1A0056944DC6}"/>
          </ac:grpSpMkLst>
        </pc:grpChg>
        <pc:picChg chg="add mod">
          <ac:chgData name="Arav Barot" userId="2aabccd7-f410-4c9c-8764-2e3ea0dd7040" providerId="ADAL" clId="{A19E6C28-CF64-4719-BF91-7807FFD82BEB}" dt="2023-11-21T12:33:46.341" v="2821" actId="14100"/>
          <ac:picMkLst>
            <pc:docMk/>
            <pc:sldMk cId="4204963084" sldId="2147473177"/>
            <ac:picMk id="13" creationId="{C31D574D-11B4-739F-02ED-84DCF9390512}"/>
          </ac:picMkLst>
        </pc:picChg>
      </pc:sldChg>
      <pc:sldChg chg="new del">
        <pc:chgData name="Arav Barot" userId="2aabccd7-f410-4c9c-8764-2e3ea0dd7040" providerId="ADAL" clId="{A19E6C28-CF64-4719-BF91-7807FFD82BEB}" dt="2023-11-21T12:34:23.611" v="2831" actId="47"/>
        <pc:sldMkLst>
          <pc:docMk/>
          <pc:sldMk cId="1468254440" sldId="2147473178"/>
        </pc:sldMkLst>
      </pc:sldChg>
      <pc:sldChg chg="modSp add mod">
        <pc:chgData name="Arav Barot" userId="2aabccd7-f410-4c9c-8764-2e3ea0dd7040" providerId="ADAL" clId="{A19E6C28-CF64-4719-BF91-7807FFD82BEB}" dt="2023-11-21T12:34:19.386" v="2830" actId="207"/>
        <pc:sldMkLst>
          <pc:docMk/>
          <pc:sldMk cId="3104548340" sldId="2147473179"/>
        </pc:sldMkLst>
        <pc:graphicFrameChg chg="mod modGraphic">
          <ac:chgData name="Arav Barot" userId="2aabccd7-f410-4c9c-8764-2e3ea0dd7040" providerId="ADAL" clId="{A19E6C28-CF64-4719-BF91-7807FFD82BEB}" dt="2023-11-21T12:34:19.386" v="2830" actId="207"/>
          <ac:graphicFrameMkLst>
            <pc:docMk/>
            <pc:sldMk cId="3104548340" sldId="2147473179"/>
            <ac:graphicFrameMk id="10" creationId="{F2CF7F64-B806-3EDB-ABEE-97A844628204}"/>
          </ac:graphicFrameMkLst>
        </pc:graphicFrameChg>
      </pc:sldChg>
      <pc:sldChg chg="modSp add mod">
        <pc:chgData name="Arav Barot" userId="2aabccd7-f410-4c9c-8764-2e3ea0dd7040" providerId="ADAL" clId="{A19E6C28-CF64-4719-BF91-7807FFD82BEB}" dt="2023-11-21T12:35:02.647" v="2934" actId="20577"/>
        <pc:sldMkLst>
          <pc:docMk/>
          <pc:sldMk cId="1676053303" sldId="2147473180"/>
        </pc:sldMkLst>
        <pc:spChg chg="mod">
          <ac:chgData name="Arav Barot" userId="2aabccd7-f410-4c9c-8764-2e3ea0dd7040" providerId="ADAL" clId="{A19E6C28-CF64-4719-BF91-7807FFD82BEB}" dt="2023-11-21T12:34:52.422" v="2877" actId="20577"/>
          <ac:spMkLst>
            <pc:docMk/>
            <pc:sldMk cId="1676053303" sldId="2147473180"/>
            <ac:spMk id="2" creationId="{B21AA6F2-3CD4-DC09-8BF4-D8DAC575DE59}"/>
          </ac:spMkLst>
        </pc:spChg>
        <pc:spChg chg="mod">
          <ac:chgData name="Arav Barot" userId="2aabccd7-f410-4c9c-8764-2e3ea0dd7040" providerId="ADAL" clId="{A19E6C28-CF64-4719-BF91-7807FFD82BEB}" dt="2023-11-21T12:35:02.647" v="2934" actId="20577"/>
          <ac:spMkLst>
            <pc:docMk/>
            <pc:sldMk cId="1676053303" sldId="2147473180"/>
            <ac:spMk id="3" creationId="{414014B0-7B67-1D4A-1281-7047185DAB4A}"/>
          </ac:spMkLst>
        </pc:spChg>
      </pc:sldChg>
    </pc:docChg>
  </pc:docChgLst>
  <pc:docChgLst>
    <pc:chgData name="Arav Barot" userId="2aabccd7-f410-4c9c-8764-2e3ea0dd7040" providerId="ADAL" clId="{107284A3-D241-4D34-8CBA-57E9B8954B5D}"/>
    <pc:docChg chg="undo custSel modSld">
      <pc:chgData name="Arav Barot" userId="2aabccd7-f410-4c9c-8764-2e3ea0dd7040" providerId="ADAL" clId="{107284A3-D241-4D34-8CBA-57E9B8954B5D}" dt="2024-01-23T08:41:10.029" v="12" actId="20577"/>
      <pc:docMkLst>
        <pc:docMk/>
      </pc:docMkLst>
      <pc:sldChg chg="modSp mod">
        <pc:chgData name="Arav Barot" userId="2aabccd7-f410-4c9c-8764-2e3ea0dd7040" providerId="ADAL" clId="{107284A3-D241-4D34-8CBA-57E9B8954B5D}" dt="2024-01-23T08:41:09.763" v="11" actId="20577"/>
        <pc:sldMkLst>
          <pc:docMk/>
          <pc:sldMk cId="2501430157" sldId="2147473129"/>
        </pc:sldMkLst>
        <pc:spChg chg="mod">
          <ac:chgData name="Arav Barot" userId="2aabccd7-f410-4c9c-8764-2e3ea0dd7040" providerId="ADAL" clId="{107284A3-D241-4D34-8CBA-57E9B8954B5D}" dt="2024-01-23T08:41:09.763" v="11" actId="20577"/>
          <ac:spMkLst>
            <pc:docMk/>
            <pc:sldMk cId="2501430157" sldId="2147473129"/>
            <ac:spMk id="12" creationId="{ECA1D28E-9FA8-1727-7899-6A7A95BDBBA5}"/>
          </ac:spMkLst>
        </pc:spChg>
      </pc:sldChg>
      <pc:sldChg chg="modSp mod">
        <pc:chgData name="Arav Barot" userId="2aabccd7-f410-4c9c-8764-2e3ea0dd7040" providerId="ADAL" clId="{107284A3-D241-4D34-8CBA-57E9B8954B5D}" dt="2024-01-23T08:41:10.029" v="12" actId="20577"/>
        <pc:sldMkLst>
          <pc:docMk/>
          <pc:sldMk cId="82771601" sldId="2147473131"/>
        </pc:sldMkLst>
        <pc:spChg chg="mod">
          <ac:chgData name="Arav Barot" userId="2aabccd7-f410-4c9c-8764-2e3ea0dd7040" providerId="ADAL" clId="{107284A3-D241-4D34-8CBA-57E9B8954B5D}" dt="2024-01-23T08:41:10.029" v="12" actId="20577"/>
          <ac:spMkLst>
            <pc:docMk/>
            <pc:sldMk cId="82771601" sldId="2147473131"/>
            <ac:spMk id="2" creationId="{67025DB1-6433-E5F3-7AA1-8E9FCEC163B2}"/>
          </ac:spMkLst>
        </pc:spChg>
      </pc:sldChg>
    </pc:docChg>
  </pc:docChgLst>
  <pc:docChgLst>
    <pc:chgData name="Arav Barot" userId="2aabccd7-f410-4c9c-8764-2e3ea0dd7040" providerId="ADAL" clId="{4DFC462A-5191-4624-A18E-96FD030DC167}"/>
    <pc:docChg chg="modSld">
      <pc:chgData name="Arav Barot" userId="2aabccd7-f410-4c9c-8764-2e3ea0dd7040" providerId="ADAL" clId="{4DFC462A-5191-4624-A18E-96FD030DC167}" dt="2023-09-26T15:23:31.379" v="17" actId="20577"/>
      <pc:docMkLst>
        <pc:docMk/>
      </pc:docMkLst>
      <pc:sldChg chg="modSp mod">
        <pc:chgData name="Arav Barot" userId="2aabccd7-f410-4c9c-8764-2e3ea0dd7040" providerId="ADAL" clId="{4DFC462A-5191-4624-A18E-96FD030DC167}" dt="2023-09-26T15:23:31.379" v="17" actId="20577"/>
        <pc:sldMkLst>
          <pc:docMk/>
          <pc:sldMk cId="2279832368" sldId="2147473130"/>
        </pc:sldMkLst>
        <pc:graphicFrameChg chg="modGraphic">
          <ac:chgData name="Arav Barot" userId="2aabccd7-f410-4c9c-8764-2e3ea0dd7040" providerId="ADAL" clId="{4DFC462A-5191-4624-A18E-96FD030DC167}" dt="2023-09-26T15:23:31.379" v="17" actId="20577"/>
          <ac:graphicFrameMkLst>
            <pc:docMk/>
            <pc:sldMk cId="2279832368" sldId="2147473130"/>
            <ac:graphicFrameMk id="11" creationId="{3C02FF45-BA95-2B9C-2136-8ECAFD59058B}"/>
          </ac:graphicFrameMkLst>
        </pc:graphicFrameChg>
      </pc:sldChg>
    </pc:docChg>
  </pc:docChgLst>
  <pc:docChgLst>
    <pc:chgData name="Arav Barot" userId="2aabccd7-f410-4c9c-8764-2e3ea0dd7040" providerId="ADAL" clId="{1E6D6936-96D0-42F6-B297-D692B627CB4A}"/>
    <pc:docChg chg="undo custSel addSld delSld modSld">
      <pc:chgData name="Arav Barot" userId="2aabccd7-f410-4c9c-8764-2e3ea0dd7040" providerId="ADAL" clId="{1E6D6936-96D0-42F6-B297-D692B627CB4A}" dt="2024-01-24T08:44:17.085" v="1901" actId="47"/>
      <pc:docMkLst>
        <pc:docMk/>
      </pc:docMkLst>
      <pc:sldChg chg="modSp mod">
        <pc:chgData name="Arav Barot" userId="2aabccd7-f410-4c9c-8764-2e3ea0dd7040" providerId="ADAL" clId="{1E6D6936-96D0-42F6-B297-D692B627CB4A}" dt="2024-01-23T10:43:10.148" v="1669" actId="34135"/>
        <pc:sldMkLst>
          <pc:docMk/>
          <pc:sldMk cId="2501430157" sldId="2147473129"/>
        </pc:sldMkLst>
        <pc:spChg chg="mod">
          <ac:chgData name="Arav Barot" userId="2aabccd7-f410-4c9c-8764-2e3ea0dd7040" providerId="ADAL" clId="{1E6D6936-96D0-42F6-B297-D692B627CB4A}" dt="2024-01-23T08:43:40.360" v="122" actId="1076"/>
          <ac:spMkLst>
            <pc:docMk/>
            <pc:sldMk cId="2501430157" sldId="2147473129"/>
            <ac:spMk id="12" creationId="{ECA1D28E-9FA8-1727-7899-6A7A95BDBBA5}"/>
          </ac:spMkLst>
        </pc:spChg>
        <pc:spChg chg="mod">
          <ac:chgData name="Arav Barot" userId="2aabccd7-f410-4c9c-8764-2e3ea0dd7040" providerId="ADAL" clId="{1E6D6936-96D0-42F6-B297-D692B627CB4A}" dt="2024-01-23T10:43:10.148" v="1669" actId="34135"/>
          <ac:spMkLst>
            <pc:docMk/>
            <pc:sldMk cId="2501430157" sldId="2147473129"/>
            <ac:spMk id="13" creationId="{16A5B7CD-27C2-852D-5A7B-D6131D1EE60A}"/>
          </ac:spMkLst>
        </pc:spChg>
      </pc:sldChg>
      <pc:sldChg chg="modSp mod">
        <pc:chgData name="Arav Barot" userId="2aabccd7-f410-4c9c-8764-2e3ea0dd7040" providerId="ADAL" clId="{1E6D6936-96D0-42F6-B297-D692B627CB4A}" dt="2024-01-23T11:07:07.311" v="1852" actId="20577"/>
        <pc:sldMkLst>
          <pc:docMk/>
          <pc:sldMk cId="1594670965" sldId="2147473130"/>
        </pc:sldMkLst>
        <pc:graphicFrameChg chg="modGraphic">
          <ac:chgData name="Arav Barot" userId="2aabccd7-f410-4c9c-8764-2e3ea0dd7040" providerId="ADAL" clId="{1E6D6936-96D0-42F6-B297-D692B627CB4A}" dt="2024-01-23T11:07:07.311" v="1852" actId="20577"/>
          <ac:graphicFrameMkLst>
            <pc:docMk/>
            <pc:sldMk cId="1594670965" sldId="2147473130"/>
            <ac:graphicFrameMk id="10" creationId="{F2CF7F64-B806-3EDB-ABEE-97A844628204}"/>
          </ac:graphicFrameMkLst>
        </pc:graphicFrameChg>
      </pc:sldChg>
      <pc:sldChg chg="addSp delSp modSp del mod">
        <pc:chgData name="Arav Barot" userId="2aabccd7-f410-4c9c-8764-2e3ea0dd7040" providerId="ADAL" clId="{1E6D6936-96D0-42F6-B297-D692B627CB4A}" dt="2024-01-24T08:44:17.085" v="1901" actId="47"/>
        <pc:sldMkLst>
          <pc:docMk/>
          <pc:sldMk cId="82771601" sldId="2147473131"/>
        </pc:sldMkLst>
        <pc:spChg chg="del mod">
          <ac:chgData name="Arav Barot" userId="2aabccd7-f410-4c9c-8764-2e3ea0dd7040" providerId="ADAL" clId="{1E6D6936-96D0-42F6-B297-D692B627CB4A}" dt="2024-01-24T08:43:46.256" v="1894" actId="478"/>
          <ac:spMkLst>
            <pc:docMk/>
            <pc:sldMk cId="82771601" sldId="2147473131"/>
            <ac:spMk id="2" creationId="{67025DB1-6433-E5F3-7AA1-8E9FCEC163B2}"/>
          </ac:spMkLst>
        </pc:spChg>
        <pc:spChg chg="del">
          <ac:chgData name="Arav Barot" userId="2aabccd7-f410-4c9c-8764-2e3ea0dd7040" providerId="ADAL" clId="{1E6D6936-96D0-42F6-B297-D692B627CB4A}" dt="2024-01-24T08:43:51.389" v="1896" actId="478"/>
          <ac:spMkLst>
            <pc:docMk/>
            <pc:sldMk cId="82771601" sldId="2147473131"/>
            <ac:spMk id="3" creationId="{2BCB2140-265F-7904-43C3-7F16239DA7F0}"/>
          </ac:spMkLst>
        </pc:spChg>
        <pc:spChg chg="add del mod">
          <ac:chgData name="Arav Barot" userId="2aabccd7-f410-4c9c-8764-2e3ea0dd7040" providerId="ADAL" clId="{1E6D6936-96D0-42F6-B297-D692B627CB4A}" dt="2024-01-24T08:43:48.650" v="1895" actId="478"/>
          <ac:spMkLst>
            <pc:docMk/>
            <pc:sldMk cId="82771601" sldId="2147473131"/>
            <ac:spMk id="5" creationId="{8B5F7C07-D36C-E029-129C-DA0C72B63967}"/>
          </ac:spMkLst>
        </pc:spChg>
        <pc:spChg chg="del">
          <ac:chgData name="Arav Barot" userId="2aabccd7-f410-4c9c-8764-2e3ea0dd7040" providerId="ADAL" clId="{1E6D6936-96D0-42F6-B297-D692B627CB4A}" dt="2024-01-24T08:43:58.463" v="1898" actId="478"/>
          <ac:spMkLst>
            <pc:docMk/>
            <pc:sldMk cId="82771601" sldId="2147473131"/>
            <ac:spMk id="6" creationId="{34B1921F-165D-17BE-392D-A7587EF6534B}"/>
          </ac:spMkLst>
        </pc:spChg>
        <pc:spChg chg="del">
          <ac:chgData name="Arav Barot" userId="2aabccd7-f410-4c9c-8764-2e3ea0dd7040" providerId="ADAL" clId="{1E6D6936-96D0-42F6-B297-D692B627CB4A}" dt="2024-01-24T08:44:00.721" v="1899" actId="478"/>
          <ac:spMkLst>
            <pc:docMk/>
            <pc:sldMk cId="82771601" sldId="2147473131"/>
            <ac:spMk id="7" creationId="{E615FA83-2E4C-85FD-7C1B-E736FC285A10}"/>
          </ac:spMkLst>
        </pc:spChg>
        <pc:spChg chg="add del mod">
          <ac:chgData name="Arav Barot" userId="2aabccd7-f410-4c9c-8764-2e3ea0dd7040" providerId="ADAL" clId="{1E6D6936-96D0-42F6-B297-D692B627CB4A}" dt="2024-01-24T08:43:56.336" v="1897" actId="478"/>
          <ac:spMkLst>
            <pc:docMk/>
            <pc:sldMk cId="82771601" sldId="2147473131"/>
            <ac:spMk id="9" creationId="{635FBC63-9207-8414-EA29-718FDC184D7D}"/>
          </ac:spMkLst>
        </pc:spChg>
        <pc:spChg chg="add del mod">
          <ac:chgData name="Arav Barot" userId="2aabccd7-f410-4c9c-8764-2e3ea0dd7040" providerId="ADAL" clId="{1E6D6936-96D0-42F6-B297-D692B627CB4A}" dt="2024-01-24T08:44:02.892" v="1900" actId="478"/>
          <ac:spMkLst>
            <pc:docMk/>
            <pc:sldMk cId="82771601" sldId="2147473131"/>
            <ac:spMk id="11" creationId="{EB41F3C3-6E06-9D67-ECB0-6CFA4CA1E20B}"/>
          </ac:spMkLst>
        </pc:spChg>
      </pc:sldChg>
      <pc:sldChg chg="del">
        <pc:chgData name="Arav Barot" userId="2aabccd7-f410-4c9c-8764-2e3ea0dd7040" providerId="ADAL" clId="{1E6D6936-96D0-42F6-B297-D692B627CB4A}" dt="2024-01-23T11:08:16.293" v="1892" actId="47"/>
        <pc:sldMkLst>
          <pc:docMk/>
          <pc:sldMk cId="1789100080" sldId="2147473173"/>
        </pc:sldMkLst>
      </pc:sldChg>
      <pc:sldChg chg="modSp mod">
        <pc:chgData name="Arav Barot" userId="2aabccd7-f410-4c9c-8764-2e3ea0dd7040" providerId="ADAL" clId="{1E6D6936-96D0-42F6-B297-D692B627CB4A}" dt="2024-01-23T11:07:30.041" v="1891" actId="20577"/>
        <pc:sldMkLst>
          <pc:docMk/>
          <pc:sldMk cId="2977602978" sldId="2147473175"/>
        </pc:sldMkLst>
        <pc:graphicFrameChg chg="modGraphic">
          <ac:chgData name="Arav Barot" userId="2aabccd7-f410-4c9c-8764-2e3ea0dd7040" providerId="ADAL" clId="{1E6D6936-96D0-42F6-B297-D692B627CB4A}" dt="2024-01-23T11:07:30.041" v="1891" actId="20577"/>
          <ac:graphicFrameMkLst>
            <pc:docMk/>
            <pc:sldMk cId="2977602978" sldId="2147473175"/>
            <ac:graphicFrameMk id="10" creationId="{F2CF7F64-B806-3EDB-ABEE-97A844628204}"/>
          </ac:graphicFrameMkLst>
        </pc:graphicFrameChg>
      </pc:sldChg>
      <pc:sldChg chg="addSp delSp modSp new mod">
        <pc:chgData name="Arav Barot" userId="2aabccd7-f410-4c9c-8764-2e3ea0dd7040" providerId="ADAL" clId="{1E6D6936-96D0-42F6-B297-D692B627CB4A}" dt="2024-01-23T11:05:51.085" v="1823" actId="1076"/>
        <pc:sldMkLst>
          <pc:docMk/>
          <pc:sldMk cId="1045477629" sldId="2147473181"/>
        </pc:sldMkLst>
        <pc:spChg chg="mod">
          <ac:chgData name="Arav Barot" userId="2aabccd7-f410-4c9c-8764-2e3ea0dd7040" providerId="ADAL" clId="{1E6D6936-96D0-42F6-B297-D692B627CB4A}" dt="2024-01-23T11:04:59.758" v="1821" actId="20577"/>
          <ac:spMkLst>
            <pc:docMk/>
            <pc:sldMk cId="1045477629" sldId="2147473181"/>
            <ac:spMk id="2" creationId="{173250F7-5474-F7DD-D3D1-637B6E20400E}"/>
          </ac:spMkLst>
        </pc:spChg>
        <pc:spChg chg="mod">
          <ac:chgData name="Arav Barot" userId="2aabccd7-f410-4c9c-8764-2e3ea0dd7040" providerId="ADAL" clId="{1E6D6936-96D0-42F6-B297-D692B627CB4A}" dt="2024-01-23T10:56:20.132" v="1727" actId="20577"/>
          <ac:spMkLst>
            <pc:docMk/>
            <pc:sldMk cId="1045477629" sldId="2147473181"/>
            <ac:spMk id="3" creationId="{7028AA43-ECF4-F395-39B8-159C1D110AB0}"/>
          </ac:spMkLst>
        </pc:spChg>
        <pc:spChg chg="add mod">
          <ac:chgData name="Arav Barot" userId="2aabccd7-f410-4c9c-8764-2e3ea0dd7040" providerId="ADAL" clId="{1E6D6936-96D0-42F6-B297-D692B627CB4A}" dt="2024-01-23T11:02:46.990" v="1794" actId="164"/>
          <ac:spMkLst>
            <pc:docMk/>
            <pc:sldMk cId="1045477629" sldId="2147473181"/>
            <ac:spMk id="19" creationId="{915942C4-01E5-B820-3339-5F41567677CD}"/>
          </ac:spMkLst>
        </pc:spChg>
        <pc:spChg chg="add mod">
          <ac:chgData name="Arav Barot" userId="2aabccd7-f410-4c9c-8764-2e3ea0dd7040" providerId="ADAL" clId="{1E6D6936-96D0-42F6-B297-D692B627CB4A}" dt="2024-01-23T11:02:46.990" v="1794" actId="164"/>
          <ac:spMkLst>
            <pc:docMk/>
            <pc:sldMk cId="1045477629" sldId="2147473181"/>
            <ac:spMk id="20" creationId="{635AC786-2B15-F776-1955-C716FCBF7995}"/>
          </ac:spMkLst>
        </pc:spChg>
        <pc:spChg chg="add mod ord">
          <ac:chgData name="Arav Barot" userId="2aabccd7-f410-4c9c-8764-2e3ea0dd7040" providerId="ADAL" clId="{1E6D6936-96D0-42F6-B297-D692B627CB4A}" dt="2024-01-23T10:42:49.095" v="1666" actId="167"/>
          <ac:spMkLst>
            <pc:docMk/>
            <pc:sldMk cId="1045477629" sldId="2147473181"/>
            <ac:spMk id="21" creationId="{A4362F8B-139C-F1EB-4A60-C2A3B71E8A1A}"/>
          </ac:spMkLst>
        </pc:spChg>
        <pc:spChg chg="add mod">
          <ac:chgData name="Arav Barot" userId="2aabccd7-f410-4c9c-8764-2e3ea0dd7040" providerId="ADAL" clId="{1E6D6936-96D0-42F6-B297-D692B627CB4A}" dt="2024-01-23T10:43:18.585" v="1670" actId="34135"/>
          <ac:spMkLst>
            <pc:docMk/>
            <pc:sldMk cId="1045477629" sldId="2147473181"/>
            <ac:spMk id="22" creationId="{114929FC-459F-100D-2C3E-0929496F52CD}"/>
          </ac:spMkLst>
        </pc:spChg>
        <pc:spChg chg="add mod">
          <ac:chgData name="Arav Barot" userId="2aabccd7-f410-4c9c-8764-2e3ea0dd7040" providerId="ADAL" clId="{1E6D6936-96D0-42F6-B297-D692B627CB4A}" dt="2024-01-23T11:03:10.649" v="1797" actId="1076"/>
          <ac:spMkLst>
            <pc:docMk/>
            <pc:sldMk cId="1045477629" sldId="2147473181"/>
            <ac:spMk id="24" creationId="{022B0B3F-E57C-E0F8-7C67-800DB0A3D772}"/>
          </ac:spMkLst>
        </pc:spChg>
        <pc:grpChg chg="add mod">
          <ac:chgData name="Arav Barot" userId="2aabccd7-f410-4c9c-8764-2e3ea0dd7040" providerId="ADAL" clId="{1E6D6936-96D0-42F6-B297-D692B627CB4A}" dt="2024-01-23T11:02:54.753" v="1795" actId="1076"/>
          <ac:grpSpMkLst>
            <pc:docMk/>
            <pc:sldMk cId="1045477629" sldId="2147473181"/>
            <ac:grpSpMk id="25" creationId="{14E94FA3-F923-FE9C-A7C1-B90C4228285E}"/>
          </ac:grpSpMkLst>
        </pc:grpChg>
        <pc:graphicFrameChg chg="add mod modGraphic">
          <ac:chgData name="Arav Barot" userId="2aabccd7-f410-4c9c-8764-2e3ea0dd7040" providerId="ADAL" clId="{1E6D6936-96D0-42F6-B297-D692B627CB4A}" dt="2024-01-23T11:05:36.793" v="1822" actId="1076"/>
          <ac:graphicFrameMkLst>
            <pc:docMk/>
            <pc:sldMk cId="1045477629" sldId="2147473181"/>
            <ac:graphicFrameMk id="7" creationId="{5E5137B2-C407-C143-9DF7-E1606DBDD3D1}"/>
          </ac:graphicFrameMkLst>
        </pc:graphicFrameChg>
        <pc:cxnChg chg="add mod">
          <ac:chgData name="Arav Barot" userId="2aabccd7-f410-4c9c-8764-2e3ea0dd7040" providerId="ADAL" clId="{1E6D6936-96D0-42F6-B297-D692B627CB4A}" dt="2024-01-23T11:05:51.085" v="1823" actId="1076"/>
          <ac:cxnSpMkLst>
            <pc:docMk/>
            <pc:sldMk cId="1045477629" sldId="2147473181"/>
            <ac:cxnSpMk id="9" creationId="{6925ED22-9951-6DA8-CCD6-8C7C6B0ABC39}"/>
          </ac:cxnSpMkLst>
        </pc:cxnChg>
        <pc:cxnChg chg="add mod">
          <ac:chgData name="Arav Barot" userId="2aabccd7-f410-4c9c-8764-2e3ea0dd7040" providerId="ADAL" clId="{1E6D6936-96D0-42F6-B297-D692B627CB4A}" dt="2024-01-23T11:02:46.990" v="1794" actId="164"/>
          <ac:cxnSpMkLst>
            <pc:docMk/>
            <pc:sldMk cId="1045477629" sldId="2147473181"/>
            <ac:cxnSpMk id="11" creationId="{C0E06045-64C1-0DE5-4E9F-FF11AD2BCF83}"/>
          </ac:cxnSpMkLst>
        </pc:cxnChg>
        <pc:cxnChg chg="add mod">
          <ac:chgData name="Arav Barot" userId="2aabccd7-f410-4c9c-8764-2e3ea0dd7040" providerId="ADAL" clId="{1E6D6936-96D0-42F6-B297-D692B627CB4A}" dt="2024-01-23T11:02:46.990" v="1794" actId="164"/>
          <ac:cxnSpMkLst>
            <pc:docMk/>
            <pc:sldMk cId="1045477629" sldId="2147473181"/>
            <ac:cxnSpMk id="12" creationId="{93C3BE64-FC2F-B93C-A088-02ADFB19D37E}"/>
          </ac:cxnSpMkLst>
        </pc:cxnChg>
        <pc:cxnChg chg="add del mod">
          <ac:chgData name="Arav Barot" userId="2aabccd7-f410-4c9c-8764-2e3ea0dd7040" providerId="ADAL" clId="{1E6D6936-96D0-42F6-B297-D692B627CB4A}" dt="2024-01-23T10:40:06.352" v="1645"/>
          <ac:cxnSpMkLst>
            <pc:docMk/>
            <pc:sldMk cId="1045477629" sldId="2147473181"/>
            <ac:cxnSpMk id="13" creationId="{813C3E94-E3A4-F4F0-BFA2-36AD6C753FD4}"/>
          </ac:cxnSpMkLst>
        </pc:cxnChg>
      </pc:sldChg>
      <pc:sldChg chg="add">
        <pc:chgData name="Arav Barot" userId="2aabccd7-f410-4c9c-8764-2e3ea0dd7040" providerId="ADAL" clId="{1E6D6936-96D0-42F6-B297-D692B627CB4A}" dt="2024-01-24T08:43:38.366" v="1893"/>
        <pc:sldMkLst>
          <pc:docMk/>
          <pc:sldMk cId="1823274327" sldId="2147473182"/>
        </pc:sldMkLst>
      </pc:sldChg>
    </pc:docChg>
  </pc:docChgLst>
  <pc:docChgLst>
    <pc:chgData name="Arav Barot" userId="2aabccd7-f410-4c9c-8764-2e3ea0dd7040" providerId="ADAL" clId="{3D448A06-67F0-498D-B712-492ED44F04DA}"/>
    <pc:docChg chg="undo custSel addSld delSld modSld sldOrd">
      <pc:chgData name="Arav Barot" userId="2aabccd7-f410-4c9c-8764-2e3ea0dd7040" providerId="ADAL" clId="{3D448A06-67F0-498D-B712-492ED44F04DA}" dt="2023-08-30T11:00:17.131" v="1670" actId="1076"/>
      <pc:docMkLst>
        <pc:docMk/>
      </pc:docMkLst>
      <pc:sldChg chg="addSp delSp modSp mod">
        <pc:chgData name="Arav Barot" userId="2aabccd7-f410-4c9c-8764-2e3ea0dd7040" providerId="ADAL" clId="{3D448A06-67F0-498D-B712-492ED44F04DA}" dt="2023-08-22T12:43:59.441" v="1389" actId="1076"/>
        <pc:sldMkLst>
          <pc:docMk/>
          <pc:sldMk cId="309941126" sldId="1283"/>
        </pc:sldMkLst>
        <pc:spChg chg="mod">
          <ac:chgData name="Arav Barot" userId="2aabccd7-f410-4c9c-8764-2e3ea0dd7040" providerId="ADAL" clId="{3D448A06-67F0-498D-B712-492ED44F04DA}" dt="2023-08-22T12:05:45.502" v="50" actId="20577"/>
          <ac:spMkLst>
            <pc:docMk/>
            <pc:sldMk cId="309941126" sldId="1283"/>
            <ac:spMk id="2" creationId="{768C512F-03F8-B14D-9876-DC81C85B54D4}"/>
          </ac:spMkLst>
        </pc:spChg>
        <pc:spChg chg="del">
          <ac:chgData name="Arav Barot" userId="2aabccd7-f410-4c9c-8764-2e3ea0dd7040" providerId="ADAL" clId="{3D448A06-67F0-498D-B712-492ED44F04DA}" dt="2023-08-22T12:06:02.890" v="54" actId="478"/>
          <ac:spMkLst>
            <pc:docMk/>
            <pc:sldMk cId="309941126" sldId="1283"/>
            <ac:spMk id="4" creationId="{9C8DE64F-BD42-854B-AE8C-6E569CA60BF5}"/>
          </ac:spMkLst>
        </pc:spChg>
        <pc:spChg chg="del mod">
          <ac:chgData name="Arav Barot" userId="2aabccd7-f410-4c9c-8764-2e3ea0dd7040" providerId="ADAL" clId="{3D448A06-67F0-498D-B712-492ED44F04DA}" dt="2023-08-22T12:05:57.100" v="52" actId="478"/>
          <ac:spMkLst>
            <pc:docMk/>
            <pc:sldMk cId="309941126" sldId="1283"/>
            <ac:spMk id="5" creationId="{E0D845B5-81B5-C349-A5D7-0B699944F3B4}"/>
          </ac:spMkLst>
        </pc:spChg>
        <pc:spChg chg="mod">
          <ac:chgData name="Arav Barot" userId="2aabccd7-f410-4c9c-8764-2e3ea0dd7040" providerId="ADAL" clId="{3D448A06-67F0-498D-B712-492ED44F04DA}" dt="2023-08-22T12:43:59.441" v="1389" actId="1076"/>
          <ac:spMkLst>
            <pc:docMk/>
            <pc:sldMk cId="309941126" sldId="1283"/>
            <ac:spMk id="6" creationId="{18360BEF-433E-C84D-BC4F-A5C6328D2433}"/>
          </ac:spMkLst>
        </pc:spChg>
        <pc:spChg chg="mod">
          <ac:chgData name="Arav Barot" userId="2aabccd7-f410-4c9c-8764-2e3ea0dd7040" providerId="ADAL" clId="{3D448A06-67F0-498D-B712-492ED44F04DA}" dt="2023-08-22T12:43:55.717" v="1388" actId="1076"/>
          <ac:spMkLst>
            <pc:docMk/>
            <pc:sldMk cId="309941126" sldId="1283"/>
            <ac:spMk id="7" creationId="{0B539C50-BE7A-2C42-B09A-D1A13C908937}"/>
          </ac:spMkLst>
        </pc:spChg>
        <pc:spChg chg="add del mod">
          <ac:chgData name="Arav Barot" userId="2aabccd7-f410-4c9c-8764-2e3ea0dd7040" providerId="ADAL" clId="{3D448A06-67F0-498D-B712-492ED44F04DA}" dt="2023-08-22T12:05:59.820" v="53" actId="478"/>
          <ac:spMkLst>
            <pc:docMk/>
            <pc:sldMk cId="309941126" sldId="1283"/>
            <ac:spMk id="8" creationId="{1624CB51-7F29-6A5C-4BB1-B5D98EAAB3BA}"/>
          </ac:spMkLst>
        </pc:spChg>
        <pc:spChg chg="del">
          <ac:chgData name="Arav Barot" userId="2aabccd7-f410-4c9c-8764-2e3ea0dd7040" providerId="ADAL" clId="{3D448A06-67F0-498D-B712-492ED44F04DA}" dt="2023-08-22T12:43:48.255" v="1386" actId="478"/>
          <ac:spMkLst>
            <pc:docMk/>
            <pc:sldMk cId="309941126" sldId="1283"/>
            <ac:spMk id="9" creationId="{E7E7F215-383A-0446-C661-20B3A1ECFFDF}"/>
          </ac:spMkLst>
        </pc:spChg>
      </pc:sldChg>
      <pc:sldChg chg="del">
        <pc:chgData name="Arav Barot" userId="2aabccd7-f410-4c9c-8764-2e3ea0dd7040" providerId="ADAL" clId="{3D448A06-67F0-498D-B712-492ED44F04DA}" dt="2023-08-22T12:05:10.209" v="0" actId="47"/>
        <pc:sldMkLst>
          <pc:docMk/>
          <pc:sldMk cId="4195788555" sldId="2147473123"/>
        </pc:sldMkLst>
      </pc:sldChg>
      <pc:sldChg chg="del">
        <pc:chgData name="Arav Barot" userId="2aabccd7-f410-4c9c-8764-2e3ea0dd7040" providerId="ADAL" clId="{3D448A06-67F0-498D-B712-492ED44F04DA}" dt="2023-08-22T12:05:12.468" v="1" actId="47"/>
        <pc:sldMkLst>
          <pc:docMk/>
          <pc:sldMk cId="3337052778" sldId="2147473124"/>
        </pc:sldMkLst>
      </pc:sldChg>
      <pc:sldChg chg="addSp delSp modSp mod">
        <pc:chgData name="Arav Barot" userId="2aabccd7-f410-4c9c-8764-2e3ea0dd7040" providerId="ADAL" clId="{3D448A06-67F0-498D-B712-492ED44F04DA}" dt="2023-08-22T12:38:11.491" v="1188" actId="20577"/>
        <pc:sldMkLst>
          <pc:docMk/>
          <pc:sldMk cId="2411864418" sldId="2147473125"/>
        </pc:sldMkLst>
        <pc:spChg chg="del">
          <ac:chgData name="Arav Barot" userId="2aabccd7-f410-4c9c-8764-2e3ea0dd7040" providerId="ADAL" clId="{3D448A06-67F0-498D-B712-492ED44F04DA}" dt="2023-08-22T12:36:56.408" v="1153" actId="478"/>
          <ac:spMkLst>
            <pc:docMk/>
            <pc:sldMk cId="2411864418" sldId="2147473125"/>
            <ac:spMk id="2" creationId="{6FFA6E4A-55CF-E53E-D930-3BA953242ABA}"/>
          </ac:spMkLst>
        </pc:spChg>
        <pc:spChg chg="mod">
          <ac:chgData name="Arav Barot" userId="2aabccd7-f410-4c9c-8764-2e3ea0dd7040" providerId="ADAL" clId="{3D448A06-67F0-498D-B712-492ED44F04DA}" dt="2023-08-22T12:35:23.337" v="1104" actId="1076"/>
          <ac:spMkLst>
            <pc:docMk/>
            <pc:sldMk cId="2411864418" sldId="2147473125"/>
            <ac:spMk id="3" creationId="{8F8008F4-4D0A-6F7A-9307-AC9C6C923268}"/>
          </ac:spMkLst>
        </pc:spChg>
        <pc:spChg chg="del mod">
          <ac:chgData name="Arav Barot" userId="2aabccd7-f410-4c9c-8764-2e3ea0dd7040" providerId="ADAL" clId="{3D448A06-67F0-498D-B712-492ED44F04DA}" dt="2023-08-22T12:19:44.698" v="836" actId="478"/>
          <ac:spMkLst>
            <pc:docMk/>
            <pc:sldMk cId="2411864418" sldId="2147473125"/>
            <ac:spMk id="5" creationId="{B0ED4AFC-B2CD-4D61-7F59-626DF4F70281}"/>
          </ac:spMkLst>
        </pc:spChg>
        <pc:spChg chg="add del">
          <ac:chgData name="Arav Barot" userId="2aabccd7-f410-4c9c-8764-2e3ea0dd7040" providerId="ADAL" clId="{3D448A06-67F0-498D-B712-492ED44F04DA}" dt="2023-08-22T12:19:36.750" v="834" actId="478"/>
          <ac:spMkLst>
            <pc:docMk/>
            <pc:sldMk cId="2411864418" sldId="2147473125"/>
            <ac:spMk id="6" creationId="{4092EAF4-B8B7-B8DA-43F1-3521E1670ED9}"/>
          </ac:spMkLst>
        </pc:spChg>
        <pc:spChg chg="del mod">
          <ac:chgData name="Arav Barot" userId="2aabccd7-f410-4c9c-8764-2e3ea0dd7040" providerId="ADAL" clId="{3D448A06-67F0-498D-B712-492ED44F04DA}" dt="2023-08-22T12:07:08.557" v="155" actId="478"/>
          <ac:spMkLst>
            <pc:docMk/>
            <pc:sldMk cId="2411864418" sldId="2147473125"/>
            <ac:spMk id="7" creationId="{3C646A8B-4516-4678-8FFA-F798C0F29657}"/>
          </ac:spMkLst>
        </pc:spChg>
        <pc:spChg chg="del">
          <ac:chgData name="Arav Barot" userId="2aabccd7-f410-4c9c-8764-2e3ea0dd7040" providerId="ADAL" clId="{3D448A06-67F0-498D-B712-492ED44F04DA}" dt="2023-08-22T12:06:59.637" v="142" actId="478"/>
          <ac:spMkLst>
            <pc:docMk/>
            <pc:sldMk cId="2411864418" sldId="2147473125"/>
            <ac:spMk id="8" creationId="{4168028B-4712-A018-2010-13643157A8DE}"/>
          </ac:spMkLst>
        </pc:spChg>
        <pc:spChg chg="add del mod topLvl">
          <ac:chgData name="Arav Barot" userId="2aabccd7-f410-4c9c-8764-2e3ea0dd7040" providerId="ADAL" clId="{3D448A06-67F0-498D-B712-492ED44F04DA}" dt="2023-08-22T12:35:01.773" v="1101" actId="164"/>
          <ac:spMkLst>
            <pc:docMk/>
            <pc:sldMk cId="2411864418" sldId="2147473125"/>
            <ac:spMk id="9" creationId="{8889BDBE-C414-F0FF-93B1-E50FB436C313}"/>
          </ac:spMkLst>
        </pc:spChg>
        <pc:spChg chg="add del mod topLvl">
          <ac:chgData name="Arav Barot" userId="2aabccd7-f410-4c9c-8764-2e3ea0dd7040" providerId="ADAL" clId="{3D448A06-67F0-498D-B712-492ED44F04DA}" dt="2023-08-22T12:38:11.491" v="1188" actId="20577"/>
          <ac:spMkLst>
            <pc:docMk/>
            <pc:sldMk cId="2411864418" sldId="2147473125"/>
            <ac:spMk id="12" creationId="{8F17D458-B28F-1CEA-E7B9-42653616283B}"/>
          </ac:spMkLst>
        </pc:spChg>
        <pc:spChg chg="add del mod topLvl">
          <ac:chgData name="Arav Barot" userId="2aabccd7-f410-4c9c-8764-2e3ea0dd7040" providerId="ADAL" clId="{3D448A06-67F0-498D-B712-492ED44F04DA}" dt="2023-08-22T12:35:01.773" v="1101" actId="164"/>
          <ac:spMkLst>
            <pc:docMk/>
            <pc:sldMk cId="2411864418" sldId="2147473125"/>
            <ac:spMk id="13" creationId="{67216408-97AC-9ED8-D405-F91DE2C662C1}"/>
          </ac:spMkLst>
        </pc:spChg>
        <pc:spChg chg="add del mod topLvl">
          <ac:chgData name="Arav Barot" userId="2aabccd7-f410-4c9c-8764-2e3ea0dd7040" providerId="ADAL" clId="{3D448A06-67F0-498D-B712-492ED44F04DA}" dt="2023-08-22T12:35:01.773" v="1101" actId="164"/>
          <ac:spMkLst>
            <pc:docMk/>
            <pc:sldMk cId="2411864418" sldId="2147473125"/>
            <ac:spMk id="15" creationId="{23992C8E-BB91-A22A-2BFD-0664616783E4}"/>
          </ac:spMkLst>
        </pc:spChg>
        <pc:spChg chg="mod">
          <ac:chgData name="Arav Barot" userId="2aabccd7-f410-4c9c-8764-2e3ea0dd7040" providerId="ADAL" clId="{3D448A06-67F0-498D-B712-492ED44F04DA}" dt="2023-08-22T12:15:06.176" v="710"/>
          <ac:spMkLst>
            <pc:docMk/>
            <pc:sldMk cId="2411864418" sldId="2147473125"/>
            <ac:spMk id="25" creationId="{B30C5FCB-B19E-D5E4-2C0F-8F6F18A31949}"/>
          </ac:spMkLst>
        </pc:spChg>
        <pc:spChg chg="mod">
          <ac:chgData name="Arav Barot" userId="2aabccd7-f410-4c9c-8764-2e3ea0dd7040" providerId="ADAL" clId="{3D448A06-67F0-498D-B712-492ED44F04DA}" dt="2023-08-22T12:15:06.176" v="710"/>
          <ac:spMkLst>
            <pc:docMk/>
            <pc:sldMk cId="2411864418" sldId="2147473125"/>
            <ac:spMk id="27" creationId="{5DA851BA-7C8C-FD2A-0A94-D24CF37BCD46}"/>
          </ac:spMkLst>
        </pc:spChg>
        <pc:spChg chg="mod">
          <ac:chgData name="Arav Barot" userId="2aabccd7-f410-4c9c-8764-2e3ea0dd7040" providerId="ADAL" clId="{3D448A06-67F0-498D-B712-492ED44F04DA}" dt="2023-08-22T12:15:06.176" v="710"/>
          <ac:spMkLst>
            <pc:docMk/>
            <pc:sldMk cId="2411864418" sldId="2147473125"/>
            <ac:spMk id="28" creationId="{A8FCC8A7-95AA-BD8D-EB3D-DEBC2778BB5C}"/>
          </ac:spMkLst>
        </pc:spChg>
        <pc:spChg chg="mod">
          <ac:chgData name="Arav Barot" userId="2aabccd7-f410-4c9c-8764-2e3ea0dd7040" providerId="ADAL" clId="{3D448A06-67F0-498D-B712-492ED44F04DA}" dt="2023-08-22T12:15:06.176" v="710"/>
          <ac:spMkLst>
            <pc:docMk/>
            <pc:sldMk cId="2411864418" sldId="2147473125"/>
            <ac:spMk id="30" creationId="{9B03C29E-A2CA-ABE8-FB1B-59DA9C26DA05}"/>
          </ac:spMkLst>
        </pc:spChg>
        <pc:spChg chg="mod topLvl">
          <ac:chgData name="Arav Barot" userId="2aabccd7-f410-4c9c-8764-2e3ea0dd7040" providerId="ADAL" clId="{3D448A06-67F0-498D-B712-492ED44F04DA}" dt="2023-08-22T12:35:30.961" v="1105" actId="164"/>
          <ac:spMkLst>
            <pc:docMk/>
            <pc:sldMk cId="2411864418" sldId="2147473125"/>
            <ac:spMk id="34" creationId="{B6C34B5F-2221-6CD8-EBA3-1FF7B36D5FF6}"/>
          </ac:spMkLst>
        </pc:spChg>
        <pc:spChg chg="mod topLvl">
          <ac:chgData name="Arav Barot" userId="2aabccd7-f410-4c9c-8764-2e3ea0dd7040" providerId="ADAL" clId="{3D448A06-67F0-498D-B712-492ED44F04DA}" dt="2023-08-22T12:35:30.961" v="1105" actId="164"/>
          <ac:spMkLst>
            <pc:docMk/>
            <pc:sldMk cId="2411864418" sldId="2147473125"/>
            <ac:spMk id="36" creationId="{DA38AF1D-1E67-FD15-8A13-BF9A7CA73C04}"/>
          </ac:spMkLst>
        </pc:spChg>
        <pc:spChg chg="mod topLvl">
          <ac:chgData name="Arav Barot" userId="2aabccd7-f410-4c9c-8764-2e3ea0dd7040" providerId="ADAL" clId="{3D448A06-67F0-498D-B712-492ED44F04DA}" dt="2023-08-22T12:35:30.961" v="1105" actId="164"/>
          <ac:spMkLst>
            <pc:docMk/>
            <pc:sldMk cId="2411864418" sldId="2147473125"/>
            <ac:spMk id="37" creationId="{CDAF82C8-9114-9DD4-5721-3C3A4BB3341E}"/>
          </ac:spMkLst>
        </pc:spChg>
        <pc:spChg chg="mod topLvl">
          <ac:chgData name="Arav Barot" userId="2aabccd7-f410-4c9c-8764-2e3ea0dd7040" providerId="ADAL" clId="{3D448A06-67F0-498D-B712-492ED44F04DA}" dt="2023-08-22T12:35:30.961" v="1105" actId="164"/>
          <ac:spMkLst>
            <pc:docMk/>
            <pc:sldMk cId="2411864418" sldId="2147473125"/>
            <ac:spMk id="39" creationId="{9783D753-74C6-A792-5B91-AB94A4A1BF67}"/>
          </ac:spMkLst>
        </pc:spChg>
        <pc:spChg chg="add del mod">
          <ac:chgData name="Arav Barot" userId="2aabccd7-f410-4c9c-8764-2e3ea0dd7040" providerId="ADAL" clId="{3D448A06-67F0-498D-B712-492ED44F04DA}" dt="2023-08-22T12:35:01.773" v="1101" actId="164"/>
          <ac:spMkLst>
            <pc:docMk/>
            <pc:sldMk cId="2411864418" sldId="2147473125"/>
            <ac:spMk id="43" creationId="{A8FE94F3-B18E-F618-4D88-E2F7823D6E33}"/>
          </ac:spMkLst>
        </pc:spChg>
        <pc:spChg chg="add mod">
          <ac:chgData name="Arav Barot" userId="2aabccd7-f410-4c9c-8764-2e3ea0dd7040" providerId="ADAL" clId="{3D448A06-67F0-498D-B712-492ED44F04DA}" dt="2023-08-22T12:35:57.844" v="1110" actId="1076"/>
          <ac:spMkLst>
            <pc:docMk/>
            <pc:sldMk cId="2411864418" sldId="2147473125"/>
            <ac:spMk id="45" creationId="{ABEEE0BF-A437-A039-00E0-AC287108FA79}"/>
          </ac:spMkLst>
        </pc:spChg>
        <pc:spChg chg="add mod">
          <ac:chgData name="Arav Barot" userId="2aabccd7-f410-4c9c-8764-2e3ea0dd7040" providerId="ADAL" clId="{3D448A06-67F0-498D-B712-492ED44F04DA}" dt="2023-08-22T12:35:42.653" v="1107" actId="1076"/>
          <ac:spMkLst>
            <pc:docMk/>
            <pc:sldMk cId="2411864418" sldId="2147473125"/>
            <ac:spMk id="47" creationId="{8839D3DC-1AB4-B9DE-65C2-CC740AAB991E}"/>
          </ac:spMkLst>
        </pc:spChg>
        <pc:spChg chg="add mod">
          <ac:chgData name="Arav Barot" userId="2aabccd7-f410-4c9c-8764-2e3ea0dd7040" providerId="ADAL" clId="{3D448A06-67F0-498D-B712-492ED44F04DA}" dt="2023-08-22T12:36:39.053" v="1152" actId="20577"/>
          <ac:spMkLst>
            <pc:docMk/>
            <pc:sldMk cId="2411864418" sldId="2147473125"/>
            <ac:spMk id="50" creationId="{72242A8E-2B93-2887-B08F-14ACD7F41CFE}"/>
          </ac:spMkLst>
        </pc:spChg>
        <pc:spChg chg="add mod">
          <ac:chgData name="Arav Barot" userId="2aabccd7-f410-4c9c-8764-2e3ea0dd7040" providerId="ADAL" clId="{3D448A06-67F0-498D-B712-492ED44F04DA}" dt="2023-08-22T12:36:26.184" v="1137"/>
          <ac:spMkLst>
            <pc:docMk/>
            <pc:sldMk cId="2411864418" sldId="2147473125"/>
            <ac:spMk id="51" creationId="{838F259F-D35F-F9D0-9AF4-E9FA55409E81}"/>
          </ac:spMkLst>
        </pc:spChg>
        <pc:grpChg chg="add del mod">
          <ac:chgData name="Arav Barot" userId="2aabccd7-f410-4c9c-8764-2e3ea0dd7040" providerId="ADAL" clId="{3D448A06-67F0-498D-B712-492ED44F04DA}" dt="2023-08-22T12:15:22.069" v="713" actId="165"/>
          <ac:grpSpMkLst>
            <pc:docMk/>
            <pc:sldMk cId="2411864418" sldId="2147473125"/>
            <ac:grpSpMk id="23" creationId="{F4573DAD-2789-107A-240A-29775E3B06DC}"/>
          </ac:grpSpMkLst>
        </pc:grpChg>
        <pc:grpChg chg="add del mod">
          <ac:chgData name="Arav Barot" userId="2aabccd7-f410-4c9c-8764-2e3ea0dd7040" providerId="ADAL" clId="{3D448A06-67F0-498D-B712-492ED44F04DA}" dt="2023-08-22T12:15:13.519" v="712" actId="478"/>
          <ac:grpSpMkLst>
            <pc:docMk/>
            <pc:sldMk cId="2411864418" sldId="2147473125"/>
            <ac:grpSpMk id="24" creationId="{ED714855-2026-DC79-A87D-F8026B3E5D72}"/>
          </ac:grpSpMkLst>
        </pc:grpChg>
        <pc:grpChg chg="add del mod">
          <ac:chgData name="Arav Barot" userId="2aabccd7-f410-4c9c-8764-2e3ea0dd7040" providerId="ADAL" clId="{3D448A06-67F0-498D-B712-492ED44F04DA}" dt="2023-08-22T12:18:27.013" v="780" actId="165"/>
          <ac:grpSpMkLst>
            <pc:docMk/>
            <pc:sldMk cId="2411864418" sldId="2147473125"/>
            <ac:grpSpMk id="32" creationId="{0B1D976C-7BC5-1DF6-365F-8306BD9CC11E}"/>
          </ac:grpSpMkLst>
        </pc:grpChg>
        <pc:grpChg chg="add del mod">
          <ac:chgData name="Arav Barot" userId="2aabccd7-f410-4c9c-8764-2e3ea0dd7040" providerId="ADAL" clId="{3D448A06-67F0-498D-B712-492ED44F04DA}" dt="2023-08-22T12:22:11.366" v="980" actId="165"/>
          <ac:grpSpMkLst>
            <pc:docMk/>
            <pc:sldMk cId="2411864418" sldId="2147473125"/>
            <ac:grpSpMk id="33" creationId="{000D3652-909F-9ECD-D8B3-1CD8D31FD127}"/>
          </ac:grpSpMkLst>
        </pc:grpChg>
        <pc:grpChg chg="add mod">
          <ac:chgData name="Arav Barot" userId="2aabccd7-f410-4c9c-8764-2e3ea0dd7040" providerId="ADAL" clId="{3D448A06-67F0-498D-B712-492ED44F04DA}" dt="2023-08-22T12:35:53.464" v="1108" actId="1076"/>
          <ac:grpSpMkLst>
            <pc:docMk/>
            <pc:sldMk cId="2411864418" sldId="2147473125"/>
            <ac:grpSpMk id="48" creationId="{E9657E9E-26AD-C9E0-1816-68BCAB7B5DB7}"/>
          </ac:grpSpMkLst>
        </pc:grpChg>
        <pc:grpChg chg="add mod">
          <ac:chgData name="Arav Barot" userId="2aabccd7-f410-4c9c-8764-2e3ea0dd7040" providerId="ADAL" clId="{3D448A06-67F0-498D-B712-492ED44F04DA}" dt="2023-08-22T12:35:39.348" v="1106" actId="1076"/>
          <ac:grpSpMkLst>
            <pc:docMk/>
            <pc:sldMk cId="2411864418" sldId="2147473125"/>
            <ac:grpSpMk id="49" creationId="{578ABCBB-F891-7DD1-1AD6-C495D31D68E3}"/>
          </ac:grpSpMkLst>
        </pc:grpChg>
        <pc:cxnChg chg="add del mod topLvl">
          <ac:chgData name="Arav Barot" userId="2aabccd7-f410-4c9c-8764-2e3ea0dd7040" providerId="ADAL" clId="{3D448A06-67F0-498D-B712-492ED44F04DA}" dt="2023-08-22T12:35:01.773" v="1101" actId="164"/>
          <ac:cxnSpMkLst>
            <pc:docMk/>
            <pc:sldMk cId="2411864418" sldId="2147473125"/>
            <ac:cxnSpMk id="11" creationId="{FDFBC031-0ECA-8ED4-4974-B2B69CC3C1E2}"/>
          </ac:cxnSpMkLst>
        </pc:cxnChg>
        <pc:cxnChg chg="add del mod topLvl">
          <ac:chgData name="Arav Barot" userId="2aabccd7-f410-4c9c-8764-2e3ea0dd7040" providerId="ADAL" clId="{3D448A06-67F0-498D-B712-492ED44F04DA}" dt="2023-08-22T12:38:01.726" v="1175" actId="20577"/>
          <ac:cxnSpMkLst>
            <pc:docMk/>
            <pc:sldMk cId="2411864418" sldId="2147473125"/>
            <ac:cxnSpMk id="14" creationId="{3599135C-BF02-1B07-F1D2-CFF3634D4AF0}"/>
          </ac:cxnSpMkLst>
        </pc:cxnChg>
        <pc:cxnChg chg="add del mod topLvl">
          <ac:chgData name="Arav Barot" userId="2aabccd7-f410-4c9c-8764-2e3ea0dd7040" providerId="ADAL" clId="{3D448A06-67F0-498D-B712-492ED44F04DA}" dt="2023-08-22T12:35:01.773" v="1101" actId="164"/>
          <ac:cxnSpMkLst>
            <pc:docMk/>
            <pc:sldMk cId="2411864418" sldId="2147473125"/>
            <ac:cxnSpMk id="16" creationId="{98CE9882-D672-450E-226E-551C41009FC4}"/>
          </ac:cxnSpMkLst>
        </pc:cxnChg>
        <pc:cxnChg chg="mod">
          <ac:chgData name="Arav Barot" userId="2aabccd7-f410-4c9c-8764-2e3ea0dd7040" providerId="ADAL" clId="{3D448A06-67F0-498D-B712-492ED44F04DA}" dt="2023-08-22T12:15:13.519" v="712" actId="478"/>
          <ac:cxnSpMkLst>
            <pc:docMk/>
            <pc:sldMk cId="2411864418" sldId="2147473125"/>
            <ac:cxnSpMk id="26" creationId="{9D6B8C0A-05BE-B436-D799-14A2F34D1649}"/>
          </ac:cxnSpMkLst>
        </pc:cxnChg>
        <pc:cxnChg chg="mod">
          <ac:chgData name="Arav Barot" userId="2aabccd7-f410-4c9c-8764-2e3ea0dd7040" providerId="ADAL" clId="{3D448A06-67F0-498D-B712-492ED44F04DA}" dt="2023-08-22T12:15:13.519" v="712" actId="478"/>
          <ac:cxnSpMkLst>
            <pc:docMk/>
            <pc:sldMk cId="2411864418" sldId="2147473125"/>
            <ac:cxnSpMk id="29" creationId="{BEF15F69-6E84-D378-7424-FF8185B71D76}"/>
          </ac:cxnSpMkLst>
        </pc:cxnChg>
        <pc:cxnChg chg="mod">
          <ac:chgData name="Arav Barot" userId="2aabccd7-f410-4c9c-8764-2e3ea0dd7040" providerId="ADAL" clId="{3D448A06-67F0-498D-B712-492ED44F04DA}" dt="2023-08-22T12:15:13.519" v="712" actId="478"/>
          <ac:cxnSpMkLst>
            <pc:docMk/>
            <pc:sldMk cId="2411864418" sldId="2147473125"/>
            <ac:cxnSpMk id="31" creationId="{893592E1-2113-05A6-419F-A5875270828A}"/>
          </ac:cxnSpMkLst>
        </pc:cxnChg>
        <pc:cxnChg chg="mod topLvl">
          <ac:chgData name="Arav Barot" userId="2aabccd7-f410-4c9c-8764-2e3ea0dd7040" providerId="ADAL" clId="{3D448A06-67F0-498D-B712-492ED44F04DA}" dt="2023-08-22T12:35:30.961" v="1105" actId="164"/>
          <ac:cxnSpMkLst>
            <pc:docMk/>
            <pc:sldMk cId="2411864418" sldId="2147473125"/>
            <ac:cxnSpMk id="35" creationId="{F3885088-8AF7-89B0-9278-544C793470E1}"/>
          </ac:cxnSpMkLst>
        </pc:cxnChg>
        <pc:cxnChg chg="mod topLvl">
          <ac:chgData name="Arav Barot" userId="2aabccd7-f410-4c9c-8764-2e3ea0dd7040" providerId="ADAL" clId="{3D448A06-67F0-498D-B712-492ED44F04DA}" dt="2023-08-22T12:35:30.961" v="1105" actId="164"/>
          <ac:cxnSpMkLst>
            <pc:docMk/>
            <pc:sldMk cId="2411864418" sldId="2147473125"/>
            <ac:cxnSpMk id="38" creationId="{4A035CA3-2D97-13D5-B533-7AAAC3589701}"/>
          </ac:cxnSpMkLst>
        </pc:cxnChg>
        <pc:cxnChg chg="del mod topLvl">
          <ac:chgData name="Arav Barot" userId="2aabccd7-f410-4c9c-8764-2e3ea0dd7040" providerId="ADAL" clId="{3D448A06-67F0-498D-B712-492ED44F04DA}" dt="2023-08-22T12:22:17.533" v="981" actId="478"/>
          <ac:cxnSpMkLst>
            <pc:docMk/>
            <pc:sldMk cId="2411864418" sldId="2147473125"/>
            <ac:cxnSpMk id="40" creationId="{6F7C5FD3-F911-4E9F-E335-0F6004A2FACF}"/>
          </ac:cxnSpMkLst>
        </pc:cxnChg>
        <pc:cxnChg chg="add del mod">
          <ac:chgData name="Arav Barot" userId="2aabccd7-f410-4c9c-8764-2e3ea0dd7040" providerId="ADAL" clId="{3D448A06-67F0-498D-B712-492ED44F04DA}" dt="2023-08-22T12:35:01.773" v="1101" actId="164"/>
          <ac:cxnSpMkLst>
            <pc:docMk/>
            <pc:sldMk cId="2411864418" sldId="2147473125"/>
            <ac:cxnSpMk id="42" creationId="{19A4B68C-613D-3CF1-4D0F-E5A8A3917C9F}"/>
          </ac:cxnSpMkLst>
        </pc:cxnChg>
        <pc:cxnChg chg="add mod">
          <ac:chgData name="Arav Barot" userId="2aabccd7-f410-4c9c-8764-2e3ea0dd7040" providerId="ADAL" clId="{3D448A06-67F0-498D-B712-492ED44F04DA}" dt="2023-08-22T12:35:30.961" v="1105" actId="164"/>
          <ac:cxnSpMkLst>
            <pc:docMk/>
            <pc:sldMk cId="2411864418" sldId="2147473125"/>
            <ac:cxnSpMk id="46" creationId="{078CE07D-937B-E564-8D6A-222139D57B62}"/>
          </ac:cxnSpMkLst>
        </pc:cxnChg>
      </pc:sldChg>
      <pc:sldChg chg="delSp modSp mod ord">
        <pc:chgData name="Arav Barot" userId="2aabccd7-f410-4c9c-8764-2e3ea0dd7040" providerId="ADAL" clId="{3D448A06-67F0-498D-B712-492ED44F04DA}" dt="2023-08-22T12:43:23.907" v="1383" actId="478"/>
        <pc:sldMkLst>
          <pc:docMk/>
          <pc:sldMk cId="3137227597" sldId="2147473126"/>
        </pc:sldMkLst>
        <pc:spChg chg="del">
          <ac:chgData name="Arav Barot" userId="2aabccd7-f410-4c9c-8764-2e3ea0dd7040" providerId="ADAL" clId="{3D448A06-67F0-498D-B712-492ED44F04DA}" dt="2023-08-22T12:43:23.907" v="1383" actId="478"/>
          <ac:spMkLst>
            <pc:docMk/>
            <pc:sldMk cId="3137227597" sldId="2147473126"/>
            <ac:spMk id="5" creationId="{30D87E59-B9E4-7E4D-51CB-B50C177755E0}"/>
          </ac:spMkLst>
        </pc:spChg>
        <pc:graphicFrameChg chg="mod modGraphic">
          <ac:chgData name="Arav Barot" userId="2aabccd7-f410-4c9c-8764-2e3ea0dd7040" providerId="ADAL" clId="{3D448A06-67F0-498D-B712-492ED44F04DA}" dt="2023-08-22T12:43:19.645" v="1382" actId="14100"/>
          <ac:graphicFrameMkLst>
            <pc:docMk/>
            <pc:sldMk cId="3137227597" sldId="2147473126"/>
            <ac:graphicFrameMk id="13" creationId="{D1CE51E1-B310-8F72-70D3-BF6EA928645A}"/>
          </ac:graphicFrameMkLst>
        </pc:graphicFrameChg>
        <pc:picChg chg="mod">
          <ac:chgData name="Arav Barot" userId="2aabccd7-f410-4c9c-8764-2e3ea0dd7040" providerId="ADAL" clId="{3D448A06-67F0-498D-B712-492ED44F04DA}" dt="2023-08-22T12:43:06.208" v="1379" actId="14100"/>
          <ac:picMkLst>
            <pc:docMk/>
            <pc:sldMk cId="3137227597" sldId="2147473126"/>
            <ac:picMk id="15" creationId="{18E6F2C2-2271-FA59-8207-5A8504BA616A}"/>
          </ac:picMkLst>
        </pc:picChg>
      </pc:sldChg>
      <pc:sldChg chg="delSp add del mod">
        <pc:chgData name="Arav Barot" userId="2aabccd7-f410-4c9c-8764-2e3ea0dd7040" providerId="ADAL" clId="{3D448A06-67F0-498D-B712-492ED44F04DA}" dt="2023-08-22T12:43:39.917" v="1385" actId="478"/>
        <pc:sldMkLst>
          <pc:docMk/>
          <pc:sldMk cId="832467667" sldId="2147473127"/>
        </pc:sldMkLst>
        <pc:spChg chg="del">
          <ac:chgData name="Arav Barot" userId="2aabccd7-f410-4c9c-8764-2e3ea0dd7040" providerId="ADAL" clId="{3D448A06-67F0-498D-B712-492ED44F04DA}" dt="2023-08-22T12:43:39.917" v="1385" actId="478"/>
          <ac:spMkLst>
            <pc:docMk/>
            <pc:sldMk cId="832467667" sldId="2147473127"/>
            <ac:spMk id="5" creationId="{16BA4AAF-DD12-8D0C-E2D4-FC2B8CB067D0}"/>
          </ac:spMkLst>
        </pc:spChg>
      </pc:sldChg>
      <pc:sldChg chg="addSp delSp modSp mod modClrScheme chgLayout">
        <pc:chgData name="Arav Barot" userId="2aabccd7-f410-4c9c-8764-2e3ea0dd7040" providerId="ADAL" clId="{3D448A06-67F0-498D-B712-492ED44F04DA}" dt="2023-08-22T12:43:32.599" v="1384" actId="478"/>
        <pc:sldMkLst>
          <pc:docMk/>
          <pc:sldMk cId="4156763662" sldId="2147473128"/>
        </pc:sldMkLst>
        <pc:spChg chg="del">
          <ac:chgData name="Arav Barot" userId="2aabccd7-f410-4c9c-8764-2e3ea0dd7040" providerId="ADAL" clId="{3D448A06-67F0-498D-B712-492ED44F04DA}" dt="2023-08-22T12:25:27.580" v="1054" actId="26606"/>
          <ac:spMkLst>
            <pc:docMk/>
            <pc:sldMk cId="4156763662" sldId="2147473128"/>
            <ac:spMk id="2" creationId="{E8B564B8-C7DF-B98D-AE11-DB0EDF925CC1}"/>
          </ac:spMkLst>
        </pc:spChg>
        <pc:spChg chg="mod">
          <ac:chgData name="Arav Barot" userId="2aabccd7-f410-4c9c-8764-2e3ea0dd7040" providerId="ADAL" clId="{3D448A06-67F0-498D-B712-492ED44F04DA}" dt="2023-08-22T12:33:55.834" v="1064" actId="26606"/>
          <ac:spMkLst>
            <pc:docMk/>
            <pc:sldMk cId="4156763662" sldId="2147473128"/>
            <ac:spMk id="3" creationId="{1C42F3F1-44DC-4035-5063-6BF7813C44F7}"/>
          </ac:spMkLst>
        </pc:spChg>
        <pc:spChg chg="mod">
          <ac:chgData name="Arav Barot" userId="2aabccd7-f410-4c9c-8764-2e3ea0dd7040" providerId="ADAL" clId="{3D448A06-67F0-498D-B712-492ED44F04DA}" dt="2023-08-22T12:33:55.834" v="1064" actId="26606"/>
          <ac:spMkLst>
            <pc:docMk/>
            <pc:sldMk cId="4156763662" sldId="2147473128"/>
            <ac:spMk id="4" creationId="{28420DF6-AE14-4FDC-E179-D3A8FB79AE0E}"/>
          </ac:spMkLst>
        </pc:spChg>
        <pc:spChg chg="del mod">
          <ac:chgData name="Arav Barot" userId="2aabccd7-f410-4c9c-8764-2e3ea0dd7040" providerId="ADAL" clId="{3D448A06-67F0-498D-B712-492ED44F04DA}" dt="2023-08-22T12:43:32.599" v="1384" actId="478"/>
          <ac:spMkLst>
            <pc:docMk/>
            <pc:sldMk cId="4156763662" sldId="2147473128"/>
            <ac:spMk id="5" creationId="{AB098A95-09C6-D3A9-F61A-5C9FC9FC31F0}"/>
          </ac:spMkLst>
        </pc:spChg>
        <pc:spChg chg="mod">
          <ac:chgData name="Arav Barot" userId="2aabccd7-f410-4c9c-8764-2e3ea0dd7040" providerId="ADAL" clId="{3D448A06-67F0-498D-B712-492ED44F04DA}" dt="2023-08-22T12:33:55.834" v="1064" actId="26606"/>
          <ac:spMkLst>
            <pc:docMk/>
            <pc:sldMk cId="4156763662" sldId="2147473128"/>
            <ac:spMk id="6" creationId="{71B921B8-3FEE-64F7-6C51-91DCA27DE659}"/>
          </ac:spMkLst>
        </pc:spChg>
        <pc:spChg chg="add del mod">
          <ac:chgData name="Arav Barot" userId="2aabccd7-f410-4c9c-8764-2e3ea0dd7040" providerId="ADAL" clId="{3D448A06-67F0-498D-B712-492ED44F04DA}" dt="2023-08-22T12:38:44.382" v="1189" actId="478"/>
          <ac:spMkLst>
            <pc:docMk/>
            <pc:sldMk cId="4156763662" sldId="2147473128"/>
            <ac:spMk id="15" creationId="{B385A227-24E8-B47E-AF59-986E85DB59F0}"/>
          </ac:spMkLst>
        </pc:spChg>
        <pc:picChg chg="add del mod ord">
          <ac:chgData name="Arav Barot" userId="2aabccd7-f410-4c9c-8764-2e3ea0dd7040" providerId="ADAL" clId="{3D448A06-67F0-498D-B712-492ED44F04DA}" dt="2023-08-22T12:25:55.374" v="1059" actId="478"/>
          <ac:picMkLst>
            <pc:docMk/>
            <pc:sldMk cId="4156763662" sldId="2147473128"/>
            <ac:picMk id="8" creationId="{0609F635-D0CB-CB53-296D-CC7F9F3136F6}"/>
          </ac:picMkLst>
        </pc:picChg>
        <pc:picChg chg="add mod ord">
          <ac:chgData name="Arav Barot" userId="2aabccd7-f410-4c9c-8764-2e3ea0dd7040" providerId="ADAL" clId="{3D448A06-67F0-498D-B712-492ED44F04DA}" dt="2023-08-22T12:34:09.946" v="1068" actId="14100"/>
          <ac:picMkLst>
            <pc:docMk/>
            <pc:sldMk cId="4156763662" sldId="2147473128"/>
            <ac:picMk id="10" creationId="{0B51A32C-D25F-2416-03C5-F30B5E96B731}"/>
          </ac:picMkLst>
        </pc:picChg>
      </pc:sldChg>
      <pc:sldChg chg="addSp delSp modSp mod">
        <pc:chgData name="Arav Barot" userId="2aabccd7-f410-4c9c-8764-2e3ea0dd7040" providerId="ADAL" clId="{3D448A06-67F0-498D-B712-492ED44F04DA}" dt="2023-08-29T12:01:37.877" v="1449" actId="478"/>
        <pc:sldMkLst>
          <pc:docMk/>
          <pc:sldMk cId="782564862" sldId="2147473129"/>
        </pc:sldMkLst>
        <pc:spChg chg="mod">
          <ac:chgData name="Arav Barot" userId="2aabccd7-f410-4c9c-8764-2e3ea0dd7040" providerId="ADAL" clId="{3D448A06-67F0-498D-B712-492ED44F04DA}" dt="2023-08-22T12:39:41.147" v="1314" actId="20577"/>
          <ac:spMkLst>
            <pc:docMk/>
            <pc:sldMk cId="782564862" sldId="2147473129"/>
            <ac:spMk id="3" creationId="{8FE51932-60AB-0830-CD6D-15048487E3F3}"/>
          </ac:spMkLst>
        </pc:spChg>
        <pc:spChg chg="del">
          <ac:chgData name="Arav Barot" userId="2aabccd7-f410-4c9c-8764-2e3ea0dd7040" providerId="ADAL" clId="{3D448A06-67F0-498D-B712-492ED44F04DA}" dt="2023-08-29T12:01:37.877" v="1449" actId="478"/>
          <ac:spMkLst>
            <pc:docMk/>
            <pc:sldMk cId="782564862" sldId="2147473129"/>
            <ac:spMk id="5" creationId="{50A2E698-2732-D732-62A1-5279B43C365D}"/>
          </ac:spMkLst>
        </pc:spChg>
        <pc:spChg chg="add mod">
          <ac:chgData name="Arav Barot" userId="2aabccd7-f410-4c9c-8764-2e3ea0dd7040" providerId="ADAL" clId="{3D448A06-67F0-498D-B712-492ED44F04DA}" dt="2023-08-22T12:40:10.167" v="1320" actId="14100"/>
          <ac:spMkLst>
            <pc:docMk/>
            <pc:sldMk cId="782564862" sldId="2147473129"/>
            <ac:spMk id="7" creationId="{F61D153F-7113-5B7D-4072-27EE7CCF4A29}"/>
          </ac:spMkLst>
        </pc:spChg>
        <pc:spChg chg="add mod">
          <ac:chgData name="Arav Barot" userId="2aabccd7-f410-4c9c-8764-2e3ea0dd7040" providerId="ADAL" clId="{3D448A06-67F0-498D-B712-492ED44F04DA}" dt="2023-08-22T12:40:55.990" v="1371" actId="1076"/>
          <ac:spMkLst>
            <pc:docMk/>
            <pc:sldMk cId="782564862" sldId="2147473129"/>
            <ac:spMk id="12" creationId="{74435935-DD89-61D5-C54F-10F2A10A238D}"/>
          </ac:spMkLst>
        </pc:spChg>
        <pc:cxnChg chg="add mod">
          <ac:chgData name="Arav Barot" userId="2aabccd7-f410-4c9c-8764-2e3ea0dd7040" providerId="ADAL" clId="{3D448A06-67F0-498D-B712-492ED44F04DA}" dt="2023-08-22T12:40:23.867" v="1322" actId="14100"/>
          <ac:cxnSpMkLst>
            <pc:docMk/>
            <pc:sldMk cId="782564862" sldId="2147473129"/>
            <ac:cxnSpMk id="10" creationId="{91255DA3-801C-8E16-8409-51483C68964F}"/>
          </ac:cxnSpMkLst>
        </pc:cxnChg>
      </pc:sldChg>
      <pc:sldChg chg="addSp delSp modSp new mod">
        <pc:chgData name="Arav Barot" userId="2aabccd7-f410-4c9c-8764-2e3ea0dd7040" providerId="ADAL" clId="{3D448A06-67F0-498D-B712-492ED44F04DA}" dt="2023-08-29T14:06:39.675" v="1626" actId="1076"/>
        <pc:sldMkLst>
          <pc:docMk/>
          <pc:sldMk cId="24430028" sldId="2147473130"/>
        </pc:sldMkLst>
        <pc:spChg chg="mod">
          <ac:chgData name="Arav Barot" userId="2aabccd7-f410-4c9c-8764-2e3ea0dd7040" providerId="ADAL" clId="{3D448A06-67F0-498D-B712-492ED44F04DA}" dt="2023-08-29T14:06:32.305" v="1625" actId="20577"/>
          <ac:spMkLst>
            <pc:docMk/>
            <pc:sldMk cId="24430028" sldId="2147473130"/>
            <ac:spMk id="3" creationId="{81780089-EAA0-194D-EADA-50AE6A5648DB}"/>
          </ac:spMkLst>
        </pc:spChg>
        <pc:spChg chg="del">
          <ac:chgData name="Arav Barot" userId="2aabccd7-f410-4c9c-8764-2e3ea0dd7040" providerId="ADAL" clId="{3D448A06-67F0-498D-B712-492ED44F04DA}" dt="2023-08-29T12:01:33.590" v="1448" actId="478"/>
          <ac:spMkLst>
            <pc:docMk/>
            <pc:sldMk cId="24430028" sldId="2147473130"/>
            <ac:spMk id="5" creationId="{04BB637D-3B2B-E21E-5FB5-90510A79ED60}"/>
          </ac:spMkLst>
        </pc:spChg>
        <pc:spChg chg="add mod">
          <ac:chgData name="Arav Barot" userId="2aabccd7-f410-4c9c-8764-2e3ea0dd7040" providerId="ADAL" clId="{3D448A06-67F0-498D-B712-492ED44F04DA}" dt="2023-08-29T12:16:02.036" v="1622" actId="1076"/>
          <ac:spMkLst>
            <pc:docMk/>
            <pc:sldMk cId="24430028" sldId="2147473130"/>
            <ac:spMk id="12" creationId="{24BD995E-7A23-F4E5-7ABE-DB1438B1C6EF}"/>
          </ac:spMkLst>
        </pc:spChg>
        <pc:picChg chg="add mod">
          <ac:chgData name="Arav Barot" userId="2aabccd7-f410-4c9c-8764-2e3ea0dd7040" providerId="ADAL" clId="{3D448A06-67F0-498D-B712-492ED44F04DA}" dt="2023-08-29T12:15:57.947" v="1621" actId="14100"/>
          <ac:picMkLst>
            <pc:docMk/>
            <pc:sldMk cId="24430028" sldId="2147473130"/>
            <ac:picMk id="8" creationId="{8BF59685-7855-155D-AE9B-80F7EF2C0856}"/>
          </ac:picMkLst>
        </pc:picChg>
        <pc:picChg chg="add del mod">
          <ac:chgData name="Arav Barot" userId="2aabccd7-f410-4c9c-8764-2e3ea0dd7040" providerId="ADAL" clId="{3D448A06-67F0-498D-B712-492ED44F04DA}" dt="2023-08-29T12:01:00.263" v="1437" actId="21"/>
          <ac:picMkLst>
            <pc:docMk/>
            <pc:sldMk cId="24430028" sldId="2147473130"/>
            <ac:picMk id="10" creationId="{F4F583D3-D9AD-0C0F-B0F6-AED1C3F36B6B}"/>
          </ac:picMkLst>
        </pc:picChg>
        <pc:picChg chg="add del mod">
          <ac:chgData name="Arav Barot" userId="2aabccd7-f410-4c9c-8764-2e3ea0dd7040" providerId="ADAL" clId="{3D448A06-67F0-498D-B712-492ED44F04DA}" dt="2023-08-29T12:12:44.129" v="1604" actId="478"/>
          <ac:picMkLst>
            <pc:docMk/>
            <pc:sldMk cId="24430028" sldId="2147473130"/>
            <ac:picMk id="11" creationId="{EECBCAEC-8E4A-38B5-30A0-6DC7AF734C58}"/>
          </ac:picMkLst>
        </pc:picChg>
        <pc:picChg chg="add mod">
          <ac:chgData name="Arav Barot" userId="2aabccd7-f410-4c9c-8764-2e3ea0dd7040" providerId="ADAL" clId="{3D448A06-67F0-498D-B712-492ED44F04DA}" dt="2023-08-29T14:06:39.675" v="1626" actId="1076"/>
          <ac:picMkLst>
            <pc:docMk/>
            <pc:sldMk cId="24430028" sldId="2147473130"/>
            <ac:picMk id="14" creationId="{79050CB9-9D86-D7A4-65BB-AD7DF269FDF3}"/>
          </ac:picMkLst>
        </pc:picChg>
      </pc:sldChg>
      <pc:sldChg chg="add del">
        <pc:chgData name="Arav Barot" userId="2aabccd7-f410-4c9c-8764-2e3ea0dd7040" providerId="ADAL" clId="{3D448A06-67F0-498D-B712-492ED44F04DA}" dt="2023-08-22T12:42:56.272" v="1377" actId="47"/>
        <pc:sldMkLst>
          <pc:docMk/>
          <pc:sldMk cId="265486328" sldId="2147473130"/>
        </pc:sldMkLst>
      </pc:sldChg>
      <pc:sldChg chg="new del">
        <pc:chgData name="Arav Barot" userId="2aabccd7-f410-4c9c-8764-2e3ea0dd7040" providerId="ADAL" clId="{3D448A06-67F0-498D-B712-492ED44F04DA}" dt="2023-08-22T12:06:24.495" v="66" actId="47"/>
        <pc:sldMkLst>
          <pc:docMk/>
          <pc:sldMk cId="1664466417" sldId="2147473130"/>
        </pc:sldMkLst>
      </pc:sldChg>
      <pc:sldChg chg="addSp delSp modSp new mod">
        <pc:chgData name="Arav Barot" userId="2aabccd7-f410-4c9c-8764-2e3ea0dd7040" providerId="ADAL" clId="{3D448A06-67F0-498D-B712-492ED44F04DA}" dt="2023-08-30T10:51:41.534" v="1657" actId="14100"/>
        <pc:sldMkLst>
          <pc:docMk/>
          <pc:sldMk cId="166153108" sldId="2147473131"/>
        </pc:sldMkLst>
        <pc:spChg chg="mod">
          <ac:chgData name="Arav Barot" userId="2aabccd7-f410-4c9c-8764-2e3ea0dd7040" providerId="ADAL" clId="{3D448A06-67F0-498D-B712-492ED44F04DA}" dt="2023-08-30T10:47:28.254" v="1639" actId="20577"/>
          <ac:spMkLst>
            <pc:docMk/>
            <pc:sldMk cId="166153108" sldId="2147473131"/>
            <ac:spMk id="3" creationId="{E24A5D9E-2500-E87B-975A-71BBEABFB9EF}"/>
          </ac:spMkLst>
        </pc:spChg>
        <pc:spChg chg="del">
          <ac:chgData name="Arav Barot" userId="2aabccd7-f410-4c9c-8764-2e3ea0dd7040" providerId="ADAL" clId="{3D448A06-67F0-498D-B712-492ED44F04DA}" dt="2023-08-30T10:50:20.744" v="1653" actId="478"/>
          <ac:spMkLst>
            <pc:docMk/>
            <pc:sldMk cId="166153108" sldId="2147473131"/>
            <ac:spMk id="5" creationId="{7E821BE4-5B1E-62BD-D34A-E94787D7AC24}"/>
          </ac:spMkLst>
        </pc:spChg>
        <pc:picChg chg="add mod">
          <ac:chgData name="Arav Barot" userId="2aabccd7-f410-4c9c-8764-2e3ea0dd7040" providerId="ADAL" clId="{3D448A06-67F0-498D-B712-492ED44F04DA}" dt="2023-08-30T10:50:14.946" v="1651" actId="1076"/>
          <ac:picMkLst>
            <pc:docMk/>
            <pc:sldMk cId="166153108" sldId="2147473131"/>
            <ac:picMk id="8" creationId="{662491D7-E49E-6FE7-0E41-5FED3215B19F}"/>
          </ac:picMkLst>
        </pc:picChg>
        <pc:picChg chg="add mod">
          <ac:chgData name="Arav Barot" userId="2aabccd7-f410-4c9c-8764-2e3ea0dd7040" providerId="ADAL" clId="{3D448A06-67F0-498D-B712-492ED44F04DA}" dt="2023-08-30T10:50:18.156" v="1652" actId="1076"/>
          <ac:picMkLst>
            <pc:docMk/>
            <pc:sldMk cId="166153108" sldId="2147473131"/>
            <ac:picMk id="10" creationId="{E93307F2-6B5B-2234-FED1-3C5AA02B55E7}"/>
          </ac:picMkLst>
        </pc:picChg>
        <pc:picChg chg="add mod">
          <ac:chgData name="Arav Barot" userId="2aabccd7-f410-4c9c-8764-2e3ea0dd7040" providerId="ADAL" clId="{3D448A06-67F0-498D-B712-492ED44F04DA}" dt="2023-08-30T10:51:41.534" v="1657" actId="14100"/>
          <ac:picMkLst>
            <pc:docMk/>
            <pc:sldMk cId="166153108" sldId="2147473131"/>
            <ac:picMk id="12" creationId="{97E19785-6A4B-BF06-1F56-FA5D9BCB6B62}"/>
          </ac:picMkLst>
        </pc:picChg>
      </pc:sldChg>
      <pc:sldChg chg="addSp modSp new del">
        <pc:chgData name="Arav Barot" userId="2aabccd7-f410-4c9c-8764-2e3ea0dd7040" providerId="ADAL" clId="{3D448A06-67F0-498D-B712-492ED44F04DA}" dt="2023-08-29T12:01:12.259" v="1441" actId="2696"/>
        <pc:sldMkLst>
          <pc:docMk/>
          <pc:sldMk cId="2471703613" sldId="2147473131"/>
        </pc:sldMkLst>
        <pc:picChg chg="add mod">
          <ac:chgData name="Arav Barot" userId="2aabccd7-f410-4c9c-8764-2e3ea0dd7040" providerId="ADAL" clId="{3D448A06-67F0-498D-B712-492ED44F04DA}" dt="2023-08-29T12:01:01.666" v="1438"/>
          <ac:picMkLst>
            <pc:docMk/>
            <pc:sldMk cId="2471703613" sldId="2147473131"/>
            <ac:picMk id="7" creationId="{25D7BDED-F74B-E5F3-5B08-57A10F92C9F3}"/>
          </ac:picMkLst>
        </pc:picChg>
      </pc:sldChg>
      <pc:sldChg chg="delSp add del mod">
        <pc:chgData name="Arav Barot" userId="2aabccd7-f410-4c9c-8764-2e3ea0dd7040" providerId="ADAL" clId="{3D448A06-67F0-498D-B712-492ED44F04DA}" dt="2023-08-29T12:01:22.893" v="1445" actId="2696"/>
        <pc:sldMkLst>
          <pc:docMk/>
          <pc:sldMk cId="3074145957" sldId="2147473131"/>
        </pc:sldMkLst>
        <pc:picChg chg="del">
          <ac:chgData name="Arav Barot" userId="2aabccd7-f410-4c9c-8764-2e3ea0dd7040" providerId="ADAL" clId="{3D448A06-67F0-498D-B712-492ED44F04DA}" dt="2023-08-29T12:01:18.643" v="1443" actId="21"/>
          <ac:picMkLst>
            <pc:docMk/>
            <pc:sldMk cId="3074145957" sldId="2147473131"/>
            <ac:picMk id="7" creationId="{25D7BDED-F74B-E5F3-5B08-57A10F92C9F3}"/>
          </ac:picMkLst>
        </pc:picChg>
      </pc:sldChg>
      <pc:sldChg chg="new del">
        <pc:chgData name="Arav Barot" userId="2aabccd7-f410-4c9c-8764-2e3ea0dd7040" providerId="ADAL" clId="{3D448A06-67F0-498D-B712-492ED44F04DA}" dt="2023-08-22T12:42:18.703" v="1375" actId="47"/>
        <pc:sldMkLst>
          <pc:docMk/>
          <pc:sldMk cId="3520222665" sldId="2147473131"/>
        </pc:sldMkLst>
      </pc:sldChg>
      <pc:sldChg chg="addSp delSp modSp new mod">
        <pc:chgData name="Arav Barot" userId="2aabccd7-f410-4c9c-8764-2e3ea0dd7040" providerId="ADAL" clId="{3D448A06-67F0-498D-B712-492ED44F04DA}" dt="2023-08-30T11:00:17.131" v="1670" actId="1076"/>
        <pc:sldMkLst>
          <pc:docMk/>
          <pc:sldMk cId="2639486945" sldId="2147473132"/>
        </pc:sldMkLst>
        <pc:spChg chg="del">
          <ac:chgData name="Arav Barot" userId="2aabccd7-f410-4c9c-8764-2e3ea0dd7040" providerId="ADAL" clId="{3D448A06-67F0-498D-B712-492ED44F04DA}" dt="2023-08-30T10:54:27.878" v="1659" actId="478"/>
          <ac:spMkLst>
            <pc:docMk/>
            <pc:sldMk cId="2639486945" sldId="2147473132"/>
            <ac:spMk id="5" creationId="{74B3B9F7-26B7-B40B-AD3D-B25514479D16}"/>
          </ac:spMkLst>
        </pc:spChg>
        <pc:picChg chg="add mod">
          <ac:chgData name="Arav Barot" userId="2aabccd7-f410-4c9c-8764-2e3ea0dd7040" providerId="ADAL" clId="{3D448A06-67F0-498D-B712-492ED44F04DA}" dt="2023-08-30T10:54:42.171" v="1662" actId="1076"/>
          <ac:picMkLst>
            <pc:docMk/>
            <pc:sldMk cId="2639486945" sldId="2147473132"/>
            <ac:picMk id="8" creationId="{473C2BE1-10A7-8D85-9B01-01F0CF34CF18}"/>
          </ac:picMkLst>
        </pc:picChg>
        <pc:picChg chg="add mod">
          <ac:chgData name="Arav Barot" userId="2aabccd7-f410-4c9c-8764-2e3ea0dd7040" providerId="ADAL" clId="{3D448A06-67F0-498D-B712-492ED44F04DA}" dt="2023-08-30T10:55:40.264" v="1667" actId="1076"/>
          <ac:picMkLst>
            <pc:docMk/>
            <pc:sldMk cId="2639486945" sldId="2147473132"/>
            <ac:picMk id="10" creationId="{55F6C1E6-C528-DD92-B976-A08AC7B54AFA}"/>
          </ac:picMkLst>
        </pc:picChg>
        <pc:picChg chg="add mod">
          <ac:chgData name="Arav Barot" userId="2aabccd7-f410-4c9c-8764-2e3ea0dd7040" providerId="ADAL" clId="{3D448A06-67F0-498D-B712-492ED44F04DA}" dt="2023-08-30T11:00:17.131" v="1670" actId="1076"/>
          <ac:picMkLst>
            <pc:docMk/>
            <pc:sldMk cId="2639486945" sldId="2147473132"/>
            <ac:picMk id="12" creationId="{8B5EBF72-E101-49B5-1666-39B4EA1BE395}"/>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92B0D0-6825-4DD8-B251-7614435D76AD}" type="doc">
      <dgm:prSet loTypeId="urn:microsoft.com/office/officeart/2011/layout/CircleProcess" loCatId="process" qsTypeId="urn:microsoft.com/office/officeart/2005/8/quickstyle/simple1" qsCatId="simple" csTypeId="urn:microsoft.com/office/officeart/2005/8/colors/accent1_3" csCatId="accent1" phldr="1"/>
      <dgm:spPr/>
      <dgm:t>
        <a:bodyPr/>
        <a:lstStyle/>
        <a:p>
          <a:endParaRPr lang="de-DE"/>
        </a:p>
      </dgm:t>
    </dgm:pt>
    <dgm:pt modelId="{824A2C3B-7EA9-4B3B-84D8-A7BFA33DF308}">
      <dgm:prSet phldrT="[Text]"/>
      <dgm:spPr/>
      <dgm:t>
        <a:bodyPr/>
        <a:lstStyle/>
        <a:p>
          <a:r>
            <a:rPr lang="en-GB" b="1" noProof="0" dirty="0"/>
            <a:t>July</a:t>
          </a:r>
        </a:p>
      </dgm:t>
    </dgm:pt>
    <dgm:pt modelId="{DBAEE653-539E-402D-AB66-98AD36AE165D}" type="parTrans" cxnId="{FE38E654-17DA-4795-B01A-1F73A8FDBD02}">
      <dgm:prSet/>
      <dgm:spPr/>
      <dgm:t>
        <a:bodyPr/>
        <a:lstStyle/>
        <a:p>
          <a:endParaRPr lang="de-DE"/>
        </a:p>
      </dgm:t>
    </dgm:pt>
    <dgm:pt modelId="{E21ECD71-D400-4394-AE02-8E9EB3AD03D1}" type="sibTrans" cxnId="{FE38E654-17DA-4795-B01A-1F73A8FDBD02}">
      <dgm:prSet/>
      <dgm:spPr/>
      <dgm:t>
        <a:bodyPr/>
        <a:lstStyle/>
        <a:p>
          <a:endParaRPr lang="de-DE"/>
        </a:p>
      </dgm:t>
    </dgm:pt>
    <dgm:pt modelId="{6577B1C3-2166-46F3-9577-87A1E0BCBCFB}">
      <dgm:prSet phldrT="[Text]" custT="1"/>
      <dgm:spPr/>
      <dgm:t>
        <a:bodyPr/>
        <a:lstStyle/>
        <a:p>
          <a:r>
            <a:rPr lang="en-GB" sz="600" kern="1200" noProof="0" dirty="0"/>
            <a:t>Start of the Thesis</a:t>
          </a:r>
        </a:p>
      </dgm:t>
    </dgm:pt>
    <dgm:pt modelId="{4ACABA33-9F09-4171-85BA-18D3FBB4913B}" type="parTrans" cxnId="{05B9FB11-5D3F-40E9-A770-A4B201158D60}">
      <dgm:prSet/>
      <dgm:spPr/>
      <dgm:t>
        <a:bodyPr/>
        <a:lstStyle/>
        <a:p>
          <a:endParaRPr lang="de-DE"/>
        </a:p>
      </dgm:t>
    </dgm:pt>
    <dgm:pt modelId="{428101C0-840D-43AA-9011-FCCAACC26F91}" type="sibTrans" cxnId="{05B9FB11-5D3F-40E9-A770-A4B201158D60}">
      <dgm:prSet/>
      <dgm:spPr/>
      <dgm:t>
        <a:bodyPr/>
        <a:lstStyle/>
        <a:p>
          <a:endParaRPr lang="de-DE"/>
        </a:p>
      </dgm:t>
    </dgm:pt>
    <dgm:pt modelId="{01105671-5609-40F9-9CF5-07BA36DC3701}">
      <dgm:prSet phldrT="[Text]" custT="1"/>
      <dgm:spPr/>
      <dgm:t>
        <a:bodyPr/>
        <a:lstStyle/>
        <a:p>
          <a:r>
            <a:rPr lang="en-GB" sz="600" kern="1200" noProof="0" dirty="0">
              <a:latin typeface="Roboto Light"/>
              <a:ea typeface="+mn-ea"/>
              <a:cs typeface="+mn-cs"/>
            </a:rPr>
            <a:t>Onboarding &amp; Setup</a:t>
          </a:r>
        </a:p>
      </dgm:t>
    </dgm:pt>
    <dgm:pt modelId="{67F2E45C-26D7-4355-B59B-46C4612BB7A8}" type="parTrans" cxnId="{E7448093-D7AF-4C76-A6E7-20912A22B0F6}">
      <dgm:prSet/>
      <dgm:spPr/>
      <dgm:t>
        <a:bodyPr/>
        <a:lstStyle/>
        <a:p>
          <a:endParaRPr lang="de-DE"/>
        </a:p>
      </dgm:t>
    </dgm:pt>
    <dgm:pt modelId="{39C94449-36CB-47C7-9E8A-D9D376BF79F5}" type="sibTrans" cxnId="{E7448093-D7AF-4C76-A6E7-20912A22B0F6}">
      <dgm:prSet/>
      <dgm:spPr/>
      <dgm:t>
        <a:bodyPr/>
        <a:lstStyle/>
        <a:p>
          <a:endParaRPr lang="de-DE"/>
        </a:p>
      </dgm:t>
    </dgm:pt>
    <dgm:pt modelId="{1EF8090E-3F94-4DD0-9DEB-31E07770DD0B}">
      <dgm:prSet phldrT="[Text]"/>
      <dgm:spPr/>
      <dgm:t>
        <a:bodyPr/>
        <a:lstStyle/>
        <a:p>
          <a:r>
            <a:rPr lang="en-GB" b="1" noProof="0" dirty="0"/>
            <a:t>August</a:t>
          </a:r>
        </a:p>
      </dgm:t>
    </dgm:pt>
    <dgm:pt modelId="{ADB22894-5F21-4E60-8F65-61AF69DFC35E}" type="parTrans" cxnId="{2EAA4969-6D7E-44C4-93F6-B3D45C60A21B}">
      <dgm:prSet/>
      <dgm:spPr/>
      <dgm:t>
        <a:bodyPr/>
        <a:lstStyle/>
        <a:p>
          <a:endParaRPr lang="de-DE"/>
        </a:p>
      </dgm:t>
    </dgm:pt>
    <dgm:pt modelId="{E3E94051-C083-43BD-A759-40C9D682F89F}" type="sibTrans" cxnId="{2EAA4969-6D7E-44C4-93F6-B3D45C60A21B}">
      <dgm:prSet/>
      <dgm:spPr/>
      <dgm:t>
        <a:bodyPr/>
        <a:lstStyle/>
        <a:p>
          <a:endParaRPr lang="de-DE"/>
        </a:p>
      </dgm:t>
    </dgm:pt>
    <dgm:pt modelId="{D3239A81-B4F1-4A84-84A0-31A957744FFE}">
      <dgm:prSet phldrT="[Text]" custT="1"/>
      <dgm:spPr/>
      <dgm:t>
        <a:bodyPr/>
        <a:lstStyle/>
        <a:p>
          <a:r>
            <a:rPr lang="en-GB" sz="600" noProof="0" dirty="0"/>
            <a:t>In-depth Study of the Charging Infrastructure</a:t>
          </a:r>
        </a:p>
      </dgm:t>
    </dgm:pt>
    <dgm:pt modelId="{662E7124-22C2-431C-91EF-E9AE1F096310}" type="parTrans" cxnId="{263566CF-BBB3-4AFF-A782-90C18AB584F6}">
      <dgm:prSet/>
      <dgm:spPr/>
      <dgm:t>
        <a:bodyPr/>
        <a:lstStyle/>
        <a:p>
          <a:endParaRPr lang="de-DE"/>
        </a:p>
      </dgm:t>
    </dgm:pt>
    <dgm:pt modelId="{F666C7CF-E6EB-449F-9349-B66950A68916}" type="sibTrans" cxnId="{263566CF-BBB3-4AFF-A782-90C18AB584F6}">
      <dgm:prSet/>
      <dgm:spPr/>
      <dgm:t>
        <a:bodyPr/>
        <a:lstStyle/>
        <a:p>
          <a:endParaRPr lang="de-DE"/>
        </a:p>
      </dgm:t>
    </dgm:pt>
    <dgm:pt modelId="{055B21AC-404E-4B4E-A87B-5A7C44CDC9FF}">
      <dgm:prSet phldrT="[Text]"/>
      <dgm:spPr/>
      <dgm:t>
        <a:bodyPr/>
        <a:lstStyle/>
        <a:p>
          <a:r>
            <a:rPr lang="en-GB" b="1" noProof="0" dirty="0"/>
            <a:t>September</a:t>
          </a:r>
        </a:p>
      </dgm:t>
    </dgm:pt>
    <dgm:pt modelId="{A7596FE5-B699-4E45-82D1-7E0400E01A9E}" type="parTrans" cxnId="{D27540A5-2EEA-4098-82E3-B95B8EBF825F}">
      <dgm:prSet/>
      <dgm:spPr/>
      <dgm:t>
        <a:bodyPr/>
        <a:lstStyle/>
        <a:p>
          <a:endParaRPr lang="de-DE"/>
        </a:p>
      </dgm:t>
    </dgm:pt>
    <dgm:pt modelId="{1626DF5D-C3C5-4BA2-887C-C93EC8852765}" type="sibTrans" cxnId="{D27540A5-2EEA-4098-82E3-B95B8EBF825F}">
      <dgm:prSet/>
      <dgm:spPr/>
      <dgm:t>
        <a:bodyPr/>
        <a:lstStyle/>
        <a:p>
          <a:endParaRPr lang="de-DE"/>
        </a:p>
      </dgm:t>
    </dgm:pt>
    <dgm:pt modelId="{66473032-A0C2-4B49-88DC-7AAA93E66520}">
      <dgm:prSet phldrT="[Text]"/>
      <dgm:spPr/>
      <dgm:t>
        <a:bodyPr/>
        <a:lstStyle/>
        <a:p>
          <a:r>
            <a:rPr lang="en-GB" b="1" noProof="0" dirty="0"/>
            <a:t>October</a:t>
          </a:r>
        </a:p>
      </dgm:t>
    </dgm:pt>
    <dgm:pt modelId="{AC30D1E4-65EA-40E9-A69C-92B5ABBBFE8C}" type="parTrans" cxnId="{B2D7F48D-B2F4-4ED5-B630-04A13FC2F944}">
      <dgm:prSet/>
      <dgm:spPr/>
      <dgm:t>
        <a:bodyPr/>
        <a:lstStyle/>
        <a:p>
          <a:endParaRPr lang="de-DE"/>
        </a:p>
      </dgm:t>
    </dgm:pt>
    <dgm:pt modelId="{607A10A3-D73C-41AB-905C-CADF5AE54831}" type="sibTrans" cxnId="{B2D7F48D-B2F4-4ED5-B630-04A13FC2F944}">
      <dgm:prSet/>
      <dgm:spPr/>
      <dgm:t>
        <a:bodyPr/>
        <a:lstStyle/>
        <a:p>
          <a:endParaRPr lang="de-DE"/>
        </a:p>
      </dgm:t>
    </dgm:pt>
    <dgm:pt modelId="{0472A0B5-C077-4E4C-87FD-E45AEAD6C4E7}">
      <dgm:prSet phldrT="[Text]"/>
      <dgm:spPr/>
      <dgm:t>
        <a:bodyPr/>
        <a:lstStyle/>
        <a:p>
          <a:r>
            <a:rPr lang="en-GB" b="1" noProof="0" dirty="0"/>
            <a:t>November</a:t>
          </a:r>
        </a:p>
      </dgm:t>
    </dgm:pt>
    <dgm:pt modelId="{6E9A7B80-A2C3-456C-B6A3-22102FFC955F}" type="parTrans" cxnId="{8E8E77B4-BE3E-42ED-81DD-4D0F73FA6A58}">
      <dgm:prSet/>
      <dgm:spPr/>
      <dgm:t>
        <a:bodyPr/>
        <a:lstStyle/>
        <a:p>
          <a:endParaRPr lang="de-DE"/>
        </a:p>
      </dgm:t>
    </dgm:pt>
    <dgm:pt modelId="{FA2527A2-DD69-48C5-8AFF-9F1861D514A5}" type="sibTrans" cxnId="{8E8E77B4-BE3E-42ED-81DD-4D0F73FA6A58}">
      <dgm:prSet/>
      <dgm:spPr/>
      <dgm:t>
        <a:bodyPr/>
        <a:lstStyle/>
        <a:p>
          <a:endParaRPr lang="de-DE"/>
        </a:p>
      </dgm:t>
    </dgm:pt>
    <dgm:pt modelId="{8E284AFA-D5A8-4834-93B6-A187213016F6}">
      <dgm:prSet phldrT="[Text]"/>
      <dgm:spPr/>
      <dgm:t>
        <a:bodyPr/>
        <a:lstStyle/>
        <a:p>
          <a:r>
            <a:rPr lang="en-GB" b="1" noProof="0" dirty="0"/>
            <a:t>December</a:t>
          </a:r>
        </a:p>
      </dgm:t>
    </dgm:pt>
    <dgm:pt modelId="{F0DFEF0E-31C3-428C-98A5-9FC1F4E702CC}" type="parTrans" cxnId="{78AEF5D9-F03E-4E50-A740-EE93BF25452E}">
      <dgm:prSet/>
      <dgm:spPr/>
      <dgm:t>
        <a:bodyPr/>
        <a:lstStyle/>
        <a:p>
          <a:endParaRPr lang="de-DE"/>
        </a:p>
      </dgm:t>
    </dgm:pt>
    <dgm:pt modelId="{9444C978-A1AF-467E-8C7B-64388D90D31E}" type="sibTrans" cxnId="{78AEF5D9-F03E-4E50-A740-EE93BF25452E}">
      <dgm:prSet/>
      <dgm:spPr/>
      <dgm:t>
        <a:bodyPr/>
        <a:lstStyle/>
        <a:p>
          <a:endParaRPr lang="de-DE"/>
        </a:p>
      </dgm:t>
    </dgm:pt>
    <dgm:pt modelId="{15DD834C-97D7-4B73-AB1E-2087FFEF950A}">
      <dgm:prSet phldrT="[Text]"/>
      <dgm:spPr/>
      <dgm:t>
        <a:bodyPr/>
        <a:lstStyle/>
        <a:p>
          <a:r>
            <a:rPr lang="en-GB" b="1" noProof="0" dirty="0"/>
            <a:t>January</a:t>
          </a:r>
        </a:p>
      </dgm:t>
    </dgm:pt>
    <dgm:pt modelId="{C7D40C1B-842E-49A8-9E04-9663363F10C4}" type="parTrans" cxnId="{9BCBBE9F-5AFC-4C03-8EE5-1A93CCCEF05F}">
      <dgm:prSet/>
      <dgm:spPr/>
      <dgm:t>
        <a:bodyPr/>
        <a:lstStyle/>
        <a:p>
          <a:endParaRPr lang="de-DE"/>
        </a:p>
      </dgm:t>
    </dgm:pt>
    <dgm:pt modelId="{0FCB9750-387E-4240-BFA2-F364B462FFD2}" type="sibTrans" cxnId="{9BCBBE9F-5AFC-4C03-8EE5-1A93CCCEF05F}">
      <dgm:prSet/>
      <dgm:spPr/>
      <dgm:t>
        <a:bodyPr/>
        <a:lstStyle/>
        <a:p>
          <a:endParaRPr lang="de-DE"/>
        </a:p>
      </dgm:t>
    </dgm:pt>
    <dgm:pt modelId="{05727B60-56B7-4F58-AC05-B070AD7BF050}">
      <dgm:prSet phldrT="[Text]" custT="1"/>
      <dgm:spPr/>
      <dgm:t>
        <a:bodyPr/>
        <a:lstStyle/>
        <a:p>
          <a:r>
            <a:rPr lang="en-GB" sz="600" noProof="0" dirty="0"/>
            <a:t>Documentation of Results</a:t>
          </a:r>
        </a:p>
      </dgm:t>
    </dgm:pt>
    <dgm:pt modelId="{E59E86F6-4859-4571-99B5-00E07CC273DE}" type="parTrans" cxnId="{0A8F0CBC-B260-4A60-A468-4919CB38066D}">
      <dgm:prSet/>
      <dgm:spPr/>
      <dgm:t>
        <a:bodyPr/>
        <a:lstStyle/>
        <a:p>
          <a:endParaRPr lang="de-DE"/>
        </a:p>
      </dgm:t>
    </dgm:pt>
    <dgm:pt modelId="{2715D827-DB7B-49EB-A4C9-CA5B4F8BE5E1}" type="sibTrans" cxnId="{0A8F0CBC-B260-4A60-A468-4919CB38066D}">
      <dgm:prSet/>
      <dgm:spPr/>
      <dgm:t>
        <a:bodyPr/>
        <a:lstStyle/>
        <a:p>
          <a:endParaRPr lang="de-DE"/>
        </a:p>
      </dgm:t>
    </dgm:pt>
    <dgm:pt modelId="{D03BCB55-8EF3-4742-9EDF-C162D2DE3861}">
      <dgm:prSet phldrT="[Text]" custT="1"/>
      <dgm:spPr/>
      <dgm:t>
        <a:bodyPr/>
        <a:lstStyle/>
        <a:p>
          <a:r>
            <a:rPr lang="en-GB" sz="600" kern="1200" noProof="0" dirty="0">
              <a:latin typeface="Roboto Light"/>
              <a:ea typeface="+mn-ea"/>
              <a:cs typeface="+mn-cs"/>
            </a:rPr>
            <a:t>Introduction to the Field</a:t>
          </a:r>
        </a:p>
      </dgm:t>
    </dgm:pt>
    <dgm:pt modelId="{4C821085-BA05-4CBF-B426-62ECC87EBFB8}" type="parTrans" cxnId="{3B1590F3-8CFB-4E70-AD1C-F8D967DE680A}">
      <dgm:prSet/>
      <dgm:spPr/>
      <dgm:t>
        <a:bodyPr/>
        <a:lstStyle/>
        <a:p>
          <a:endParaRPr lang="de-DE"/>
        </a:p>
      </dgm:t>
    </dgm:pt>
    <dgm:pt modelId="{BE0BCC83-587A-413F-89DB-31480EEFB1C7}" type="sibTrans" cxnId="{3B1590F3-8CFB-4E70-AD1C-F8D967DE680A}">
      <dgm:prSet/>
      <dgm:spPr/>
      <dgm:t>
        <a:bodyPr/>
        <a:lstStyle/>
        <a:p>
          <a:endParaRPr lang="de-DE"/>
        </a:p>
      </dgm:t>
    </dgm:pt>
    <dgm:pt modelId="{10D5435E-B36C-4DC9-B151-C6234D0E3959}">
      <dgm:prSet phldrT="[Text]" custT="1"/>
      <dgm:spPr/>
      <dgm:t>
        <a:bodyPr/>
        <a:lstStyle/>
        <a:p>
          <a:r>
            <a:rPr lang="en-GB" sz="600" noProof="0" dirty="0"/>
            <a:t>Understanding Capstone data</a:t>
          </a:r>
        </a:p>
      </dgm:t>
    </dgm:pt>
    <dgm:pt modelId="{68E9F256-A0E7-4592-AEB8-9F36863F9AA6}" type="parTrans" cxnId="{0DB8A149-28E1-4404-B702-0102DBF6E6D8}">
      <dgm:prSet/>
      <dgm:spPr/>
      <dgm:t>
        <a:bodyPr/>
        <a:lstStyle/>
        <a:p>
          <a:endParaRPr lang="de-DE"/>
        </a:p>
      </dgm:t>
    </dgm:pt>
    <dgm:pt modelId="{DBE2C18A-745D-459B-9570-CCD2C9F4B92F}" type="sibTrans" cxnId="{0DB8A149-28E1-4404-B702-0102DBF6E6D8}">
      <dgm:prSet/>
      <dgm:spPr/>
      <dgm:t>
        <a:bodyPr/>
        <a:lstStyle/>
        <a:p>
          <a:endParaRPr lang="de-DE"/>
        </a:p>
      </dgm:t>
    </dgm:pt>
    <dgm:pt modelId="{0FEC4CBC-1BFA-46B5-9BF5-FCA219371722}">
      <dgm:prSet phldrT="[Text]" custT="1"/>
      <dgm:spPr/>
      <dgm:t>
        <a:bodyPr/>
        <a:lstStyle/>
        <a:p>
          <a:r>
            <a:rPr lang="en-GB" sz="600" noProof="0" dirty="0"/>
            <a:t>Quality check and improvement of data</a:t>
          </a:r>
        </a:p>
      </dgm:t>
    </dgm:pt>
    <dgm:pt modelId="{287BDC02-2467-4697-B9B7-4270AAC55A30}" type="parTrans" cxnId="{1BD26793-9EE9-4738-B3F7-F4B9DDCF7E5F}">
      <dgm:prSet/>
      <dgm:spPr/>
      <dgm:t>
        <a:bodyPr/>
        <a:lstStyle/>
        <a:p>
          <a:endParaRPr lang="de-DE"/>
        </a:p>
      </dgm:t>
    </dgm:pt>
    <dgm:pt modelId="{9D1D871F-5EBF-4142-B3A3-1113F4A9E16D}" type="sibTrans" cxnId="{1BD26793-9EE9-4738-B3F7-F4B9DDCF7E5F}">
      <dgm:prSet/>
      <dgm:spPr/>
      <dgm:t>
        <a:bodyPr/>
        <a:lstStyle/>
        <a:p>
          <a:endParaRPr lang="de-DE"/>
        </a:p>
      </dgm:t>
    </dgm:pt>
    <dgm:pt modelId="{F9F5D6C1-5A59-4B42-A02B-22F0A0DDC0BB}">
      <dgm:prSet phldrT="[Text]" custT="1"/>
      <dgm:spPr/>
      <dgm:t>
        <a:bodyPr/>
        <a:lstStyle/>
        <a:p>
          <a:r>
            <a:rPr lang="en-GB" sz="600" noProof="0" dirty="0"/>
            <a:t>Exploratory analysis of the data</a:t>
          </a:r>
        </a:p>
      </dgm:t>
    </dgm:pt>
    <dgm:pt modelId="{72A1956F-D445-44EA-98AD-726BDDC904B6}" type="parTrans" cxnId="{B2820FB4-A15A-49A4-B67D-0000C9832787}">
      <dgm:prSet/>
      <dgm:spPr/>
      <dgm:t>
        <a:bodyPr/>
        <a:lstStyle/>
        <a:p>
          <a:endParaRPr lang="de-DE"/>
        </a:p>
      </dgm:t>
    </dgm:pt>
    <dgm:pt modelId="{C0E55369-729B-4057-981F-D90F4193DC89}" type="sibTrans" cxnId="{B2820FB4-A15A-49A4-B67D-0000C9832787}">
      <dgm:prSet/>
      <dgm:spPr/>
      <dgm:t>
        <a:bodyPr/>
        <a:lstStyle/>
        <a:p>
          <a:endParaRPr lang="de-DE"/>
        </a:p>
      </dgm:t>
    </dgm:pt>
    <dgm:pt modelId="{0C1AB3B8-D75C-4654-AC20-D266E6E746E7}">
      <dgm:prSet phldrT="[Text]" custT="1"/>
      <dgm:spPr/>
      <dgm:t>
        <a:bodyPr/>
        <a:lstStyle/>
        <a:p>
          <a:r>
            <a:rPr lang="en-GB" sz="600" noProof="0" dirty="0"/>
            <a:t>Identification of the Problem Statement</a:t>
          </a:r>
        </a:p>
      </dgm:t>
    </dgm:pt>
    <dgm:pt modelId="{2984DF8D-9B92-4822-AFCB-26C35795527B}" type="parTrans" cxnId="{0D7D686E-D45C-49BF-8ED1-5A6EB16028FE}">
      <dgm:prSet/>
      <dgm:spPr/>
      <dgm:t>
        <a:bodyPr/>
        <a:lstStyle/>
        <a:p>
          <a:endParaRPr lang="de-DE"/>
        </a:p>
      </dgm:t>
    </dgm:pt>
    <dgm:pt modelId="{88B3FF87-7E50-40F5-916E-60B1F18B64DF}" type="sibTrans" cxnId="{0D7D686E-D45C-49BF-8ED1-5A6EB16028FE}">
      <dgm:prSet/>
      <dgm:spPr/>
      <dgm:t>
        <a:bodyPr/>
        <a:lstStyle/>
        <a:p>
          <a:endParaRPr lang="de-DE"/>
        </a:p>
      </dgm:t>
    </dgm:pt>
    <dgm:pt modelId="{1B393DE2-6EF6-41BE-B34D-C8AD6089CCC0}">
      <dgm:prSet phldrT="[Text]" custT="1"/>
      <dgm:spPr/>
      <dgm:t>
        <a:bodyPr/>
        <a:lstStyle/>
        <a:p>
          <a:r>
            <a:rPr lang="en-GB" sz="600" noProof="0" dirty="0"/>
            <a:t>Development of Clustering Algorithms</a:t>
          </a:r>
        </a:p>
      </dgm:t>
    </dgm:pt>
    <dgm:pt modelId="{171C78EE-4EF6-4A68-ABF1-C92490A13A9E}" type="parTrans" cxnId="{B9FC90D0-B320-47DA-AD2E-5AA660216E1B}">
      <dgm:prSet/>
      <dgm:spPr/>
      <dgm:t>
        <a:bodyPr/>
        <a:lstStyle/>
        <a:p>
          <a:endParaRPr lang="de-DE"/>
        </a:p>
      </dgm:t>
    </dgm:pt>
    <dgm:pt modelId="{A03469E4-8C9A-4171-A856-F6D7EBA2BD37}" type="sibTrans" cxnId="{B9FC90D0-B320-47DA-AD2E-5AA660216E1B}">
      <dgm:prSet/>
      <dgm:spPr/>
      <dgm:t>
        <a:bodyPr/>
        <a:lstStyle/>
        <a:p>
          <a:endParaRPr lang="de-DE"/>
        </a:p>
      </dgm:t>
    </dgm:pt>
    <dgm:pt modelId="{15319CAE-42B3-4EF1-99E0-60844D7349BE}">
      <dgm:prSet phldrT="[Text]" custT="1"/>
      <dgm:spPr/>
      <dgm:t>
        <a:bodyPr/>
        <a:lstStyle/>
        <a:p>
          <a:r>
            <a:rPr lang="en-GB" sz="600" noProof="0" dirty="0"/>
            <a:t>Testing and Tuning of Clustering algorithms</a:t>
          </a:r>
        </a:p>
      </dgm:t>
    </dgm:pt>
    <dgm:pt modelId="{0AFF7FE0-4C1A-47D3-ABD4-2444A3CC20C6}" type="parTrans" cxnId="{7F155B44-73F8-445B-B607-C3572EB737D4}">
      <dgm:prSet/>
      <dgm:spPr/>
      <dgm:t>
        <a:bodyPr/>
        <a:lstStyle/>
        <a:p>
          <a:endParaRPr lang="de-DE"/>
        </a:p>
      </dgm:t>
    </dgm:pt>
    <dgm:pt modelId="{8E218D0E-3062-4B5D-AEB3-56F6D7083A5E}" type="sibTrans" cxnId="{7F155B44-73F8-445B-B607-C3572EB737D4}">
      <dgm:prSet/>
      <dgm:spPr/>
      <dgm:t>
        <a:bodyPr/>
        <a:lstStyle/>
        <a:p>
          <a:endParaRPr lang="de-DE"/>
        </a:p>
      </dgm:t>
    </dgm:pt>
    <dgm:pt modelId="{BAB2443D-A234-4433-B690-9230841EEDE0}">
      <dgm:prSet phldrT="[Text]" custT="1"/>
      <dgm:spPr/>
      <dgm:t>
        <a:bodyPr/>
        <a:lstStyle/>
        <a:p>
          <a:r>
            <a:rPr lang="en-GB" sz="600" noProof="0" dirty="0"/>
            <a:t>Comparison of algorithm outputs</a:t>
          </a:r>
        </a:p>
      </dgm:t>
    </dgm:pt>
    <dgm:pt modelId="{B87B6657-47B9-412A-9B88-5C27163EF10B}" type="parTrans" cxnId="{5BBD0DCB-FDBE-4528-94CB-F500726FEB38}">
      <dgm:prSet/>
      <dgm:spPr/>
      <dgm:t>
        <a:bodyPr/>
        <a:lstStyle/>
        <a:p>
          <a:endParaRPr lang="de-DE"/>
        </a:p>
      </dgm:t>
    </dgm:pt>
    <dgm:pt modelId="{72A1FE07-A2B3-4C73-99E1-442BB97DAAEC}" type="sibTrans" cxnId="{5BBD0DCB-FDBE-4528-94CB-F500726FEB38}">
      <dgm:prSet/>
      <dgm:spPr/>
      <dgm:t>
        <a:bodyPr/>
        <a:lstStyle/>
        <a:p>
          <a:endParaRPr lang="de-DE"/>
        </a:p>
      </dgm:t>
    </dgm:pt>
    <dgm:pt modelId="{8A22B3C9-C538-4FE5-BF28-10B91AF9E178}">
      <dgm:prSet phldrT="[Text]" custT="1"/>
      <dgm:spPr/>
      <dgm:t>
        <a:bodyPr/>
        <a:lstStyle/>
        <a:p>
          <a:r>
            <a:rPr lang="en-GB" sz="600" noProof="0" dirty="0">
              <a:solidFill>
                <a:schemeClr val="accent3">
                  <a:lumMod val="50000"/>
                </a:schemeClr>
              </a:solidFill>
            </a:rPr>
            <a:t>LBA Data Matching</a:t>
          </a:r>
        </a:p>
      </dgm:t>
    </dgm:pt>
    <dgm:pt modelId="{74CD5AD8-06CD-427B-A2C4-92C458C1D20C}" type="parTrans" cxnId="{EC643B4D-DE9F-4158-A48F-D512A440D5FD}">
      <dgm:prSet/>
      <dgm:spPr/>
      <dgm:t>
        <a:bodyPr/>
        <a:lstStyle/>
        <a:p>
          <a:endParaRPr lang="de-DE"/>
        </a:p>
      </dgm:t>
    </dgm:pt>
    <dgm:pt modelId="{7E0A93C4-2B44-4D61-939F-935179576598}" type="sibTrans" cxnId="{EC643B4D-DE9F-4158-A48F-D512A440D5FD}">
      <dgm:prSet/>
      <dgm:spPr/>
      <dgm:t>
        <a:bodyPr/>
        <a:lstStyle/>
        <a:p>
          <a:endParaRPr lang="de-DE"/>
        </a:p>
      </dgm:t>
    </dgm:pt>
    <dgm:pt modelId="{7F46ADFE-611F-4B56-9B07-FA5139E498F7}">
      <dgm:prSet phldrT="[Text]" custT="1"/>
      <dgm:spPr/>
      <dgm:t>
        <a:bodyPr/>
        <a:lstStyle/>
        <a:p>
          <a:r>
            <a:rPr lang="en-GB" sz="600" noProof="0" dirty="0">
              <a:solidFill>
                <a:schemeClr val="accent3">
                  <a:lumMod val="50000"/>
                </a:schemeClr>
              </a:solidFill>
            </a:rPr>
            <a:t>Measurements of CT images of different Battery cell</a:t>
          </a:r>
        </a:p>
      </dgm:t>
    </dgm:pt>
    <dgm:pt modelId="{0B5015AA-451A-426A-A557-A6824EB6F625}" type="parTrans" cxnId="{AF74B903-839B-4FD4-BD8C-9C6D340E970C}">
      <dgm:prSet/>
      <dgm:spPr/>
      <dgm:t>
        <a:bodyPr/>
        <a:lstStyle/>
        <a:p>
          <a:endParaRPr lang="de-DE"/>
        </a:p>
      </dgm:t>
    </dgm:pt>
    <dgm:pt modelId="{AA6C1160-5392-42AA-9901-C33CE612AF92}" type="sibTrans" cxnId="{AF74B903-839B-4FD4-BD8C-9C6D340E970C}">
      <dgm:prSet/>
      <dgm:spPr/>
      <dgm:t>
        <a:bodyPr/>
        <a:lstStyle/>
        <a:p>
          <a:endParaRPr lang="de-DE"/>
        </a:p>
      </dgm:t>
    </dgm:pt>
    <dgm:pt modelId="{FC2027DF-A7A7-40BF-9FFD-CDE090F2F0EA}">
      <dgm:prSet phldrT="[Text]" custT="1"/>
      <dgm:spPr/>
      <dgm:t>
        <a:bodyPr/>
        <a:lstStyle/>
        <a:p>
          <a:r>
            <a:rPr lang="en-GB" sz="600" noProof="0" dirty="0"/>
            <a:t>Development of Random forest algorithm</a:t>
          </a:r>
        </a:p>
      </dgm:t>
    </dgm:pt>
    <dgm:pt modelId="{9B7828FE-3FA0-47FB-809A-5EC4C1225103}" type="parTrans" cxnId="{F987EE52-E384-4F08-BA77-5648C7997D6D}">
      <dgm:prSet/>
      <dgm:spPr/>
      <dgm:t>
        <a:bodyPr/>
        <a:lstStyle/>
        <a:p>
          <a:endParaRPr lang="de-DE"/>
        </a:p>
      </dgm:t>
    </dgm:pt>
    <dgm:pt modelId="{4AB6A423-17AB-48B2-9507-6524FC9D91D4}" type="sibTrans" cxnId="{F987EE52-E384-4F08-BA77-5648C7997D6D}">
      <dgm:prSet/>
      <dgm:spPr/>
      <dgm:t>
        <a:bodyPr/>
        <a:lstStyle/>
        <a:p>
          <a:endParaRPr lang="de-DE"/>
        </a:p>
      </dgm:t>
    </dgm:pt>
    <dgm:pt modelId="{43A7549F-EDB5-4AA4-A514-E7949D75C8CB}">
      <dgm:prSet phldrT="[Text]" custT="1"/>
      <dgm:spPr/>
      <dgm:t>
        <a:bodyPr/>
        <a:lstStyle/>
        <a:p>
          <a:r>
            <a:rPr lang="en-GB" sz="600" noProof="0" dirty="0"/>
            <a:t>Written work of Thesis</a:t>
          </a:r>
        </a:p>
      </dgm:t>
    </dgm:pt>
    <dgm:pt modelId="{35C9F9AE-07C8-46E7-89B4-2C904B7B61F3}" type="parTrans" cxnId="{B17B1008-AE42-4D35-BBF2-EF15C8241183}">
      <dgm:prSet/>
      <dgm:spPr/>
      <dgm:t>
        <a:bodyPr/>
        <a:lstStyle/>
        <a:p>
          <a:endParaRPr lang="de-DE"/>
        </a:p>
      </dgm:t>
    </dgm:pt>
    <dgm:pt modelId="{FB8FBE07-64D5-428A-87D2-C56B1021F012}" type="sibTrans" cxnId="{B17B1008-AE42-4D35-BBF2-EF15C8241183}">
      <dgm:prSet/>
      <dgm:spPr/>
      <dgm:t>
        <a:bodyPr/>
        <a:lstStyle/>
        <a:p>
          <a:endParaRPr lang="de-DE"/>
        </a:p>
      </dgm:t>
    </dgm:pt>
    <dgm:pt modelId="{4653FF27-899C-4778-98AE-4D422D37DCD9}">
      <dgm:prSet phldrT="[Text]" custT="1"/>
      <dgm:spPr/>
      <dgm:t>
        <a:bodyPr/>
        <a:lstStyle/>
        <a:p>
          <a:r>
            <a:rPr lang="en-GB" sz="600" noProof="0" dirty="0"/>
            <a:t>Access to the latest PCA data</a:t>
          </a:r>
        </a:p>
      </dgm:t>
    </dgm:pt>
    <dgm:pt modelId="{BE054D0A-17AF-4FB6-AE4F-4F2D16CB16D6}" type="parTrans" cxnId="{56E2E186-115F-4E8D-B370-9F52891B84BB}">
      <dgm:prSet/>
      <dgm:spPr/>
      <dgm:t>
        <a:bodyPr/>
        <a:lstStyle/>
        <a:p>
          <a:endParaRPr lang="de-DE"/>
        </a:p>
      </dgm:t>
    </dgm:pt>
    <dgm:pt modelId="{688ED78D-944F-49C3-B340-FE222765E6DB}" type="sibTrans" cxnId="{56E2E186-115F-4E8D-B370-9F52891B84BB}">
      <dgm:prSet/>
      <dgm:spPr/>
      <dgm:t>
        <a:bodyPr/>
        <a:lstStyle/>
        <a:p>
          <a:endParaRPr lang="de-DE"/>
        </a:p>
      </dgm:t>
    </dgm:pt>
    <dgm:pt modelId="{55D99BDB-2755-4533-8113-6C5DDE74E6A9}">
      <dgm:prSet phldrT="[Text]" custT="1"/>
      <dgm:spPr/>
      <dgm:t>
        <a:bodyPr/>
        <a:lstStyle/>
        <a:p>
          <a:r>
            <a:rPr lang="en-GB" sz="600" noProof="0" dirty="0"/>
            <a:t>Important feature analysis</a:t>
          </a:r>
        </a:p>
      </dgm:t>
    </dgm:pt>
    <dgm:pt modelId="{5E1DF91D-8C10-4E04-BF71-70F24AE6C4B6}" type="parTrans" cxnId="{8842F7A9-C67C-4035-9979-017A70469BA9}">
      <dgm:prSet/>
      <dgm:spPr/>
      <dgm:t>
        <a:bodyPr/>
        <a:lstStyle/>
        <a:p>
          <a:endParaRPr lang="de-DE"/>
        </a:p>
      </dgm:t>
    </dgm:pt>
    <dgm:pt modelId="{A748A074-8239-45A7-878E-E934F09F725E}" type="sibTrans" cxnId="{8842F7A9-C67C-4035-9979-017A70469BA9}">
      <dgm:prSet/>
      <dgm:spPr/>
      <dgm:t>
        <a:bodyPr/>
        <a:lstStyle/>
        <a:p>
          <a:endParaRPr lang="de-DE"/>
        </a:p>
      </dgm:t>
    </dgm:pt>
    <dgm:pt modelId="{1EE04BD0-6706-44A0-892A-62E5CFBAFFFC}">
      <dgm:prSet phldrT="[Text]" custT="1"/>
      <dgm:spPr/>
      <dgm:t>
        <a:bodyPr/>
        <a:lstStyle/>
        <a:p>
          <a:r>
            <a:rPr lang="en-GB" sz="600" noProof="0" dirty="0"/>
            <a:t>Adaptation of Clustering algorithm to the new data</a:t>
          </a:r>
        </a:p>
      </dgm:t>
    </dgm:pt>
    <dgm:pt modelId="{7A6658D0-7898-41C8-A0F9-9D9BA3E4F0A1}" type="parTrans" cxnId="{98541D5C-7F85-4EBB-8A3C-7D852D10C5F9}">
      <dgm:prSet/>
      <dgm:spPr/>
      <dgm:t>
        <a:bodyPr/>
        <a:lstStyle/>
        <a:p>
          <a:endParaRPr lang="de-DE"/>
        </a:p>
      </dgm:t>
    </dgm:pt>
    <dgm:pt modelId="{7746873A-6011-4BB1-9840-67981EA3B014}" type="sibTrans" cxnId="{98541D5C-7F85-4EBB-8A3C-7D852D10C5F9}">
      <dgm:prSet/>
      <dgm:spPr/>
      <dgm:t>
        <a:bodyPr/>
        <a:lstStyle/>
        <a:p>
          <a:endParaRPr lang="de-DE"/>
        </a:p>
      </dgm:t>
    </dgm:pt>
    <dgm:pt modelId="{31EB5CE0-6C2D-4EA1-837A-4257BBE4191C}">
      <dgm:prSet phldrT="[Text]" custT="1"/>
      <dgm:spPr/>
      <dgm:t>
        <a:bodyPr/>
        <a:lstStyle/>
        <a:p>
          <a:r>
            <a:rPr lang="en-GB" sz="600" noProof="0" dirty="0"/>
            <a:t>Adaptation of Random forest to the new data</a:t>
          </a:r>
        </a:p>
      </dgm:t>
    </dgm:pt>
    <dgm:pt modelId="{A53113F8-DF9C-45F3-BA90-373A67F61116}" type="parTrans" cxnId="{F3B2C908-A2A3-4D1A-8A7A-364B8C41DC0D}">
      <dgm:prSet/>
      <dgm:spPr/>
      <dgm:t>
        <a:bodyPr/>
        <a:lstStyle/>
        <a:p>
          <a:endParaRPr lang="de-DE"/>
        </a:p>
      </dgm:t>
    </dgm:pt>
    <dgm:pt modelId="{9043653E-5F40-457D-A072-57DEE3F3580C}" type="sibTrans" cxnId="{F3B2C908-A2A3-4D1A-8A7A-364B8C41DC0D}">
      <dgm:prSet/>
      <dgm:spPr/>
      <dgm:t>
        <a:bodyPr/>
        <a:lstStyle/>
        <a:p>
          <a:endParaRPr lang="de-DE"/>
        </a:p>
      </dgm:t>
    </dgm:pt>
    <dgm:pt modelId="{88C8C3DC-C76D-48C2-88DE-2F6C40E67345}">
      <dgm:prSet phldrT="[Text]" custT="1"/>
      <dgm:spPr/>
      <dgm:t>
        <a:bodyPr/>
        <a:lstStyle/>
        <a:p>
          <a:r>
            <a:rPr lang="en-GB" sz="600" noProof="0" dirty="0"/>
            <a:t>Optimization of the Random forest algorithm</a:t>
          </a:r>
        </a:p>
      </dgm:t>
    </dgm:pt>
    <dgm:pt modelId="{BF8F2BBD-1C81-4105-93E4-9B5494D7C7A1}" type="parTrans" cxnId="{3B0976F8-0831-4129-AE32-6F4237B1641C}">
      <dgm:prSet/>
      <dgm:spPr/>
      <dgm:t>
        <a:bodyPr/>
        <a:lstStyle/>
        <a:p>
          <a:endParaRPr lang="de-DE"/>
        </a:p>
      </dgm:t>
    </dgm:pt>
    <dgm:pt modelId="{D04150FB-BF3C-4377-84C7-C40AFAF4EA6F}" type="sibTrans" cxnId="{3B0976F8-0831-4129-AE32-6F4237B1641C}">
      <dgm:prSet/>
      <dgm:spPr/>
      <dgm:t>
        <a:bodyPr/>
        <a:lstStyle/>
        <a:p>
          <a:endParaRPr lang="de-DE"/>
        </a:p>
      </dgm:t>
    </dgm:pt>
    <dgm:pt modelId="{7F1D6181-E1F3-47B4-94D8-4CB973B291E2}">
      <dgm:prSet phldrT="[Text]" custT="1"/>
      <dgm:spPr/>
      <dgm:t>
        <a:bodyPr/>
        <a:lstStyle/>
        <a:p>
          <a:r>
            <a:rPr lang="en-GB" sz="600" noProof="0" dirty="0"/>
            <a:t>Written work of Thesis</a:t>
          </a:r>
        </a:p>
      </dgm:t>
    </dgm:pt>
    <dgm:pt modelId="{52336E74-CD36-417B-BC9B-AF09CD9B26D5}" type="parTrans" cxnId="{E05B1C2C-AA87-49D3-B7E8-67F22933787B}">
      <dgm:prSet/>
      <dgm:spPr/>
      <dgm:t>
        <a:bodyPr/>
        <a:lstStyle/>
        <a:p>
          <a:endParaRPr lang="de-DE"/>
        </a:p>
      </dgm:t>
    </dgm:pt>
    <dgm:pt modelId="{F558E402-3A3E-49BF-AC60-E4042F119333}" type="sibTrans" cxnId="{E05B1C2C-AA87-49D3-B7E8-67F22933787B}">
      <dgm:prSet/>
      <dgm:spPr/>
      <dgm:t>
        <a:bodyPr/>
        <a:lstStyle/>
        <a:p>
          <a:endParaRPr lang="de-DE"/>
        </a:p>
      </dgm:t>
    </dgm:pt>
    <dgm:pt modelId="{312F26FE-872F-447A-8892-AAFCF5774D8A}" type="pres">
      <dgm:prSet presAssocID="{CA92B0D0-6825-4DD8-B251-7614435D76AD}" presName="Name0" presStyleCnt="0">
        <dgm:presLayoutVars>
          <dgm:chMax val="11"/>
          <dgm:chPref val="11"/>
          <dgm:dir/>
          <dgm:resizeHandles/>
        </dgm:presLayoutVars>
      </dgm:prSet>
      <dgm:spPr/>
    </dgm:pt>
    <dgm:pt modelId="{3C6E00F2-296D-498B-9222-67EBC2460D5A}" type="pres">
      <dgm:prSet presAssocID="{15DD834C-97D7-4B73-AB1E-2087FFEF950A}" presName="Accent7" presStyleCnt="0"/>
      <dgm:spPr/>
    </dgm:pt>
    <dgm:pt modelId="{4F73C4C1-CBA4-44B5-93BA-6DA0484BB24C}" type="pres">
      <dgm:prSet presAssocID="{15DD834C-97D7-4B73-AB1E-2087FFEF950A}" presName="Accent" presStyleLbl="node1" presStyleIdx="0" presStyleCnt="7"/>
      <dgm:spPr/>
    </dgm:pt>
    <dgm:pt modelId="{5F3EFED1-E110-45D6-9939-E7944AF8F208}" type="pres">
      <dgm:prSet presAssocID="{15DD834C-97D7-4B73-AB1E-2087FFEF950A}" presName="ParentBackground7" presStyleCnt="0"/>
      <dgm:spPr/>
    </dgm:pt>
    <dgm:pt modelId="{49EF2844-BBFB-4010-9BF3-2625F05E5656}" type="pres">
      <dgm:prSet presAssocID="{15DD834C-97D7-4B73-AB1E-2087FFEF950A}" presName="ParentBackground" presStyleLbl="fgAcc1" presStyleIdx="0" presStyleCnt="7"/>
      <dgm:spPr/>
    </dgm:pt>
    <dgm:pt modelId="{578AF046-ABB0-4E84-A6C8-2F5DBF4278FD}" type="pres">
      <dgm:prSet presAssocID="{15DD834C-97D7-4B73-AB1E-2087FFEF950A}" presName="Child7" presStyleLbl="revTx" presStyleIdx="0" presStyleCnt="7">
        <dgm:presLayoutVars>
          <dgm:chMax val="0"/>
          <dgm:chPref val="0"/>
          <dgm:bulletEnabled val="1"/>
        </dgm:presLayoutVars>
      </dgm:prSet>
      <dgm:spPr/>
    </dgm:pt>
    <dgm:pt modelId="{34340AC8-1D12-454D-82D9-E668B6DB9FFE}" type="pres">
      <dgm:prSet presAssocID="{15DD834C-97D7-4B73-AB1E-2087FFEF950A}" presName="Parent7" presStyleLbl="revTx" presStyleIdx="0" presStyleCnt="7">
        <dgm:presLayoutVars>
          <dgm:chMax val="1"/>
          <dgm:chPref val="1"/>
          <dgm:bulletEnabled val="1"/>
        </dgm:presLayoutVars>
      </dgm:prSet>
      <dgm:spPr/>
    </dgm:pt>
    <dgm:pt modelId="{D8A15D58-6111-45C7-B051-5CE4FEC6FCEB}" type="pres">
      <dgm:prSet presAssocID="{8E284AFA-D5A8-4834-93B6-A187213016F6}" presName="Accent6" presStyleCnt="0"/>
      <dgm:spPr/>
    </dgm:pt>
    <dgm:pt modelId="{7FD72BB8-5790-4691-AEA6-AA2C92439FD7}" type="pres">
      <dgm:prSet presAssocID="{8E284AFA-D5A8-4834-93B6-A187213016F6}" presName="Accent" presStyleLbl="node1" presStyleIdx="1" presStyleCnt="7"/>
      <dgm:spPr/>
    </dgm:pt>
    <dgm:pt modelId="{9A4DDA5E-57C9-473C-9C7D-42ACA2B29952}" type="pres">
      <dgm:prSet presAssocID="{8E284AFA-D5A8-4834-93B6-A187213016F6}" presName="ParentBackground6" presStyleCnt="0"/>
      <dgm:spPr/>
    </dgm:pt>
    <dgm:pt modelId="{0052E742-2D6D-4E33-999B-6B4C42A1131F}" type="pres">
      <dgm:prSet presAssocID="{8E284AFA-D5A8-4834-93B6-A187213016F6}" presName="ParentBackground" presStyleLbl="fgAcc1" presStyleIdx="1" presStyleCnt="7"/>
      <dgm:spPr/>
    </dgm:pt>
    <dgm:pt modelId="{580CF929-A532-4D38-8F25-A797B049E8B0}" type="pres">
      <dgm:prSet presAssocID="{8E284AFA-D5A8-4834-93B6-A187213016F6}" presName="Child6" presStyleLbl="revTx" presStyleIdx="1" presStyleCnt="7">
        <dgm:presLayoutVars>
          <dgm:chMax val="0"/>
          <dgm:chPref val="0"/>
          <dgm:bulletEnabled val="1"/>
        </dgm:presLayoutVars>
      </dgm:prSet>
      <dgm:spPr/>
    </dgm:pt>
    <dgm:pt modelId="{46901717-8D17-4A80-AE20-DC95C112D136}" type="pres">
      <dgm:prSet presAssocID="{8E284AFA-D5A8-4834-93B6-A187213016F6}" presName="Parent6" presStyleLbl="revTx" presStyleIdx="1" presStyleCnt="7">
        <dgm:presLayoutVars>
          <dgm:chMax val="1"/>
          <dgm:chPref val="1"/>
          <dgm:bulletEnabled val="1"/>
        </dgm:presLayoutVars>
      </dgm:prSet>
      <dgm:spPr/>
    </dgm:pt>
    <dgm:pt modelId="{11C84603-3C1A-486D-9DCD-1F161BEC28A4}" type="pres">
      <dgm:prSet presAssocID="{0472A0B5-C077-4E4C-87FD-E45AEAD6C4E7}" presName="Accent5" presStyleCnt="0"/>
      <dgm:spPr/>
    </dgm:pt>
    <dgm:pt modelId="{3C104F5E-0FC7-4634-9581-D8C5DA8439EF}" type="pres">
      <dgm:prSet presAssocID="{0472A0B5-C077-4E4C-87FD-E45AEAD6C4E7}" presName="Accent" presStyleLbl="node1" presStyleIdx="2" presStyleCnt="7"/>
      <dgm:spPr/>
    </dgm:pt>
    <dgm:pt modelId="{E7B1517A-C474-4F7C-A964-692A87019822}" type="pres">
      <dgm:prSet presAssocID="{0472A0B5-C077-4E4C-87FD-E45AEAD6C4E7}" presName="ParentBackground5" presStyleCnt="0"/>
      <dgm:spPr/>
    </dgm:pt>
    <dgm:pt modelId="{59C52FC5-8C60-4EAC-BEAC-6AF52A9C5344}" type="pres">
      <dgm:prSet presAssocID="{0472A0B5-C077-4E4C-87FD-E45AEAD6C4E7}" presName="ParentBackground" presStyleLbl="fgAcc1" presStyleIdx="2" presStyleCnt="7"/>
      <dgm:spPr/>
    </dgm:pt>
    <dgm:pt modelId="{CD710519-4185-4A20-9FEE-DBBEF9333EE1}" type="pres">
      <dgm:prSet presAssocID="{0472A0B5-C077-4E4C-87FD-E45AEAD6C4E7}" presName="Child5" presStyleLbl="revTx" presStyleIdx="2" presStyleCnt="7">
        <dgm:presLayoutVars>
          <dgm:chMax val="0"/>
          <dgm:chPref val="0"/>
          <dgm:bulletEnabled val="1"/>
        </dgm:presLayoutVars>
      </dgm:prSet>
      <dgm:spPr/>
    </dgm:pt>
    <dgm:pt modelId="{848141F3-91C6-4483-AECC-43FD6B7BE700}" type="pres">
      <dgm:prSet presAssocID="{0472A0B5-C077-4E4C-87FD-E45AEAD6C4E7}" presName="Parent5" presStyleLbl="revTx" presStyleIdx="2" presStyleCnt="7">
        <dgm:presLayoutVars>
          <dgm:chMax val="1"/>
          <dgm:chPref val="1"/>
          <dgm:bulletEnabled val="1"/>
        </dgm:presLayoutVars>
      </dgm:prSet>
      <dgm:spPr/>
    </dgm:pt>
    <dgm:pt modelId="{94134BFC-986B-45E4-8737-956ACEA81CCD}" type="pres">
      <dgm:prSet presAssocID="{66473032-A0C2-4B49-88DC-7AAA93E66520}" presName="Accent4" presStyleCnt="0"/>
      <dgm:spPr/>
    </dgm:pt>
    <dgm:pt modelId="{48A5E3F0-B5E6-42EA-84B1-A42BA8DA02E8}" type="pres">
      <dgm:prSet presAssocID="{66473032-A0C2-4B49-88DC-7AAA93E66520}" presName="Accent" presStyleLbl="node1" presStyleIdx="3" presStyleCnt="7"/>
      <dgm:spPr/>
    </dgm:pt>
    <dgm:pt modelId="{63466913-FBE5-4B8A-B01A-54B4756F801A}" type="pres">
      <dgm:prSet presAssocID="{66473032-A0C2-4B49-88DC-7AAA93E66520}" presName="ParentBackground4" presStyleCnt="0"/>
      <dgm:spPr/>
    </dgm:pt>
    <dgm:pt modelId="{621D4E98-A269-42F3-9444-45CD89C96B39}" type="pres">
      <dgm:prSet presAssocID="{66473032-A0C2-4B49-88DC-7AAA93E66520}" presName="ParentBackground" presStyleLbl="fgAcc1" presStyleIdx="3" presStyleCnt="7"/>
      <dgm:spPr/>
    </dgm:pt>
    <dgm:pt modelId="{2071F778-3F05-40D5-9D26-9F3CA099E34F}" type="pres">
      <dgm:prSet presAssocID="{66473032-A0C2-4B49-88DC-7AAA93E66520}" presName="Child4" presStyleLbl="revTx" presStyleIdx="3" presStyleCnt="7">
        <dgm:presLayoutVars>
          <dgm:chMax val="0"/>
          <dgm:chPref val="0"/>
          <dgm:bulletEnabled val="1"/>
        </dgm:presLayoutVars>
      </dgm:prSet>
      <dgm:spPr/>
    </dgm:pt>
    <dgm:pt modelId="{19409AAD-604F-4807-9B58-BA050FCB5BBE}" type="pres">
      <dgm:prSet presAssocID="{66473032-A0C2-4B49-88DC-7AAA93E66520}" presName="Parent4" presStyleLbl="revTx" presStyleIdx="3" presStyleCnt="7">
        <dgm:presLayoutVars>
          <dgm:chMax val="1"/>
          <dgm:chPref val="1"/>
          <dgm:bulletEnabled val="1"/>
        </dgm:presLayoutVars>
      </dgm:prSet>
      <dgm:spPr/>
    </dgm:pt>
    <dgm:pt modelId="{8D8B8E53-CF52-4B7A-8997-3F3CB2A6FB6B}" type="pres">
      <dgm:prSet presAssocID="{055B21AC-404E-4B4E-A87B-5A7C44CDC9FF}" presName="Accent3" presStyleCnt="0"/>
      <dgm:spPr/>
    </dgm:pt>
    <dgm:pt modelId="{8683F79E-A467-44C5-83C5-C2EBC55C9978}" type="pres">
      <dgm:prSet presAssocID="{055B21AC-404E-4B4E-A87B-5A7C44CDC9FF}" presName="Accent" presStyleLbl="node1" presStyleIdx="4" presStyleCnt="7"/>
      <dgm:spPr/>
    </dgm:pt>
    <dgm:pt modelId="{EB4B18AB-6AF1-4825-A2C8-ED3EDC3BF639}" type="pres">
      <dgm:prSet presAssocID="{055B21AC-404E-4B4E-A87B-5A7C44CDC9FF}" presName="ParentBackground3" presStyleCnt="0"/>
      <dgm:spPr/>
    </dgm:pt>
    <dgm:pt modelId="{76BC91F9-9CA8-43FE-8F85-71937D2386ED}" type="pres">
      <dgm:prSet presAssocID="{055B21AC-404E-4B4E-A87B-5A7C44CDC9FF}" presName="ParentBackground" presStyleLbl="fgAcc1" presStyleIdx="4" presStyleCnt="7"/>
      <dgm:spPr/>
    </dgm:pt>
    <dgm:pt modelId="{F8991008-B7CF-4377-93A8-111DE5BAF702}" type="pres">
      <dgm:prSet presAssocID="{055B21AC-404E-4B4E-A87B-5A7C44CDC9FF}" presName="Child3" presStyleLbl="revTx" presStyleIdx="4" presStyleCnt="7">
        <dgm:presLayoutVars>
          <dgm:chMax val="0"/>
          <dgm:chPref val="0"/>
          <dgm:bulletEnabled val="1"/>
        </dgm:presLayoutVars>
      </dgm:prSet>
      <dgm:spPr/>
    </dgm:pt>
    <dgm:pt modelId="{A09124A4-B583-40D7-9371-6F7FF9C7A7AF}" type="pres">
      <dgm:prSet presAssocID="{055B21AC-404E-4B4E-A87B-5A7C44CDC9FF}" presName="Parent3" presStyleLbl="revTx" presStyleIdx="4" presStyleCnt="7">
        <dgm:presLayoutVars>
          <dgm:chMax val="1"/>
          <dgm:chPref val="1"/>
          <dgm:bulletEnabled val="1"/>
        </dgm:presLayoutVars>
      </dgm:prSet>
      <dgm:spPr/>
    </dgm:pt>
    <dgm:pt modelId="{A13FA7A0-D084-4599-BBA2-9F6F43074841}" type="pres">
      <dgm:prSet presAssocID="{1EF8090E-3F94-4DD0-9DEB-31E07770DD0B}" presName="Accent2" presStyleCnt="0"/>
      <dgm:spPr/>
    </dgm:pt>
    <dgm:pt modelId="{99C1EF6D-0416-4E4C-85C3-C6A0B3ED32C8}" type="pres">
      <dgm:prSet presAssocID="{1EF8090E-3F94-4DD0-9DEB-31E07770DD0B}" presName="Accent" presStyleLbl="node1" presStyleIdx="5" presStyleCnt="7"/>
      <dgm:spPr/>
    </dgm:pt>
    <dgm:pt modelId="{0FA77318-07D2-45D3-8024-E5CD7512EE42}" type="pres">
      <dgm:prSet presAssocID="{1EF8090E-3F94-4DD0-9DEB-31E07770DD0B}" presName="ParentBackground2" presStyleCnt="0"/>
      <dgm:spPr/>
    </dgm:pt>
    <dgm:pt modelId="{DB22262B-E9B3-4353-8E90-7CCD3613AA31}" type="pres">
      <dgm:prSet presAssocID="{1EF8090E-3F94-4DD0-9DEB-31E07770DD0B}" presName="ParentBackground" presStyleLbl="fgAcc1" presStyleIdx="5" presStyleCnt="7"/>
      <dgm:spPr/>
    </dgm:pt>
    <dgm:pt modelId="{933B7664-35B5-41EE-8410-6A58916DA0DE}" type="pres">
      <dgm:prSet presAssocID="{1EF8090E-3F94-4DD0-9DEB-31E07770DD0B}" presName="Child2" presStyleLbl="revTx" presStyleIdx="5" presStyleCnt="7">
        <dgm:presLayoutVars>
          <dgm:chMax val="0"/>
          <dgm:chPref val="0"/>
          <dgm:bulletEnabled val="1"/>
        </dgm:presLayoutVars>
      </dgm:prSet>
      <dgm:spPr/>
    </dgm:pt>
    <dgm:pt modelId="{A7BF751D-54C3-4BB7-9CC1-5B93F5EDD373}" type="pres">
      <dgm:prSet presAssocID="{1EF8090E-3F94-4DD0-9DEB-31E07770DD0B}" presName="Parent2" presStyleLbl="revTx" presStyleIdx="5" presStyleCnt="7">
        <dgm:presLayoutVars>
          <dgm:chMax val="1"/>
          <dgm:chPref val="1"/>
          <dgm:bulletEnabled val="1"/>
        </dgm:presLayoutVars>
      </dgm:prSet>
      <dgm:spPr/>
    </dgm:pt>
    <dgm:pt modelId="{8DA859A2-59DF-4E90-8207-A6CE16B78E69}" type="pres">
      <dgm:prSet presAssocID="{824A2C3B-7EA9-4B3B-84D8-A7BFA33DF308}" presName="Accent1" presStyleCnt="0"/>
      <dgm:spPr/>
    </dgm:pt>
    <dgm:pt modelId="{47EA062C-E032-4DF7-B399-828D8B0AF511}" type="pres">
      <dgm:prSet presAssocID="{824A2C3B-7EA9-4B3B-84D8-A7BFA33DF308}" presName="Accent" presStyleLbl="node1" presStyleIdx="6" presStyleCnt="7"/>
      <dgm:spPr/>
    </dgm:pt>
    <dgm:pt modelId="{AA384634-0614-4CF8-94AA-9B82F260497A}" type="pres">
      <dgm:prSet presAssocID="{824A2C3B-7EA9-4B3B-84D8-A7BFA33DF308}" presName="ParentBackground1" presStyleCnt="0"/>
      <dgm:spPr/>
    </dgm:pt>
    <dgm:pt modelId="{51882E44-53AA-4F39-B7EE-1E3A4FE2D090}" type="pres">
      <dgm:prSet presAssocID="{824A2C3B-7EA9-4B3B-84D8-A7BFA33DF308}" presName="ParentBackground" presStyleLbl="fgAcc1" presStyleIdx="6" presStyleCnt="7"/>
      <dgm:spPr/>
    </dgm:pt>
    <dgm:pt modelId="{0C0A85EA-B761-4338-BE2A-0456AD2C9100}" type="pres">
      <dgm:prSet presAssocID="{824A2C3B-7EA9-4B3B-84D8-A7BFA33DF308}" presName="Child1" presStyleLbl="revTx" presStyleIdx="6" presStyleCnt="7">
        <dgm:presLayoutVars>
          <dgm:chMax val="0"/>
          <dgm:chPref val="0"/>
          <dgm:bulletEnabled val="1"/>
        </dgm:presLayoutVars>
      </dgm:prSet>
      <dgm:spPr/>
    </dgm:pt>
    <dgm:pt modelId="{A78589F4-848F-403F-8ADF-ACE2BA5DD72E}" type="pres">
      <dgm:prSet presAssocID="{824A2C3B-7EA9-4B3B-84D8-A7BFA33DF308}" presName="Parent1" presStyleLbl="revTx" presStyleIdx="6" presStyleCnt="7">
        <dgm:presLayoutVars>
          <dgm:chMax val="1"/>
          <dgm:chPref val="1"/>
          <dgm:bulletEnabled val="1"/>
        </dgm:presLayoutVars>
      </dgm:prSet>
      <dgm:spPr/>
    </dgm:pt>
  </dgm:ptLst>
  <dgm:cxnLst>
    <dgm:cxn modelId="{AF74B903-839B-4FD4-BD8C-9C6D340E970C}" srcId="{66473032-A0C2-4B49-88DC-7AAA93E66520}" destId="{7F46ADFE-611F-4B56-9B07-FA5139E498F7}" srcOrd="2" destOrd="0" parTransId="{0B5015AA-451A-426A-A557-A6824EB6F625}" sibTransId="{AA6C1160-5392-42AA-9901-C33CE612AF92}"/>
    <dgm:cxn modelId="{1D455E05-5A09-483A-99D0-855DF4F293E7}" type="presOf" srcId="{4653FF27-899C-4778-98AE-4D422D37DCD9}" destId="{580CF929-A532-4D38-8F25-A797B049E8B0}" srcOrd="0" destOrd="0" presId="urn:microsoft.com/office/officeart/2011/layout/CircleProcess"/>
    <dgm:cxn modelId="{B17B1008-AE42-4D35-BBF2-EF15C8241183}" srcId="{0472A0B5-C077-4E4C-87FD-E45AEAD6C4E7}" destId="{43A7549F-EDB5-4AA4-A514-E7949D75C8CB}" srcOrd="2" destOrd="0" parTransId="{35C9F9AE-07C8-46E7-89B4-2C904B7B61F3}" sibTransId="{FB8FBE07-64D5-428A-87D2-C56B1021F012}"/>
    <dgm:cxn modelId="{F3B2C908-A2A3-4D1A-8A7A-364B8C41DC0D}" srcId="{8E284AFA-D5A8-4834-93B6-A187213016F6}" destId="{31EB5CE0-6C2D-4EA1-837A-4257BBE4191C}" srcOrd="2" destOrd="0" parTransId="{A53113F8-DF9C-45F3-BA90-373A67F61116}" sibTransId="{9043653E-5F40-457D-A072-57DEE3F3580C}"/>
    <dgm:cxn modelId="{05B9FB11-5D3F-40E9-A770-A4B201158D60}" srcId="{824A2C3B-7EA9-4B3B-84D8-A7BFA33DF308}" destId="{6577B1C3-2166-46F3-9577-87A1E0BCBCFB}" srcOrd="0" destOrd="0" parTransId="{4ACABA33-9F09-4171-85BA-18D3FBB4913B}" sibTransId="{428101C0-840D-43AA-9011-FCCAACC26F91}"/>
    <dgm:cxn modelId="{54F29815-4E5C-48C9-8C1D-ABE0DA8D9D73}" type="presOf" srcId="{8A22B3C9-C538-4FE5-BF28-10B91AF9E178}" destId="{933B7664-35B5-41EE-8410-6A58916DA0DE}" srcOrd="0" destOrd="3" presId="urn:microsoft.com/office/officeart/2011/layout/CircleProcess"/>
    <dgm:cxn modelId="{DBF64A1C-6218-4B67-AA55-8568C90097BC}" type="presOf" srcId="{824A2C3B-7EA9-4B3B-84D8-A7BFA33DF308}" destId="{A78589F4-848F-403F-8ADF-ACE2BA5DD72E}" srcOrd="1" destOrd="0" presId="urn:microsoft.com/office/officeart/2011/layout/CircleProcess"/>
    <dgm:cxn modelId="{8C251421-D0D7-412B-A5C3-630328ED1AC9}" type="presOf" srcId="{055B21AC-404E-4B4E-A87B-5A7C44CDC9FF}" destId="{A09124A4-B583-40D7-9371-6F7FF9C7A7AF}" srcOrd="1" destOrd="0" presId="urn:microsoft.com/office/officeart/2011/layout/CircleProcess"/>
    <dgm:cxn modelId="{22C54121-732C-42DF-A5E4-EA6C5254B154}" type="presOf" srcId="{10D5435E-B36C-4DC9-B151-C6234D0E3959}" destId="{933B7664-35B5-41EE-8410-6A58916DA0DE}" srcOrd="0" destOrd="1" presId="urn:microsoft.com/office/officeart/2011/layout/CircleProcess"/>
    <dgm:cxn modelId="{B1BA3826-CBCD-4FE6-9BA2-C0BDABACCDA9}" type="presOf" srcId="{F9F5D6C1-5A59-4B42-A02B-22F0A0DDC0BB}" destId="{F8991008-B7CF-4377-93A8-111DE5BAF702}" srcOrd="0" destOrd="0" presId="urn:microsoft.com/office/officeart/2011/layout/CircleProcess"/>
    <dgm:cxn modelId="{6A2B842B-F191-4ADC-B2EC-3235A59726C5}" type="presOf" srcId="{7F46ADFE-611F-4B56-9B07-FA5139E498F7}" destId="{2071F778-3F05-40D5-9D26-9F3CA099E34F}" srcOrd="0" destOrd="2" presId="urn:microsoft.com/office/officeart/2011/layout/CircleProcess"/>
    <dgm:cxn modelId="{E05B1C2C-AA87-49D3-B7E8-67F22933787B}" srcId="{15DD834C-97D7-4B73-AB1E-2087FFEF950A}" destId="{7F1D6181-E1F3-47B4-94D8-4CB973B291E2}" srcOrd="1" destOrd="0" parTransId="{52336E74-CD36-417B-BC9B-AF09CD9B26D5}" sibTransId="{F558E402-3A3E-49BF-AC60-E4042F119333}"/>
    <dgm:cxn modelId="{DF5DF732-3571-4B1A-821A-96D9543248CB}" type="presOf" srcId="{FC2027DF-A7A7-40BF-9FFD-CDE090F2F0EA}" destId="{CD710519-4185-4A20-9FEE-DBBEF9333EE1}" srcOrd="0" destOrd="0" presId="urn:microsoft.com/office/officeart/2011/layout/CircleProcess"/>
    <dgm:cxn modelId="{37946C5B-0AF5-4960-96D9-4E9B00927053}" type="presOf" srcId="{1EE04BD0-6706-44A0-892A-62E5CFBAFFFC}" destId="{580CF929-A532-4D38-8F25-A797B049E8B0}" srcOrd="0" destOrd="1" presId="urn:microsoft.com/office/officeart/2011/layout/CircleProcess"/>
    <dgm:cxn modelId="{CFC69B5B-7223-468D-AB0E-85273C74401E}" type="presOf" srcId="{D03BCB55-8EF3-4742-9EDF-C162D2DE3861}" destId="{0C0A85EA-B761-4338-BE2A-0456AD2C9100}" srcOrd="0" destOrd="2" presId="urn:microsoft.com/office/officeart/2011/layout/CircleProcess"/>
    <dgm:cxn modelId="{98541D5C-7F85-4EBB-8A3C-7D852D10C5F9}" srcId="{8E284AFA-D5A8-4834-93B6-A187213016F6}" destId="{1EE04BD0-6706-44A0-892A-62E5CFBAFFFC}" srcOrd="1" destOrd="0" parTransId="{7A6658D0-7898-41C8-A0F9-9D9BA3E4F0A1}" sibTransId="{7746873A-6011-4BB1-9840-67981EA3B014}"/>
    <dgm:cxn modelId="{DAB05C5C-75CB-48A6-A6C8-2FE446C5C61E}" type="presOf" srcId="{6577B1C3-2166-46F3-9577-87A1E0BCBCFB}" destId="{0C0A85EA-B761-4338-BE2A-0456AD2C9100}" srcOrd="0" destOrd="0" presId="urn:microsoft.com/office/officeart/2011/layout/CircleProcess"/>
    <dgm:cxn modelId="{97FA685E-DDEB-4D8C-829A-E2A3DDB72926}" type="presOf" srcId="{BAB2443D-A234-4433-B690-9230841EEDE0}" destId="{2071F778-3F05-40D5-9D26-9F3CA099E34F}" srcOrd="0" destOrd="1" presId="urn:microsoft.com/office/officeart/2011/layout/CircleProcess"/>
    <dgm:cxn modelId="{102C145F-F28F-40B7-A556-DE7525AB65B9}" type="presOf" srcId="{0C1AB3B8-D75C-4654-AC20-D266E6E746E7}" destId="{F8991008-B7CF-4377-93A8-111DE5BAF702}" srcOrd="0" destOrd="1" presId="urn:microsoft.com/office/officeart/2011/layout/CircleProcess"/>
    <dgm:cxn modelId="{7F155B44-73F8-445B-B607-C3572EB737D4}" srcId="{66473032-A0C2-4B49-88DC-7AAA93E66520}" destId="{15319CAE-42B3-4EF1-99E0-60844D7349BE}" srcOrd="0" destOrd="0" parTransId="{0AFF7FE0-4C1A-47D3-ABD4-2444A3CC20C6}" sibTransId="{8E218D0E-3062-4B5D-AEB3-56F6D7083A5E}"/>
    <dgm:cxn modelId="{2CF6B266-F0CA-4C3A-801A-B4C7A8983081}" type="presOf" srcId="{824A2C3B-7EA9-4B3B-84D8-A7BFA33DF308}" destId="{51882E44-53AA-4F39-B7EE-1E3A4FE2D090}" srcOrd="0" destOrd="0" presId="urn:microsoft.com/office/officeart/2011/layout/CircleProcess"/>
    <dgm:cxn modelId="{B19EE248-D6C6-42C1-BC8B-158228B95B29}" type="presOf" srcId="{66473032-A0C2-4B49-88DC-7AAA93E66520}" destId="{621D4E98-A269-42F3-9444-45CD89C96B39}" srcOrd="0" destOrd="0" presId="urn:microsoft.com/office/officeart/2011/layout/CircleProcess"/>
    <dgm:cxn modelId="{2EAA4969-6D7E-44C4-93F6-B3D45C60A21B}" srcId="{CA92B0D0-6825-4DD8-B251-7614435D76AD}" destId="{1EF8090E-3F94-4DD0-9DEB-31E07770DD0B}" srcOrd="1" destOrd="0" parTransId="{ADB22894-5F21-4E60-8F65-61AF69DFC35E}" sibTransId="{E3E94051-C083-43BD-A759-40C9D682F89F}"/>
    <dgm:cxn modelId="{0DB8A149-28E1-4404-B702-0102DBF6E6D8}" srcId="{1EF8090E-3F94-4DD0-9DEB-31E07770DD0B}" destId="{10D5435E-B36C-4DC9-B151-C6234D0E3959}" srcOrd="1" destOrd="0" parTransId="{68E9F256-A0E7-4592-AEB8-9F36863F9AA6}" sibTransId="{DBE2C18A-745D-459B-9570-CCD2C9F4B92F}"/>
    <dgm:cxn modelId="{6B60384D-94E0-4160-AA0B-B0EBFB37D84B}" type="presOf" srcId="{8E284AFA-D5A8-4834-93B6-A187213016F6}" destId="{46901717-8D17-4A80-AE20-DC95C112D136}" srcOrd="1" destOrd="0" presId="urn:microsoft.com/office/officeart/2011/layout/CircleProcess"/>
    <dgm:cxn modelId="{EC643B4D-DE9F-4158-A48F-D512A440D5FD}" srcId="{1EF8090E-3F94-4DD0-9DEB-31E07770DD0B}" destId="{8A22B3C9-C538-4FE5-BF28-10B91AF9E178}" srcOrd="3" destOrd="0" parTransId="{74CD5AD8-06CD-427B-A2C4-92C458C1D20C}" sibTransId="{7E0A93C4-2B44-4D61-939F-935179576598}"/>
    <dgm:cxn modelId="{0D7D686E-D45C-49BF-8ED1-5A6EB16028FE}" srcId="{055B21AC-404E-4B4E-A87B-5A7C44CDC9FF}" destId="{0C1AB3B8-D75C-4654-AC20-D266E6E746E7}" srcOrd="1" destOrd="0" parTransId="{2984DF8D-9B92-4822-AFCB-26C35795527B}" sibTransId="{88B3FF87-7E50-40F5-916E-60B1F18B64DF}"/>
    <dgm:cxn modelId="{11664F72-215B-49C1-ABF6-223C4AD3412A}" type="presOf" srcId="{66473032-A0C2-4B49-88DC-7AAA93E66520}" destId="{19409AAD-604F-4807-9B58-BA050FCB5BBE}" srcOrd="1" destOrd="0" presId="urn:microsoft.com/office/officeart/2011/layout/CircleProcess"/>
    <dgm:cxn modelId="{F987EE52-E384-4F08-BA77-5648C7997D6D}" srcId="{0472A0B5-C077-4E4C-87FD-E45AEAD6C4E7}" destId="{FC2027DF-A7A7-40BF-9FFD-CDE090F2F0EA}" srcOrd="0" destOrd="0" parTransId="{9B7828FE-3FA0-47FB-809A-5EC4C1225103}" sibTransId="{4AB6A423-17AB-48B2-9507-6524FC9D91D4}"/>
    <dgm:cxn modelId="{FE38E654-17DA-4795-B01A-1F73A8FDBD02}" srcId="{CA92B0D0-6825-4DD8-B251-7614435D76AD}" destId="{824A2C3B-7EA9-4B3B-84D8-A7BFA33DF308}" srcOrd="0" destOrd="0" parTransId="{DBAEE653-539E-402D-AB66-98AD36AE165D}" sibTransId="{E21ECD71-D400-4394-AE02-8E9EB3AD03D1}"/>
    <dgm:cxn modelId="{E8E9A559-D5D3-4C1E-9ABF-35B91F24A6A4}" type="presOf" srcId="{1B393DE2-6EF6-41BE-B34D-C8AD6089CCC0}" destId="{F8991008-B7CF-4377-93A8-111DE5BAF702}" srcOrd="0" destOrd="2" presId="urn:microsoft.com/office/officeart/2011/layout/CircleProcess"/>
    <dgm:cxn modelId="{942D6A5A-79D3-4923-BF25-4136D01EFB23}" type="presOf" srcId="{15DD834C-97D7-4B73-AB1E-2087FFEF950A}" destId="{49EF2844-BBFB-4010-9BF3-2625F05E5656}" srcOrd="0" destOrd="0" presId="urn:microsoft.com/office/officeart/2011/layout/CircleProcess"/>
    <dgm:cxn modelId="{6EDF727F-C420-46BB-A590-4FE9DA2953AD}" type="presOf" srcId="{88C8C3DC-C76D-48C2-88DE-2F6C40E67345}" destId="{580CF929-A532-4D38-8F25-A797B049E8B0}" srcOrd="0" destOrd="3" presId="urn:microsoft.com/office/officeart/2011/layout/CircleProcess"/>
    <dgm:cxn modelId="{E4B86784-7E6F-46D1-ADAD-0ED86A0F108A}" type="presOf" srcId="{31EB5CE0-6C2D-4EA1-837A-4257BBE4191C}" destId="{580CF929-A532-4D38-8F25-A797B049E8B0}" srcOrd="0" destOrd="2" presId="urn:microsoft.com/office/officeart/2011/layout/CircleProcess"/>
    <dgm:cxn modelId="{15C61385-85BE-4A5E-BEA6-F761D5E185C6}" type="presOf" srcId="{55D99BDB-2755-4533-8113-6C5DDE74E6A9}" destId="{CD710519-4185-4A20-9FEE-DBBEF9333EE1}" srcOrd="0" destOrd="1" presId="urn:microsoft.com/office/officeart/2011/layout/CircleProcess"/>
    <dgm:cxn modelId="{56E2E186-115F-4E8D-B370-9F52891B84BB}" srcId="{8E284AFA-D5A8-4834-93B6-A187213016F6}" destId="{4653FF27-899C-4778-98AE-4D422D37DCD9}" srcOrd="0" destOrd="0" parTransId="{BE054D0A-17AF-4FB6-AE4F-4F2D16CB16D6}" sibTransId="{688ED78D-944F-49C3-B340-FE222765E6DB}"/>
    <dgm:cxn modelId="{B2D7F48D-B2F4-4ED5-B630-04A13FC2F944}" srcId="{CA92B0D0-6825-4DD8-B251-7614435D76AD}" destId="{66473032-A0C2-4B49-88DC-7AAA93E66520}" srcOrd="3" destOrd="0" parTransId="{AC30D1E4-65EA-40E9-A69C-92B5ABBBFE8C}" sibTransId="{607A10A3-D73C-41AB-905C-CADF5AE54831}"/>
    <dgm:cxn modelId="{1BD26793-9EE9-4738-B3F7-F4B9DDCF7E5F}" srcId="{1EF8090E-3F94-4DD0-9DEB-31E07770DD0B}" destId="{0FEC4CBC-1BFA-46B5-9BF5-FCA219371722}" srcOrd="2" destOrd="0" parTransId="{287BDC02-2467-4697-B9B7-4270AAC55A30}" sibTransId="{9D1D871F-5EBF-4142-B3A3-1113F4A9E16D}"/>
    <dgm:cxn modelId="{E7448093-D7AF-4C76-A6E7-20912A22B0F6}" srcId="{824A2C3B-7EA9-4B3B-84D8-A7BFA33DF308}" destId="{01105671-5609-40F9-9CF5-07BA36DC3701}" srcOrd="1" destOrd="0" parTransId="{67F2E45C-26D7-4355-B59B-46C4612BB7A8}" sibTransId="{39C94449-36CB-47C7-9E8A-D9D376BF79F5}"/>
    <dgm:cxn modelId="{A648029A-9C88-4263-8B81-E227EF49BFC4}" type="presOf" srcId="{1EF8090E-3F94-4DD0-9DEB-31E07770DD0B}" destId="{DB22262B-E9B3-4353-8E90-7CCD3613AA31}" srcOrd="0" destOrd="0" presId="urn:microsoft.com/office/officeart/2011/layout/CircleProcess"/>
    <dgm:cxn modelId="{EEE5A29F-C779-4253-A164-6C16F0614A2E}" type="presOf" srcId="{8E284AFA-D5A8-4834-93B6-A187213016F6}" destId="{0052E742-2D6D-4E33-999B-6B4C42A1131F}" srcOrd="0" destOrd="0" presId="urn:microsoft.com/office/officeart/2011/layout/CircleProcess"/>
    <dgm:cxn modelId="{9BCBBE9F-5AFC-4C03-8EE5-1A93CCCEF05F}" srcId="{CA92B0D0-6825-4DD8-B251-7614435D76AD}" destId="{15DD834C-97D7-4B73-AB1E-2087FFEF950A}" srcOrd="6" destOrd="0" parTransId="{C7D40C1B-842E-49A8-9E04-9663363F10C4}" sibTransId="{0FCB9750-387E-4240-BFA2-F364B462FFD2}"/>
    <dgm:cxn modelId="{D27540A5-2EEA-4098-82E3-B95B8EBF825F}" srcId="{CA92B0D0-6825-4DD8-B251-7614435D76AD}" destId="{055B21AC-404E-4B4E-A87B-5A7C44CDC9FF}" srcOrd="2" destOrd="0" parTransId="{A7596FE5-B699-4E45-82D1-7E0400E01A9E}" sibTransId="{1626DF5D-C3C5-4BA2-887C-C93EC8852765}"/>
    <dgm:cxn modelId="{3E020DA6-707D-402E-9E15-4350D826CA1A}" type="presOf" srcId="{CA92B0D0-6825-4DD8-B251-7614435D76AD}" destId="{312F26FE-872F-447A-8892-AAFCF5774D8A}" srcOrd="0" destOrd="0" presId="urn:microsoft.com/office/officeart/2011/layout/CircleProcess"/>
    <dgm:cxn modelId="{D3C740A7-2E5B-42FA-B475-D87BCA648E63}" type="presOf" srcId="{43A7549F-EDB5-4AA4-A514-E7949D75C8CB}" destId="{CD710519-4185-4A20-9FEE-DBBEF9333EE1}" srcOrd="0" destOrd="2" presId="urn:microsoft.com/office/officeart/2011/layout/CircleProcess"/>
    <dgm:cxn modelId="{8842F7A9-C67C-4035-9979-017A70469BA9}" srcId="{0472A0B5-C077-4E4C-87FD-E45AEAD6C4E7}" destId="{55D99BDB-2755-4533-8113-6C5DDE74E6A9}" srcOrd="1" destOrd="0" parTransId="{5E1DF91D-8C10-4E04-BF71-70F24AE6C4B6}" sibTransId="{A748A074-8239-45A7-878E-E934F09F725E}"/>
    <dgm:cxn modelId="{F2B4E9B0-92D1-430D-8FE1-61F891A8FEB8}" type="presOf" srcId="{D3239A81-B4F1-4A84-84A0-31A957744FFE}" destId="{933B7664-35B5-41EE-8410-6A58916DA0DE}" srcOrd="0" destOrd="0" presId="urn:microsoft.com/office/officeart/2011/layout/CircleProcess"/>
    <dgm:cxn modelId="{B2820FB4-A15A-49A4-B67D-0000C9832787}" srcId="{055B21AC-404E-4B4E-A87B-5A7C44CDC9FF}" destId="{F9F5D6C1-5A59-4B42-A02B-22F0A0DDC0BB}" srcOrd="0" destOrd="0" parTransId="{72A1956F-D445-44EA-98AD-726BDDC904B6}" sibTransId="{C0E55369-729B-4057-981F-D90F4193DC89}"/>
    <dgm:cxn modelId="{8E8E77B4-BE3E-42ED-81DD-4D0F73FA6A58}" srcId="{CA92B0D0-6825-4DD8-B251-7614435D76AD}" destId="{0472A0B5-C077-4E4C-87FD-E45AEAD6C4E7}" srcOrd="4" destOrd="0" parTransId="{6E9A7B80-A2C3-456C-B6A3-22102FFC955F}" sibTransId="{FA2527A2-DD69-48C5-8AFF-9F1861D514A5}"/>
    <dgm:cxn modelId="{83EC61B7-CE76-4347-B6B6-94DD9D015A25}" type="presOf" srcId="{15319CAE-42B3-4EF1-99E0-60844D7349BE}" destId="{2071F778-3F05-40D5-9D26-9F3CA099E34F}" srcOrd="0" destOrd="0" presId="urn:microsoft.com/office/officeart/2011/layout/CircleProcess"/>
    <dgm:cxn modelId="{0A8F0CBC-B260-4A60-A468-4919CB38066D}" srcId="{15DD834C-97D7-4B73-AB1E-2087FFEF950A}" destId="{05727B60-56B7-4F58-AC05-B070AD7BF050}" srcOrd="0" destOrd="0" parTransId="{E59E86F6-4859-4571-99B5-00E07CC273DE}" sibTransId="{2715D827-DB7B-49EB-A4C9-CA5B4F8BE5E1}"/>
    <dgm:cxn modelId="{EAEF8FBE-A434-4F8E-A058-728D6BC6B9AC}" type="presOf" srcId="{0472A0B5-C077-4E4C-87FD-E45AEAD6C4E7}" destId="{59C52FC5-8C60-4EAC-BEAC-6AF52A9C5344}" srcOrd="0" destOrd="0" presId="urn:microsoft.com/office/officeart/2011/layout/CircleProcess"/>
    <dgm:cxn modelId="{B060B3BE-A5FE-457F-AFED-EAFB8E0AD57E}" type="presOf" srcId="{0472A0B5-C077-4E4C-87FD-E45AEAD6C4E7}" destId="{848141F3-91C6-4483-AECC-43FD6B7BE700}" srcOrd="1" destOrd="0" presId="urn:microsoft.com/office/officeart/2011/layout/CircleProcess"/>
    <dgm:cxn modelId="{6FF61EC2-935B-479C-B8D0-8EA350F395BD}" type="presOf" srcId="{055B21AC-404E-4B4E-A87B-5A7C44CDC9FF}" destId="{76BC91F9-9CA8-43FE-8F85-71937D2386ED}" srcOrd="0" destOrd="0" presId="urn:microsoft.com/office/officeart/2011/layout/CircleProcess"/>
    <dgm:cxn modelId="{29E16FC8-62FA-444A-AEE1-1FAE64D865A2}" type="presOf" srcId="{0FEC4CBC-1BFA-46B5-9BF5-FCA219371722}" destId="{933B7664-35B5-41EE-8410-6A58916DA0DE}" srcOrd="0" destOrd="2" presId="urn:microsoft.com/office/officeart/2011/layout/CircleProcess"/>
    <dgm:cxn modelId="{B64AABC8-D429-4099-91D7-4CEF5BA30623}" type="presOf" srcId="{1EF8090E-3F94-4DD0-9DEB-31E07770DD0B}" destId="{A7BF751D-54C3-4BB7-9CC1-5B93F5EDD373}" srcOrd="1" destOrd="0" presId="urn:microsoft.com/office/officeart/2011/layout/CircleProcess"/>
    <dgm:cxn modelId="{5BBD0DCB-FDBE-4528-94CB-F500726FEB38}" srcId="{66473032-A0C2-4B49-88DC-7AAA93E66520}" destId="{BAB2443D-A234-4433-B690-9230841EEDE0}" srcOrd="1" destOrd="0" parTransId="{B87B6657-47B9-412A-9B88-5C27163EF10B}" sibTransId="{72A1FE07-A2B3-4C73-99E1-442BB97DAAEC}"/>
    <dgm:cxn modelId="{263566CF-BBB3-4AFF-A782-90C18AB584F6}" srcId="{1EF8090E-3F94-4DD0-9DEB-31E07770DD0B}" destId="{D3239A81-B4F1-4A84-84A0-31A957744FFE}" srcOrd="0" destOrd="0" parTransId="{662E7124-22C2-431C-91EF-E9AE1F096310}" sibTransId="{F666C7CF-E6EB-449F-9349-B66950A68916}"/>
    <dgm:cxn modelId="{B9FC90D0-B320-47DA-AD2E-5AA660216E1B}" srcId="{055B21AC-404E-4B4E-A87B-5A7C44CDC9FF}" destId="{1B393DE2-6EF6-41BE-B34D-C8AD6089CCC0}" srcOrd="2" destOrd="0" parTransId="{171C78EE-4EF6-4A68-ABF1-C92490A13A9E}" sibTransId="{A03469E4-8C9A-4171-A856-F6D7EBA2BD37}"/>
    <dgm:cxn modelId="{78AEF5D9-F03E-4E50-A740-EE93BF25452E}" srcId="{CA92B0D0-6825-4DD8-B251-7614435D76AD}" destId="{8E284AFA-D5A8-4834-93B6-A187213016F6}" srcOrd="5" destOrd="0" parTransId="{F0DFEF0E-31C3-428C-98A5-9FC1F4E702CC}" sibTransId="{9444C978-A1AF-467E-8C7B-64388D90D31E}"/>
    <dgm:cxn modelId="{49A381E2-69B6-4020-A6B5-626CECB82250}" type="presOf" srcId="{15DD834C-97D7-4B73-AB1E-2087FFEF950A}" destId="{34340AC8-1D12-454D-82D9-E668B6DB9FFE}" srcOrd="1" destOrd="0" presId="urn:microsoft.com/office/officeart/2011/layout/CircleProcess"/>
    <dgm:cxn modelId="{98D1DEEB-4D61-4F6F-B561-12BC8E6BC29B}" type="presOf" srcId="{7F1D6181-E1F3-47B4-94D8-4CB973B291E2}" destId="{578AF046-ABB0-4E84-A6C8-2F5DBF4278FD}" srcOrd="0" destOrd="1" presId="urn:microsoft.com/office/officeart/2011/layout/CircleProcess"/>
    <dgm:cxn modelId="{3B1590F3-8CFB-4E70-AD1C-F8D967DE680A}" srcId="{824A2C3B-7EA9-4B3B-84D8-A7BFA33DF308}" destId="{D03BCB55-8EF3-4742-9EDF-C162D2DE3861}" srcOrd="2" destOrd="0" parTransId="{4C821085-BA05-4CBF-B426-62ECC87EBFB8}" sibTransId="{BE0BCC83-587A-413F-89DB-31480EEFB1C7}"/>
    <dgm:cxn modelId="{7AF0A0F3-ACF3-402D-A182-8A5AE7755B87}" type="presOf" srcId="{01105671-5609-40F9-9CF5-07BA36DC3701}" destId="{0C0A85EA-B761-4338-BE2A-0456AD2C9100}" srcOrd="0" destOrd="1" presId="urn:microsoft.com/office/officeart/2011/layout/CircleProcess"/>
    <dgm:cxn modelId="{A4FCB1F3-8D92-47AC-8D02-3F1B3BAA144E}" type="presOf" srcId="{05727B60-56B7-4F58-AC05-B070AD7BF050}" destId="{578AF046-ABB0-4E84-A6C8-2F5DBF4278FD}" srcOrd="0" destOrd="0" presId="urn:microsoft.com/office/officeart/2011/layout/CircleProcess"/>
    <dgm:cxn modelId="{3B0976F8-0831-4129-AE32-6F4237B1641C}" srcId="{8E284AFA-D5A8-4834-93B6-A187213016F6}" destId="{88C8C3DC-C76D-48C2-88DE-2F6C40E67345}" srcOrd="3" destOrd="0" parTransId="{BF8F2BBD-1C81-4105-93E4-9B5494D7C7A1}" sibTransId="{D04150FB-BF3C-4377-84C7-C40AFAF4EA6F}"/>
    <dgm:cxn modelId="{B46C0B7F-96D5-4CC8-B2E4-5F0430E3D2BF}" type="presParOf" srcId="{312F26FE-872F-447A-8892-AAFCF5774D8A}" destId="{3C6E00F2-296D-498B-9222-67EBC2460D5A}" srcOrd="0" destOrd="0" presId="urn:microsoft.com/office/officeart/2011/layout/CircleProcess"/>
    <dgm:cxn modelId="{7CA5CF39-913E-449D-B16F-1DA0D2305AFF}" type="presParOf" srcId="{3C6E00F2-296D-498B-9222-67EBC2460D5A}" destId="{4F73C4C1-CBA4-44B5-93BA-6DA0484BB24C}" srcOrd="0" destOrd="0" presId="urn:microsoft.com/office/officeart/2011/layout/CircleProcess"/>
    <dgm:cxn modelId="{71C305A9-AF85-47EE-AF03-BC7C2415C3A5}" type="presParOf" srcId="{312F26FE-872F-447A-8892-AAFCF5774D8A}" destId="{5F3EFED1-E110-45D6-9939-E7944AF8F208}" srcOrd="1" destOrd="0" presId="urn:microsoft.com/office/officeart/2011/layout/CircleProcess"/>
    <dgm:cxn modelId="{EAC42BFB-173B-4F1E-BA6F-9C9264000335}" type="presParOf" srcId="{5F3EFED1-E110-45D6-9939-E7944AF8F208}" destId="{49EF2844-BBFB-4010-9BF3-2625F05E5656}" srcOrd="0" destOrd="0" presId="urn:microsoft.com/office/officeart/2011/layout/CircleProcess"/>
    <dgm:cxn modelId="{88A1721E-C8E8-477E-AA24-529FCE292B4D}" type="presParOf" srcId="{312F26FE-872F-447A-8892-AAFCF5774D8A}" destId="{578AF046-ABB0-4E84-A6C8-2F5DBF4278FD}" srcOrd="2" destOrd="0" presId="urn:microsoft.com/office/officeart/2011/layout/CircleProcess"/>
    <dgm:cxn modelId="{5FDFBB0C-FDA1-4CFC-897E-629E2E806EAD}" type="presParOf" srcId="{312F26FE-872F-447A-8892-AAFCF5774D8A}" destId="{34340AC8-1D12-454D-82D9-E668B6DB9FFE}" srcOrd="3" destOrd="0" presId="urn:microsoft.com/office/officeart/2011/layout/CircleProcess"/>
    <dgm:cxn modelId="{640E3BDF-0C25-433F-BC24-AF1850E25127}" type="presParOf" srcId="{312F26FE-872F-447A-8892-AAFCF5774D8A}" destId="{D8A15D58-6111-45C7-B051-5CE4FEC6FCEB}" srcOrd="4" destOrd="0" presId="urn:microsoft.com/office/officeart/2011/layout/CircleProcess"/>
    <dgm:cxn modelId="{70D7151B-F448-4F49-8F58-EF616C0D374E}" type="presParOf" srcId="{D8A15D58-6111-45C7-B051-5CE4FEC6FCEB}" destId="{7FD72BB8-5790-4691-AEA6-AA2C92439FD7}" srcOrd="0" destOrd="0" presId="urn:microsoft.com/office/officeart/2011/layout/CircleProcess"/>
    <dgm:cxn modelId="{C6435DDE-E7E9-49EF-A038-3CA56CFB2E45}" type="presParOf" srcId="{312F26FE-872F-447A-8892-AAFCF5774D8A}" destId="{9A4DDA5E-57C9-473C-9C7D-42ACA2B29952}" srcOrd="5" destOrd="0" presId="urn:microsoft.com/office/officeart/2011/layout/CircleProcess"/>
    <dgm:cxn modelId="{52D270D0-012E-48F2-AE31-292048467BB9}" type="presParOf" srcId="{9A4DDA5E-57C9-473C-9C7D-42ACA2B29952}" destId="{0052E742-2D6D-4E33-999B-6B4C42A1131F}" srcOrd="0" destOrd="0" presId="urn:microsoft.com/office/officeart/2011/layout/CircleProcess"/>
    <dgm:cxn modelId="{857415EF-8C93-4940-BF51-8DF52FA2F7D6}" type="presParOf" srcId="{312F26FE-872F-447A-8892-AAFCF5774D8A}" destId="{580CF929-A532-4D38-8F25-A797B049E8B0}" srcOrd="6" destOrd="0" presId="urn:microsoft.com/office/officeart/2011/layout/CircleProcess"/>
    <dgm:cxn modelId="{0A036E82-1F60-44BB-90CF-07B671790D9A}" type="presParOf" srcId="{312F26FE-872F-447A-8892-AAFCF5774D8A}" destId="{46901717-8D17-4A80-AE20-DC95C112D136}" srcOrd="7" destOrd="0" presId="urn:microsoft.com/office/officeart/2011/layout/CircleProcess"/>
    <dgm:cxn modelId="{7AF28CAF-6BDB-4D54-9752-EF0C31EA9E02}" type="presParOf" srcId="{312F26FE-872F-447A-8892-AAFCF5774D8A}" destId="{11C84603-3C1A-486D-9DCD-1F161BEC28A4}" srcOrd="8" destOrd="0" presId="urn:microsoft.com/office/officeart/2011/layout/CircleProcess"/>
    <dgm:cxn modelId="{9ACF16AB-9E86-4745-B9A9-3ED209157447}" type="presParOf" srcId="{11C84603-3C1A-486D-9DCD-1F161BEC28A4}" destId="{3C104F5E-0FC7-4634-9581-D8C5DA8439EF}" srcOrd="0" destOrd="0" presId="urn:microsoft.com/office/officeart/2011/layout/CircleProcess"/>
    <dgm:cxn modelId="{79D61150-92C8-48AB-9392-1961823D68A8}" type="presParOf" srcId="{312F26FE-872F-447A-8892-AAFCF5774D8A}" destId="{E7B1517A-C474-4F7C-A964-692A87019822}" srcOrd="9" destOrd="0" presId="urn:microsoft.com/office/officeart/2011/layout/CircleProcess"/>
    <dgm:cxn modelId="{9C7BCB39-90BD-4EB4-A69C-7B33DAB9D14F}" type="presParOf" srcId="{E7B1517A-C474-4F7C-A964-692A87019822}" destId="{59C52FC5-8C60-4EAC-BEAC-6AF52A9C5344}" srcOrd="0" destOrd="0" presId="urn:microsoft.com/office/officeart/2011/layout/CircleProcess"/>
    <dgm:cxn modelId="{37EC20FE-5E77-4454-9011-64C0DF46BA19}" type="presParOf" srcId="{312F26FE-872F-447A-8892-AAFCF5774D8A}" destId="{CD710519-4185-4A20-9FEE-DBBEF9333EE1}" srcOrd="10" destOrd="0" presId="urn:microsoft.com/office/officeart/2011/layout/CircleProcess"/>
    <dgm:cxn modelId="{57DA3117-EA90-4930-90D2-64AF8E3BF661}" type="presParOf" srcId="{312F26FE-872F-447A-8892-AAFCF5774D8A}" destId="{848141F3-91C6-4483-AECC-43FD6B7BE700}" srcOrd="11" destOrd="0" presId="urn:microsoft.com/office/officeart/2011/layout/CircleProcess"/>
    <dgm:cxn modelId="{04F2F78D-A9BC-48DB-897F-9BC5B286EF22}" type="presParOf" srcId="{312F26FE-872F-447A-8892-AAFCF5774D8A}" destId="{94134BFC-986B-45E4-8737-956ACEA81CCD}" srcOrd="12" destOrd="0" presId="urn:microsoft.com/office/officeart/2011/layout/CircleProcess"/>
    <dgm:cxn modelId="{027E0ADD-DD94-435D-AFCD-9BEE255B4386}" type="presParOf" srcId="{94134BFC-986B-45E4-8737-956ACEA81CCD}" destId="{48A5E3F0-B5E6-42EA-84B1-A42BA8DA02E8}" srcOrd="0" destOrd="0" presId="urn:microsoft.com/office/officeart/2011/layout/CircleProcess"/>
    <dgm:cxn modelId="{5DF1ED16-4BFC-44E4-82D2-784507D6141E}" type="presParOf" srcId="{312F26FE-872F-447A-8892-AAFCF5774D8A}" destId="{63466913-FBE5-4B8A-B01A-54B4756F801A}" srcOrd="13" destOrd="0" presId="urn:microsoft.com/office/officeart/2011/layout/CircleProcess"/>
    <dgm:cxn modelId="{56FA6953-9386-4518-9591-E1D0EB82B543}" type="presParOf" srcId="{63466913-FBE5-4B8A-B01A-54B4756F801A}" destId="{621D4E98-A269-42F3-9444-45CD89C96B39}" srcOrd="0" destOrd="0" presId="urn:microsoft.com/office/officeart/2011/layout/CircleProcess"/>
    <dgm:cxn modelId="{5323E285-95D0-4398-8390-24A8C30A5BFA}" type="presParOf" srcId="{312F26FE-872F-447A-8892-AAFCF5774D8A}" destId="{2071F778-3F05-40D5-9D26-9F3CA099E34F}" srcOrd="14" destOrd="0" presId="urn:microsoft.com/office/officeart/2011/layout/CircleProcess"/>
    <dgm:cxn modelId="{8A104D1A-04AA-42B4-A26D-B7CE16F03354}" type="presParOf" srcId="{312F26FE-872F-447A-8892-AAFCF5774D8A}" destId="{19409AAD-604F-4807-9B58-BA050FCB5BBE}" srcOrd="15" destOrd="0" presId="urn:microsoft.com/office/officeart/2011/layout/CircleProcess"/>
    <dgm:cxn modelId="{8D2CC146-F0DF-4CFB-AF5A-6C9A9C51E9E1}" type="presParOf" srcId="{312F26FE-872F-447A-8892-AAFCF5774D8A}" destId="{8D8B8E53-CF52-4B7A-8997-3F3CB2A6FB6B}" srcOrd="16" destOrd="0" presId="urn:microsoft.com/office/officeart/2011/layout/CircleProcess"/>
    <dgm:cxn modelId="{33F9CBF5-FAED-4310-A043-CDEB715C70D4}" type="presParOf" srcId="{8D8B8E53-CF52-4B7A-8997-3F3CB2A6FB6B}" destId="{8683F79E-A467-44C5-83C5-C2EBC55C9978}" srcOrd="0" destOrd="0" presId="urn:microsoft.com/office/officeart/2011/layout/CircleProcess"/>
    <dgm:cxn modelId="{E5BCDCDE-3CFC-437D-AC8F-7915C1874598}" type="presParOf" srcId="{312F26FE-872F-447A-8892-AAFCF5774D8A}" destId="{EB4B18AB-6AF1-4825-A2C8-ED3EDC3BF639}" srcOrd="17" destOrd="0" presId="urn:microsoft.com/office/officeart/2011/layout/CircleProcess"/>
    <dgm:cxn modelId="{6D938625-EDDA-40EF-A774-720295723913}" type="presParOf" srcId="{EB4B18AB-6AF1-4825-A2C8-ED3EDC3BF639}" destId="{76BC91F9-9CA8-43FE-8F85-71937D2386ED}" srcOrd="0" destOrd="0" presId="urn:microsoft.com/office/officeart/2011/layout/CircleProcess"/>
    <dgm:cxn modelId="{351EDACD-6DFE-489A-8AB6-FD8709004718}" type="presParOf" srcId="{312F26FE-872F-447A-8892-AAFCF5774D8A}" destId="{F8991008-B7CF-4377-93A8-111DE5BAF702}" srcOrd="18" destOrd="0" presId="urn:microsoft.com/office/officeart/2011/layout/CircleProcess"/>
    <dgm:cxn modelId="{A2102691-7B51-4F18-892E-39124AD28305}" type="presParOf" srcId="{312F26FE-872F-447A-8892-AAFCF5774D8A}" destId="{A09124A4-B583-40D7-9371-6F7FF9C7A7AF}" srcOrd="19" destOrd="0" presId="urn:microsoft.com/office/officeart/2011/layout/CircleProcess"/>
    <dgm:cxn modelId="{EA4EB54D-83D0-4CDF-B90E-9CD24239202A}" type="presParOf" srcId="{312F26FE-872F-447A-8892-AAFCF5774D8A}" destId="{A13FA7A0-D084-4599-BBA2-9F6F43074841}" srcOrd="20" destOrd="0" presId="urn:microsoft.com/office/officeart/2011/layout/CircleProcess"/>
    <dgm:cxn modelId="{19BEAE4D-5031-4670-AC00-5D015042A6A0}" type="presParOf" srcId="{A13FA7A0-D084-4599-BBA2-9F6F43074841}" destId="{99C1EF6D-0416-4E4C-85C3-C6A0B3ED32C8}" srcOrd="0" destOrd="0" presId="urn:microsoft.com/office/officeart/2011/layout/CircleProcess"/>
    <dgm:cxn modelId="{EC957A2E-71E7-4B8D-B048-8BBC77B9737E}" type="presParOf" srcId="{312F26FE-872F-447A-8892-AAFCF5774D8A}" destId="{0FA77318-07D2-45D3-8024-E5CD7512EE42}" srcOrd="21" destOrd="0" presId="urn:microsoft.com/office/officeart/2011/layout/CircleProcess"/>
    <dgm:cxn modelId="{5488201B-8A6E-421C-AB23-84E7132CC724}" type="presParOf" srcId="{0FA77318-07D2-45D3-8024-E5CD7512EE42}" destId="{DB22262B-E9B3-4353-8E90-7CCD3613AA31}" srcOrd="0" destOrd="0" presId="urn:microsoft.com/office/officeart/2011/layout/CircleProcess"/>
    <dgm:cxn modelId="{98AA516A-F86E-476B-88E5-D01274F004E2}" type="presParOf" srcId="{312F26FE-872F-447A-8892-AAFCF5774D8A}" destId="{933B7664-35B5-41EE-8410-6A58916DA0DE}" srcOrd="22" destOrd="0" presId="urn:microsoft.com/office/officeart/2011/layout/CircleProcess"/>
    <dgm:cxn modelId="{3A4E71FB-6E39-4C2A-B247-4F6BF070A29D}" type="presParOf" srcId="{312F26FE-872F-447A-8892-AAFCF5774D8A}" destId="{A7BF751D-54C3-4BB7-9CC1-5B93F5EDD373}" srcOrd="23" destOrd="0" presId="urn:microsoft.com/office/officeart/2011/layout/CircleProcess"/>
    <dgm:cxn modelId="{754D722A-4877-4D58-9BBF-E5F53ED384C5}" type="presParOf" srcId="{312F26FE-872F-447A-8892-AAFCF5774D8A}" destId="{8DA859A2-59DF-4E90-8207-A6CE16B78E69}" srcOrd="24" destOrd="0" presId="urn:microsoft.com/office/officeart/2011/layout/CircleProcess"/>
    <dgm:cxn modelId="{0749AD79-1FE7-4213-8D3D-AEF33BBA7194}" type="presParOf" srcId="{8DA859A2-59DF-4E90-8207-A6CE16B78E69}" destId="{47EA062C-E032-4DF7-B399-828D8B0AF511}" srcOrd="0" destOrd="0" presId="urn:microsoft.com/office/officeart/2011/layout/CircleProcess"/>
    <dgm:cxn modelId="{4E684231-994E-4C05-B08D-CBDDC87691FD}" type="presParOf" srcId="{312F26FE-872F-447A-8892-AAFCF5774D8A}" destId="{AA384634-0614-4CF8-94AA-9B82F260497A}" srcOrd="25" destOrd="0" presId="urn:microsoft.com/office/officeart/2011/layout/CircleProcess"/>
    <dgm:cxn modelId="{5B150748-06D5-44FE-BE94-1CB00DF2BBDA}" type="presParOf" srcId="{AA384634-0614-4CF8-94AA-9B82F260497A}" destId="{51882E44-53AA-4F39-B7EE-1E3A4FE2D090}" srcOrd="0" destOrd="0" presId="urn:microsoft.com/office/officeart/2011/layout/CircleProcess"/>
    <dgm:cxn modelId="{3A13DBFF-59C5-4953-8258-ACA2862A485F}" type="presParOf" srcId="{312F26FE-872F-447A-8892-AAFCF5774D8A}" destId="{0C0A85EA-B761-4338-BE2A-0456AD2C9100}" srcOrd="26" destOrd="0" presId="urn:microsoft.com/office/officeart/2011/layout/CircleProcess"/>
    <dgm:cxn modelId="{414DCF95-AD25-4EF9-8A51-9B9D41945344}" type="presParOf" srcId="{312F26FE-872F-447A-8892-AAFCF5774D8A}" destId="{A78589F4-848F-403F-8ADF-ACE2BA5DD72E}" srcOrd="27"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73C4C1-CBA4-44B5-93BA-6DA0484BB24C}">
      <dsp:nvSpPr>
        <dsp:cNvPr id="0" name=""/>
        <dsp:cNvSpPr/>
      </dsp:nvSpPr>
      <dsp:spPr>
        <a:xfrm>
          <a:off x="7272715" y="1007638"/>
          <a:ext cx="1120901" cy="1120558"/>
        </a:xfrm>
        <a:prstGeom prst="ellips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EF2844-BBFB-4010-9BF3-2625F05E5656}">
      <dsp:nvSpPr>
        <dsp:cNvPr id="0" name=""/>
        <dsp:cNvSpPr/>
      </dsp:nvSpPr>
      <dsp:spPr>
        <a:xfrm>
          <a:off x="7310796" y="1044997"/>
          <a:ext cx="1045567" cy="1045841"/>
        </a:xfrm>
        <a:prstGeom prst="ellipse">
          <a:avLst/>
        </a:prstGeom>
        <a:solidFill>
          <a:schemeClr val="lt1">
            <a:alpha val="90000"/>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January</a:t>
          </a:r>
        </a:p>
      </dsp:txBody>
      <dsp:txXfrm>
        <a:off x="7459808" y="1194431"/>
        <a:ext cx="746715" cy="746973"/>
      </dsp:txXfrm>
    </dsp:sp>
    <dsp:sp modelId="{578AF046-ABB0-4E84-A6C8-2F5DBF4278FD}">
      <dsp:nvSpPr>
        <dsp:cNvPr id="0" name=""/>
        <dsp:cNvSpPr/>
      </dsp:nvSpPr>
      <dsp:spPr>
        <a:xfrm>
          <a:off x="7310796" y="2148842"/>
          <a:ext cx="1045567" cy="614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266700">
            <a:lnSpc>
              <a:spcPct val="90000"/>
            </a:lnSpc>
            <a:spcBef>
              <a:spcPct val="0"/>
            </a:spcBef>
            <a:spcAft>
              <a:spcPct val="15000"/>
            </a:spcAft>
            <a:buChar char="•"/>
          </a:pPr>
          <a:r>
            <a:rPr lang="en-GB" sz="600" kern="1200" noProof="0" dirty="0"/>
            <a:t>Documentation of Results</a:t>
          </a:r>
        </a:p>
        <a:p>
          <a:pPr marL="57150" lvl="1" indent="-57150" algn="l" defTabSz="266700">
            <a:lnSpc>
              <a:spcPct val="90000"/>
            </a:lnSpc>
            <a:spcBef>
              <a:spcPct val="0"/>
            </a:spcBef>
            <a:spcAft>
              <a:spcPct val="15000"/>
            </a:spcAft>
            <a:buChar char="•"/>
          </a:pPr>
          <a:r>
            <a:rPr lang="en-GB" sz="600" kern="1200" noProof="0" dirty="0"/>
            <a:t>Written work of Thesis</a:t>
          </a:r>
        </a:p>
      </dsp:txBody>
      <dsp:txXfrm>
        <a:off x="7310796" y="2148842"/>
        <a:ext cx="1045567" cy="614252"/>
      </dsp:txXfrm>
    </dsp:sp>
    <dsp:sp modelId="{7FD72BB8-5790-4691-AEA6-AA2C92439FD7}">
      <dsp:nvSpPr>
        <dsp:cNvPr id="0" name=""/>
        <dsp:cNvSpPr/>
      </dsp:nvSpPr>
      <dsp:spPr>
        <a:xfrm rot="2700000">
          <a:off x="6115119" y="1007512"/>
          <a:ext cx="1120613" cy="1120613"/>
        </a:xfrm>
        <a:prstGeom prst="teardrop">
          <a:avLst>
            <a:gd name="adj" fmla="val 100000"/>
          </a:avLst>
        </a:prstGeom>
        <a:solidFill>
          <a:schemeClr val="accent1">
            <a:shade val="80000"/>
            <a:hueOff val="0"/>
            <a:satOff val="-8097"/>
            <a:lumOff val="60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52E742-2D6D-4E33-999B-6B4C42A1131F}">
      <dsp:nvSpPr>
        <dsp:cNvPr id="0" name=""/>
        <dsp:cNvSpPr/>
      </dsp:nvSpPr>
      <dsp:spPr>
        <a:xfrm>
          <a:off x="6152642" y="1044997"/>
          <a:ext cx="1045567" cy="1045841"/>
        </a:xfrm>
        <a:prstGeom prst="ellipse">
          <a:avLst/>
        </a:prstGeom>
        <a:solidFill>
          <a:schemeClr val="lt1">
            <a:alpha val="90000"/>
            <a:hueOff val="0"/>
            <a:satOff val="0"/>
            <a:lumOff val="0"/>
            <a:alphaOff val="0"/>
          </a:schemeClr>
        </a:solidFill>
        <a:ln w="12700" cap="flat" cmpd="sng" algn="ctr">
          <a:solidFill>
            <a:schemeClr val="accent1">
              <a:shade val="80000"/>
              <a:hueOff val="0"/>
              <a:satOff val="-8097"/>
              <a:lumOff val="60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December</a:t>
          </a:r>
        </a:p>
      </dsp:txBody>
      <dsp:txXfrm>
        <a:off x="6301654" y="1194431"/>
        <a:ext cx="746715" cy="746973"/>
      </dsp:txXfrm>
    </dsp:sp>
    <dsp:sp modelId="{580CF929-A532-4D38-8F25-A797B049E8B0}">
      <dsp:nvSpPr>
        <dsp:cNvPr id="0" name=""/>
        <dsp:cNvSpPr/>
      </dsp:nvSpPr>
      <dsp:spPr>
        <a:xfrm>
          <a:off x="6152642" y="2148842"/>
          <a:ext cx="1045567" cy="614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266700">
            <a:lnSpc>
              <a:spcPct val="90000"/>
            </a:lnSpc>
            <a:spcBef>
              <a:spcPct val="0"/>
            </a:spcBef>
            <a:spcAft>
              <a:spcPct val="15000"/>
            </a:spcAft>
            <a:buChar char="•"/>
          </a:pPr>
          <a:r>
            <a:rPr lang="en-GB" sz="600" kern="1200" noProof="0" dirty="0"/>
            <a:t>Access to the latest PCA data</a:t>
          </a:r>
        </a:p>
        <a:p>
          <a:pPr marL="57150" lvl="1" indent="-57150" algn="l" defTabSz="266700">
            <a:lnSpc>
              <a:spcPct val="90000"/>
            </a:lnSpc>
            <a:spcBef>
              <a:spcPct val="0"/>
            </a:spcBef>
            <a:spcAft>
              <a:spcPct val="15000"/>
            </a:spcAft>
            <a:buChar char="•"/>
          </a:pPr>
          <a:r>
            <a:rPr lang="en-GB" sz="600" kern="1200" noProof="0" dirty="0"/>
            <a:t>Adaptation of Clustering algorithm to the new data</a:t>
          </a:r>
        </a:p>
        <a:p>
          <a:pPr marL="57150" lvl="1" indent="-57150" algn="l" defTabSz="266700">
            <a:lnSpc>
              <a:spcPct val="90000"/>
            </a:lnSpc>
            <a:spcBef>
              <a:spcPct val="0"/>
            </a:spcBef>
            <a:spcAft>
              <a:spcPct val="15000"/>
            </a:spcAft>
            <a:buChar char="•"/>
          </a:pPr>
          <a:r>
            <a:rPr lang="en-GB" sz="600" kern="1200" noProof="0" dirty="0"/>
            <a:t>Adaptation of Random forest to the new data</a:t>
          </a:r>
        </a:p>
        <a:p>
          <a:pPr marL="57150" lvl="1" indent="-57150" algn="l" defTabSz="266700">
            <a:lnSpc>
              <a:spcPct val="90000"/>
            </a:lnSpc>
            <a:spcBef>
              <a:spcPct val="0"/>
            </a:spcBef>
            <a:spcAft>
              <a:spcPct val="15000"/>
            </a:spcAft>
            <a:buChar char="•"/>
          </a:pPr>
          <a:r>
            <a:rPr lang="en-GB" sz="600" kern="1200" noProof="0" dirty="0"/>
            <a:t>Optimization of the Random forest algorithm</a:t>
          </a:r>
        </a:p>
      </dsp:txBody>
      <dsp:txXfrm>
        <a:off x="6152642" y="2148842"/>
        <a:ext cx="1045567" cy="614252"/>
      </dsp:txXfrm>
    </dsp:sp>
    <dsp:sp modelId="{3C104F5E-0FC7-4634-9581-D8C5DA8439EF}">
      <dsp:nvSpPr>
        <dsp:cNvPr id="0" name=""/>
        <dsp:cNvSpPr/>
      </dsp:nvSpPr>
      <dsp:spPr>
        <a:xfrm rot="2700000">
          <a:off x="4957792" y="1007512"/>
          <a:ext cx="1120613" cy="1120613"/>
        </a:xfrm>
        <a:prstGeom prst="teardrop">
          <a:avLst>
            <a:gd name="adj" fmla="val 100000"/>
          </a:avLst>
        </a:prstGeom>
        <a:solidFill>
          <a:schemeClr val="accent1">
            <a:shade val="80000"/>
            <a:hueOff val="0"/>
            <a:satOff val="-16195"/>
            <a:lumOff val="121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C52FC5-8C60-4EAC-BEAC-6AF52A9C5344}">
      <dsp:nvSpPr>
        <dsp:cNvPr id="0" name=""/>
        <dsp:cNvSpPr/>
      </dsp:nvSpPr>
      <dsp:spPr>
        <a:xfrm>
          <a:off x="4994487" y="1044997"/>
          <a:ext cx="1045567" cy="1045841"/>
        </a:xfrm>
        <a:prstGeom prst="ellipse">
          <a:avLst/>
        </a:prstGeom>
        <a:solidFill>
          <a:schemeClr val="lt1">
            <a:alpha val="90000"/>
            <a:hueOff val="0"/>
            <a:satOff val="0"/>
            <a:lumOff val="0"/>
            <a:alphaOff val="0"/>
          </a:schemeClr>
        </a:solidFill>
        <a:ln w="12700" cap="flat" cmpd="sng" algn="ctr">
          <a:solidFill>
            <a:schemeClr val="accent1">
              <a:shade val="80000"/>
              <a:hueOff val="0"/>
              <a:satOff val="-16195"/>
              <a:lumOff val="121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November</a:t>
          </a:r>
        </a:p>
      </dsp:txBody>
      <dsp:txXfrm>
        <a:off x="5144327" y="1194431"/>
        <a:ext cx="746715" cy="746973"/>
      </dsp:txXfrm>
    </dsp:sp>
    <dsp:sp modelId="{CD710519-4185-4A20-9FEE-DBBEF9333EE1}">
      <dsp:nvSpPr>
        <dsp:cNvPr id="0" name=""/>
        <dsp:cNvSpPr/>
      </dsp:nvSpPr>
      <dsp:spPr>
        <a:xfrm>
          <a:off x="4994487" y="2148842"/>
          <a:ext cx="1045567" cy="614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266700">
            <a:lnSpc>
              <a:spcPct val="90000"/>
            </a:lnSpc>
            <a:spcBef>
              <a:spcPct val="0"/>
            </a:spcBef>
            <a:spcAft>
              <a:spcPct val="15000"/>
            </a:spcAft>
            <a:buChar char="•"/>
          </a:pPr>
          <a:r>
            <a:rPr lang="en-GB" sz="600" kern="1200" noProof="0" dirty="0"/>
            <a:t>Development of Random forest algorithm</a:t>
          </a:r>
        </a:p>
        <a:p>
          <a:pPr marL="57150" lvl="1" indent="-57150" algn="l" defTabSz="266700">
            <a:lnSpc>
              <a:spcPct val="90000"/>
            </a:lnSpc>
            <a:spcBef>
              <a:spcPct val="0"/>
            </a:spcBef>
            <a:spcAft>
              <a:spcPct val="15000"/>
            </a:spcAft>
            <a:buChar char="•"/>
          </a:pPr>
          <a:r>
            <a:rPr lang="en-GB" sz="600" kern="1200" noProof="0" dirty="0"/>
            <a:t>Important feature analysis</a:t>
          </a:r>
        </a:p>
        <a:p>
          <a:pPr marL="57150" lvl="1" indent="-57150" algn="l" defTabSz="266700">
            <a:lnSpc>
              <a:spcPct val="90000"/>
            </a:lnSpc>
            <a:spcBef>
              <a:spcPct val="0"/>
            </a:spcBef>
            <a:spcAft>
              <a:spcPct val="15000"/>
            </a:spcAft>
            <a:buChar char="•"/>
          </a:pPr>
          <a:r>
            <a:rPr lang="en-GB" sz="600" kern="1200" noProof="0" dirty="0"/>
            <a:t>Written work of Thesis</a:t>
          </a:r>
        </a:p>
      </dsp:txBody>
      <dsp:txXfrm>
        <a:off x="4994487" y="2148842"/>
        <a:ext cx="1045567" cy="614252"/>
      </dsp:txXfrm>
    </dsp:sp>
    <dsp:sp modelId="{48A5E3F0-B5E6-42EA-84B1-A42BA8DA02E8}">
      <dsp:nvSpPr>
        <dsp:cNvPr id="0" name=""/>
        <dsp:cNvSpPr/>
      </dsp:nvSpPr>
      <dsp:spPr>
        <a:xfrm rot="2700000">
          <a:off x="3799638" y="1007512"/>
          <a:ext cx="1120613" cy="1120613"/>
        </a:xfrm>
        <a:prstGeom prst="teardrop">
          <a:avLst>
            <a:gd name="adj" fmla="val 100000"/>
          </a:avLst>
        </a:prstGeom>
        <a:solidFill>
          <a:schemeClr val="accent1">
            <a:shade val="80000"/>
            <a:hueOff val="0"/>
            <a:satOff val="-24292"/>
            <a:lumOff val="181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1D4E98-A269-42F3-9444-45CD89C96B39}">
      <dsp:nvSpPr>
        <dsp:cNvPr id="0" name=""/>
        <dsp:cNvSpPr/>
      </dsp:nvSpPr>
      <dsp:spPr>
        <a:xfrm>
          <a:off x="3837161" y="1044997"/>
          <a:ext cx="1045567" cy="1045841"/>
        </a:xfrm>
        <a:prstGeom prst="ellipse">
          <a:avLst/>
        </a:prstGeom>
        <a:solidFill>
          <a:schemeClr val="lt1">
            <a:alpha val="90000"/>
            <a:hueOff val="0"/>
            <a:satOff val="0"/>
            <a:lumOff val="0"/>
            <a:alphaOff val="0"/>
          </a:schemeClr>
        </a:solidFill>
        <a:ln w="12700" cap="flat" cmpd="sng" algn="ctr">
          <a:solidFill>
            <a:schemeClr val="accent1">
              <a:shade val="80000"/>
              <a:hueOff val="0"/>
              <a:satOff val="-24292"/>
              <a:lumOff val="1815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October</a:t>
          </a:r>
        </a:p>
      </dsp:txBody>
      <dsp:txXfrm>
        <a:off x="3986173" y="1194431"/>
        <a:ext cx="746715" cy="746973"/>
      </dsp:txXfrm>
    </dsp:sp>
    <dsp:sp modelId="{2071F778-3F05-40D5-9D26-9F3CA099E34F}">
      <dsp:nvSpPr>
        <dsp:cNvPr id="0" name=""/>
        <dsp:cNvSpPr/>
      </dsp:nvSpPr>
      <dsp:spPr>
        <a:xfrm>
          <a:off x="3837161" y="2148842"/>
          <a:ext cx="1045567" cy="614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266700">
            <a:lnSpc>
              <a:spcPct val="90000"/>
            </a:lnSpc>
            <a:spcBef>
              <a:spcPct val="0"/>
            </a:spcBef>
            <a:spcAft>
              <a:spcPct val="15000"/>
            </a:spcAft>
            <a:buChar char="•"/>
          </a:pPr>
          <a:r>
            <a:rPr lang="en-GB" sz="600" kern="1200" noProof="0" dirty="0"/>
            <a:t>Testing and Tuning of Clustering algorithms</a:t>
          </a:r>
        </a:p>
        <a:p>
          <a:pPr marL="57150" lvl="1" indent="-57150" algn="l" defTabSz="266700">
            <a:lnSpc>
              <a:spcPct val="90000"/>
            </a:lnSpc>
            <a:spcBef>
              <a:spcPct val="0"/>
            </a:spcBef>
            <a:spcAft>
              <a:spcPct val="15000"/>
            </a:spcAft>
            <a:buChar char="•"/>
          </a:pPr>
          <a:r>
            <a:rPr lang="en-GB" sz="600" kern="1200" noProof="0" dirty="0"/>
            <a:t>Comparison of algorithm outputs</a:t>
          </a:r>
        </a:p>
        <a:p>
          <a:pPr marL="57150" lvl="1" indent="-57150" algn="l" defTabSz="266700">
            <a:lnSpc>
              <a:spcPct val="90000"/>
            </a:lnSpc>
            <a:spcBef>
              <a:spcPct val="0"/>
            </a:spcBef>
            <a:spcAft>
              <a:spcPct val="15000"/>
            </a:spcAft>
            <a:buChar char="•"/>
          </a:pPr>
          <a:r>
            <a:rPr lang="en-GB" sz="600" kern="1200" noProof="0" dirty="0">
              <a:solidFill>
                <a:schemeClr val="accent3">
                  <a:lumMod val="50000"/>
                </a:schemeClr>
              </a:solidFill>
            </a:rPr>
            <a:t>Measurements of CT images of different Battery cell</a:t>
          </a:r>
        </a:p>
      </dsp:txBody>
      <dsp:txXfrm>
        <a:off x="3837161" y="2148842"/>
        <a:ext cx="1045567" cy="614252"/>
      </dsp:txXfrm>
    </dsp:sp>
    <dsp:sp modelId="{8683F79E-A467-44C5-83C5-C2EBC55C9978}">
      <dsp:nvSpPr>
        <dsp:cNvPr id="0" name=""/>
        <dsp:cNvSpPr/>
      </dsp:nvSpPr>
      <dsp:spPr>
        <a:xfrm rot="2700000">
          <a:off x="2641484" y="1007512"/>
          <a:ext cx="1120613" cy="1120613"/>
        </a:xfrm>
        <a:prstGeom prst="teardrop">
          <a:avLst>
            <a:gd name="adj" fmla="val 100000"/>
          </a:avLst>
        </a:prstGeom>
        <a:solidFill>
          <a:schemeClr val="accent1">
            <a:shade val="80000"/>
            <a:hueOff val="0"/>
            <a:satOff val="-32389"/>
            <a:lumOff val="242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BC91F9-9CA8-43FE-8F85-71937D2386ED}">
      <dsp:nvSpPr>
        <dsp:cNvPr id="0" name=""/>
        <dsp:cNvSpPr/>
      </dsp:nvSpPr>
      <dsp:spPr>
        <a:xfrm>
          <a:off x="2679006" y="1044997"/>
          <a:ext cx="1045567" cy="1045841"/>
        </a:xfrm>
        <a:prstGeom prst="ellipse">
          <a:avLst/>
        </a:prstGeom>
        <a:solidFill>
          <a:schemeClr val="lt1">
            <a:alpha val="90000"/>
            <a:hueOff val="0"/>
            <a:satOff val="0"/>
            <a:lumOff val="0"/>
            <a:alphaOff val="0"/>
          </a:schemeClr>
        </a:solidFill>
        <a:ln w="12700" cap="flat" cmpd="sng" algn="ctr">
          <a:solidFill>
            <a:schemeClr val="accent1">
              <a:shade val="80000"/>
              <a:hueOff val="0"/>
              <a:satOff val="-32389"/>
              <a:lumOff val="242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September</a:t>
          </a:r>
        </a:p>
      </dsp:txBody>
      <dsp:txXfrm>
        <a:off x="2828018" y="1194431"/>
        <a:ext cx="746715" cy="746973"/>
      </dsp:txXfrm>
    </dsp:sp>
    <dsp:sp modelId="{F8991008-B7CF-4377-93A8-111DE5BAF702}">
      <dsp:nvSpPr>
        <dsp:cNvPr id="0" name=""/>
        <dsp:cNvSpPr/>
      </dsp:nvSpPr>
      <dsp:spPr>
        <a:xfrm>
          <a:off x="2679006" y="2148842"/>
          <a:ext cx="1045567" cy="614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266700">
            <a:lnSpc>
              <a:spcPct val="90000"/>
            </a:lnSpc>
            <a:spcBef>
              <a:spcPct val="0"/>
            </a:spcBef>
            <a:spcAft>
              <a:spcPct val="15000"/>
            </a:spcAft>
            <a:buChar char="•"/>
          </a:pPr>
          <a:r>
            <a:rPr lang="en-GB" sz="600" kern="1200" noProof="0" dirty="0"/>
            <a:t>Exploratory analysis of the data</a:t>
          </a:r>
        </a:p>
        <a:p>
          <a:pPr marL="57150" lvl="1" indent="-57150" algn="l" defTabSz="266700">
            <a:lnSpc>
              <a:spcPct val="90000"/>
            </a:lnSpc>
            <a:spcBef>
              <a:spcPct val="0"/>
            </a:spcBef>
            <a:spcAft>
              <a:spcPct val="15000"/>
            </a:spcAft>
            <a:buChar char="•"/>
          </a:pPr>
          <a:r>
            <a:rPr lang="en-GB" sz="600" kern="1200" noProof="0" dirty="0"/>
            <a:t>Identification of the Problem Statement</a:t>
          </a:r>
        </a:p>
        <a:p>
          <a:pPr marL="57150" lvl="1" indent="-57150" algn="l" defTabSz="266700">
            <a:lnSpc>
              <a:spcPct val="90000"/>
            </a:lnSpc>
            <a:spcBef>
              <a:spcPct val="0"/>
            </a:spcBef>
            <a:spcAft>
              <a:spcPct val="15000"/>
            </a:spcAft>
            <a:buChar char="•"/>
          </a:pPr>
          <a:r>
            <a:rPr lang="en-GB" sz="600" kern="1200" noProof="0" dirty="0"/>
            <a:t>Development of Clustering Algorithms</a:t>
          </a:r>
        </a:p>
      </dsp:txBody>
      <dsp:txXfrm>
        <a:off x="2679006" y="2148842"/>
        <a:ext cx="1045567" cy="614252"/>
      </dsp:txXfrm>
    </dsp:sp>
    <dsp:sp modelId="{99C1EF6D-0416-4E4C-85C3-C6A0B3ED32C8}">
      <dsp:nvSpPr>
        <dsp:cNvPr id="0" name=""/>
        <dsp:cNvSpPr/>
      </dsp:nvSpPr>
      <dsp:spPr>
        <a:xfrm rot="2700000">
          <a:off x="1484157" y="1007512"/>
          <a:ext cx="1120613" cy="1120613"/>
        </a:xfrm>
        <a:prstGeom prst="teardrop">
          <a:avLst>
            <a:gd name="adj" fmla="val 100000"/>
          </a:avLst>
        </a:prstGeom>
        <a:solidFill>
          <a:schemeClr val="accent1">
            <a:shade val="80000"/>
            <a:hueOff val="0"/>
            <a:satOff val="-40487"/>
            <a:lumOff val="302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22262B-E9B3-4353-8E90-7CCD3613AA31}">
      <dsp:nvSpPr>
        <dsp:cNvPr id="0" name=""/>
        <dsp:cNvSpPr/>
      </dsp:nvSpPr>
      <dsp:spPr>
        <a:xfrm>
          <a:off x="1520852" y="1044997"/>
          <a:ext cx="1045567" cy="1045841"/>
        </a:xfrm>
        <a:prstGeom prst="ellipse">
          <a:avLst/>
        </a:prstGeom>
        <a:solidFill>
          <a:schemeClr val="lt1">
            <a:alpha val="90000"/>
            <a:hueOff val="0"/>
            <a:satOff val="0"/>
            <a:lumOff val="0"/>
            <a:alphaOff val="0"/>
          </a:schemeClr>
        </a:solidFill>
        <a:ln w="12700" cap="flat" cmpd="sng" algn="ctr">
          <a:solidFill>
            <a:schemeClr val="accent1">
              <a:shade val="80000"/>
              <a:hueOff val="0"/>
              <a:satOff val="-40487"/>
              <a:lumOff val="3025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August</a:t>
          </a:r>
        </a:p>
      </dsp:txBody>
      <dsp:txXfrm>
        <a:off x="1670692" y="1194431"/>
        <a:ext cx="746715" cy="746973"/>
      </dsp:txXfrm>
    </dsp:sp>
    <dsp:sp modelId="{933B7664-35B5-41EE-8410-6A58916DA0DE}">
      <dsp:nvSpPr>
        <dsp:cNvPr id="0" name=""/>
        <dsp:cNvSpPr/>
      </dsp:nvSpPr>
      <dsp:spPr>
        <a:xfrm>
          <a:off x="1520852" y="2148842"/>
          <a:ext cx="1045567" cy="614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266700">
            <a:lnSpc>
              <a:spcPct val="90000"/>
            </a:lnSpc>
            <a:spcBef>
              <a:spcPct val="0"/>
            </a:spcBef>
            <a:spcAft>
              <a:spcPct val="15000"/>
            </a:spcAft>
            <a:buChar char="•"/>
          </a:pPr>
          <a:r>
            <a:rPr lang="en-GB" sz="600" kern="1200" noProof="0" dirty="0"/>
            <a:t>In-depth Study of the Charging Infrastructure</a:t>
          </a:r>
        </a:p>
        <a:p>
          <a:pPr marL="57150" lvl="1" indent="-57150" algn="l" defTabSz="266700">
            <a:lnSpc>
              <a:spcPct val="90000"/>
            </a:lnSpc>
            <a:spcBef>
              <a:spcPct val="0"/>
            </a:spcBef>
            <a:spcAft>
              <a:spcPct val="15000"/>
            </a:spcAft>
            <a:buChar char="•"/>
          </a:pPr>
          <a:r>
            <a:rPr lang="en-GB" sz="600" kern="1200" noProof="0" dirty="0"/>
            <a:t>Understanding Capstone data</a:t>
          </a:r>
        </a:p>
        <a:p>
          <a:pPr marL="57150" lvl="1" indent="-57150" algn="l" defTabSz="266700">
            <a:lnSpc>
              <a:spcPct val="90000"/>
            </a:lnSpc>
            <a:spcBef>
              <a:spcPct val="0"/>
            </a:spcBef>
            <a:spcAft>
              <a:spcPct val="15000"/>
            </a:spcAft>
            <a:buChar char="•"/>
          </a:pPr>
          <a:r>
            <a:rPr lang="en-GB" sz="600" kern="1200" noProof="0" dirty="0"/>
            <a:t>Quality check and improvement of data</a:t>
          </a:r>
        </a:p>
        <a:p>
          <a:pPr marL="57150" lvl="1" indent="-57150" algn="l" defTabSz="266700">
            <a:lnSpc>
              <a:spcPct val="90000"/>
            </a:lnSpc>
            <a:spcBef>
              <a:spcPct val="0"/>
            </a:spcBef>
            <a:spcAft>
              <a:spcPct val="15000"/>
            </a:spcAft>
            <a:buChar char="•"/>
          </a:pPr>
          <a:r>
            <a:rPr lang="en-GB" sz="600" kern="1200" noProof="0" dirty="0">
              <a:solidFill>
                <a:schemeClr val="accent3">
                  <a:lumMod val="50000"/>
                </a:schemeClr>
              </a:solidFill>
            </a:rPr>
            <a:t>LBA Data Matching</a:t>
          </a:r>
        </a:p>
      </dsp:txBody>
      <dsp:txXfrm>
        <a:off x="1520852" y="2148842"/>
        <a:ext cx="1045567" cy="614252"/>
      </dsp:txXfrm>
    </dsp:sp>
    <dsp:sp modelId="{47EA062C-E032-4DF7-B399-828D8B0AF511}">
      <dsp:nvSpPr>
        <dsp:cNvPr id="0" name=""/>
        <dsp:cNvSpPr/>
      </dsp:nvSpPr>
      <dsp:spPr>
        <a:xfrm rot="2700000">
          <a:off x="326003" y="1007512"/>
          <a:ext cx="1120613" cy="1120613"/>
        </a:xfrm>
        <a:prstGeom prst="teardrop">
          <a:avLst>
            <a:gd name="adj" fmla="val 100000"/>
          </a:avLst>
        </a:prstGeom>
        <a:solidFill>
          <a:schemeClr val="accent1">
            <a:shade val="80000"/>
            <a:hueOff val="0"/>
            <a:satOff val="-48584"/>
            <a:lumOff val="36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882E44-53AA-4F39-B7EE-1E3A4FE2D090}">
      <dsp:nvSpPr>
        <dsp:cNvPr id="0" name=""/>
        <dsp:cNvSpPr/>
      </dsp:nvSpPr>
      <dsp:spPr>
        <a:xfrm>
          <a:off x="363525" y="1044997"/>
          <a:ext cx="1045567" cy="1045841"/>
        </a:xfrm>
        <a:prstGeom prst="ellipse">
          <a:avLst/>
        </a:prstGeom>
        <a:solidFill>
          <a:schemeClr val="lt1">
            <a:alpha val="90000"/>
            <a:hueOff val="0"/>
            <a:satOff val="0"/>
            <a:lumOff val="0"/>
            <a:alphaOff val="0"/>
          </a:schemeClr>
        </a:solidFill>
        <a:ln w="12700" cap="flat" cmpd="sng" algn="ctr">
          <a:solidFill>
            <a:schemeClr val="accent1">
              <a:shade val="80000"/>
              <a:hueOff val="0"/>
              <a:satOff val="-48584"/>
              <a:lumOff val="363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July</a:t>
          </a:r>
        </a:p>
      </dsp:txBody>
      <dsp:txXfrm>
        <a:off x="512537" y="1194431"/>
        <a:ext cx="746715" cy="746973"/>
      </dsp:txXfrm>
    </dsp:sp>
    <dsp:sp modelId="{0C0A85EA-B761-4338-BE2A-0456AD2C9100}">
      <dsp:nvSpPr>
        <dsp:cNvPr id="0" name=""/>
        <dsp:cNvSpPr/>
      </dsp:nvSpPr>
      <dsp:spPr>
        <a:xfrm>
          <a:off x="363525" y="2148842"/>
          <a:ext cx="1045567" cy="614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57150" lvl="1" indent="-57150" algn="l" defTabSz="266700">
            <a:lnSpc>
              <a:spcPct val="90000"/>
            </a:lnSpc>
            <a:spcBef>
              <a:spcPct val="0"/>
            </a:spcBef>
            <a:spcAft>
              <a:spcPct val="15000"/>
            </a:spcAft>
            <a:buChar char="•"/>
          </a:pPr>
          <a:r>
            <a:rPr lang="en-GB" sz="600" kern="1200" noProof="0" dirty="0"/>
            <a:t>Start of the Thesis</a:t>
          </a:r>
        </a:p>
        <a:p>
          <a:pPr marL="57150" lvl="1" indent="-57150" algn="l" defTabSz="266700">
            <a:lnSpc>
              <a:spcPct val="90000"/>
            </a:lnSpc>
            <a:spcBef>
              <a:spcPct val="0"/>
            </a:spcBef>
            <a:spcAft>
              <a:spcPct val="15000"/>
            </a:spcAft>
            <a:buChar char="•"/>
          </a:pPr>
          <a:r>
            <a:rPr lang="en-GB" sz="600" kern="1200" noProof="0" dirty="0">
              <a:latin typeface="Roboto Light"/>
              <a:ea typeface="+mn-ea"/>
              <a:cs typeface="+mn-cs"/>
            </a:rPr>
            <a:t>Onboarding &amp; Setup</a:t>
          </a:r>
        </a:p>
        <a:p>
          <a:pPr marL="57150" lvl="1" indent="-57150" algn="l" defTabSz="266700">
            <a:lnSpc>
              <a:spcPct val="90000"/>
            </a:lnSpc>
            <a:spcBef>
              <a:spcPct val="0"/>
            </a:spcBef>
            <a:spcAft>
              <a:spcPct val="15000"/>
            </a:spcAft>
            <a:buChar char="•"/>
          </a:pPr>
          <a:r>
            <a:rPr lang="en-GB" sz="600" kern="1200" noProof="0" dirty="0">
              <a:latin typeface="Roboto Light"/>
              <a:ea typeface="+mn-ea"/>
              <a:cs typeface="+mn-cs"/>
            </a:rPr>
            <a:t>Introduction to the Field</a:t>
          </a:r>
        </a:p>
      </dsp:txBody>
      <dsp:txXfrm>
        <a:off x="363525" y="2148842"/>
        <a:ext cx="1045567" cy="614252"/>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AE11229-4BAB-044A-A8E0-2F23542CBF6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RO">
              <a:latin typeface="Roboto Light" panose="02000000000000000000" pitchFamily="2" charset="0"/>
            </a:endParaRPr>
          </a:p>
        </p:txBody>
      </p:sp>
      <p:sp>
        <p:nvSpPr>
          <p:cNvPr id="3" name="Date Placeholder 2">
            <a:extLst>
              <a:ext uri="{FF2B5EF4-FFF2-40B4-BE49-F238E27FC236}">
                <a16:creationId xmlns:a16="http://schemas.microsoft.com/office/drawing/2014/main" id="{76594D9E-3A49-D046-88D7-28DFDD2ABC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9D850A-C63F-5C46-B0FF-5E7A302D55C1}" type="datetimeFigureOut">
              <a:rPr lang="en-RO" smtClean="0">
                <a:latin typeface="Roboto Light" panose="02000000000000000000" pitchFamily="2" charset="0"/>
              </a:rPr>
              <a:t>01/24/2024</a:t>
            </a:fld>
            <a:endParaRPr lang="en-RO">
              <a:latin typeface="Roboto Light" panose="02000000000000000000" pitchFamily="2" charset="0"/>
            </a:endParaRPr>
          </a:p>
        </p:txBody>
      </p:sp>
      <p:sp>
        <p:nvSpPr>
          <p:cNvPr id="4" name="Footer Placeholder 3">
            <a:extLst>
              <a:ext uri="{FF2B5EF4-FFF2-40B4-BE49-F238E27FC236}">
                <a16:creationId xmlns:a16="http://schemas.microsoft.com/office/drawing/2014/main" id="{9F397C4F-6B08-0846-B0E3-4C5A501FE56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RO">
              <a:latin typeface="Roboto Light" panose="02000000000000000000" pitchFamily="2" charset="0"/>
            </a:endParaRPr>
          </a:p>
        </p:txBody>
      </p:sp>
      <p:sp>
        <p:nvSpPr>
          <p:cNvPr id="5" name="Slide Number Placeholder 4">
            <a:extLst>
              <a:ext uri="{FF2B5EF4-FFF2-40B4-BE49-F238E27FC236}">
                <a16:creationId xmlns:a16="http://schemas.microsoft.com/office/drawing/2014/main" id="{91A7DD56-DACC-7E41-9EE0-3D5A0ED7AF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C10DB84-CD95-3445-B088-33CBE1B1D88C}" type="slidenum">
              <a:rPr lang="en-RO" smtClean="0">
                <a:latin typeface="Roboto Light" panose="02000000000000000000" pitchFamily="2" charset="0"/>
              </a:rPr>
              <a:t>‹#›</a:t>
            </a:fld>
            <a:endParaRPr lang="en-RO">
              <a:latin typeface="Roboto Light" panose="02000000000000000000" pitchFamily="2" charset="0"/>
            </a:endParaRPr>
          </a:p>
        </p:txBody>
      </p:sp>
    </p:spTree>
    <p:extLst>
      <p:ext uri="{BB962C8B-B14F-4D97-AF65-F5344CB8AC3E}">
        <p14:creationId xmlns:p14="http://schemas.microsoft.com/office/powerpoint/2010/main" val="20837769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Roboto Light" panose="02000000000000000000"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Roboto Light" panose="02000000000000000000" pitchFamily="2" charset="0"/>
              </a:defRPr>
            </a:lvl1pPr>
          </a:lstStyle>
          <a:p>
            <a:fld id="{AAB7E1FE-F82E-47CC-B6CF-A3E3D39E6314}" type="datetimeFigureOut">
              <a:rPr lang="en-US" smtClean="0"/>
              <a:pPr/>
              <a:t>1/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Roboto Light" panose="02000000000000000000"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Roboto Light" panose="02000000000000000000" pitchFamily="2" charset="0"/>
              </a:defRPr>
            </a:lvl1pPr>
          </a:lstStyle>
          <a:p>
            <a:fld id="{229C06B9-A246-4EA8-9C1B-FA47F53AF6F3}" type="slidenum">
              <a:rPr lang="en-US" smtClean="0"/>
              <a:pPr/>
              <a:t>‹#›</a:t>
            </a:fld>
            <a:endParaRPr lang="en-US"/>
          </a:p>
        </p:txBody>
      </p:sp>
    </p:spTree>
    <p:extLst>
      <p:ext uri="{BB962C8B-B14F-4D97-AF65-F5344CB8AC3E}">
        <p14:creationId xmlns:p14="http://schemas.microsoft.com/office/powerpoint/2010/main" val="3350071528"/>
      </p:ext>
    </p:extLst>
  </p:cSld>
  <p:clrMap bg1="lt1" tx1="dk1" bg2="lt2" tx2="dk2" accent1="accent1" accent2="accent2" accent3="accent3" accent4="accent4" accent5="accent5" accent6="accent6" hlink="hlink" folHlink="folHlink"/>
  <p:notesStyle>
    <a:lvl1pPr marL="0" algn="l" defTabSz="342879" rtl="0" eaLnBrk="1" latinLnBrk="0" hangingPunct="1">
      <a:defRPr sz="450" b="0" i="0" kern="1200">
        <a:solidFill>
          <a:schemeClr val="tx1"/>
        </a:solidFill>
        <a:latin typeface="Roboto Light" panose="02000000000000000000" pitchFamily="2" charset="0"/>
        <a:ea typeface="+mn-ea"/>
        <a:cs typeface="+mn-cs"/>
      </a:defRPr>
    </a:lvl1pPr>
    <a:lvl2pPr marL="171439" algn="l" defTabSz="342879" rtl="0" eaLnBrk="1" latinLnBrk="0" hangingPunct="1">
      <a:defRPr sz="450" b="0" i="0" kern="1200">
        <a:solidFill>
          <a:schemeClr val="tx1"/>
        </a:solidFill>
        <a:latin typeface="Roboto Light" panose="02000000000000000000" pitchFamily="2" charset="0"/>
        <a:ea typeface="+mn-ea"/>
        <a:cs typeface="+mn-cs"/>
      </a:defRPr>
    </a:lvl2pPr>
    <a:lvl3pPr marL="342879" algn="l" defTabSz="342879" rtl="0" eaLnBrk="1" latinLnBrk="0" hangingPunct="1">
      <a:defRPr sz="450" b="0" i="0" kern="1200">
        <a:solidFill>
          <a:schemeClr val="tx1"/>
        </a:solidFill>
        <a:latin typeface="Roboto Light" panose="02000000000000000000" pitchFamily="2" charset="0"/>
        <a:ea typeface="+mn-ea"/>
        <a:cs typeface="+mn-cs"/>
      </a:defRPr>
    </a:lvl3pPr>
    <a:lvl4pPr marL="514318" algn="l" defTabSz="342879" rtl="0" eaLnBrk="1" latinLnBrk="0" hangingPunct="1">
      <a:defRPr sz="450" b="0" i="0" kern="1200">
        <a:solidFill>
          <a:schemeClr val="tx1"/>
        </a:solidFill>
        <a:latin typeface="Roboto Light" panose="02000000000000000000" pitchFamily="2" charset="0"/>
        <a:ea typeface="+mn-ea"/>
        <a:cs typeface="+mn-cs"/>
      </a:defRPr>
    </a:lvl4pPr>
    <a:lvl5pPr marL="685757" algn="l" defTabSz="342879" rtl="0" eaLnBrk="1" latinLnBrk="0" hangingPunct="1">
      <a:defRPr sz="450" b="0" i="0" kern="1200">
        <a:solidFill>
          <a:schemeClr val="tx1"/>
        </a:solidFill>
        <a:latin typeface="Roboto Light" panose="02000000000000000000" pitchFamily="2" charset="0"/>
        <a:ea typeface="+mn-ea"/>
        <a:cs typeface="+mn-cs"/>
      </a:defRPr>
    </a:lvl5pPr>
    <a:lvl6pPr marL="857196" algn="l" defTabSz="342879" rtl="0" eaLnBrk="1" latinLnBrk="0" hangingPunct="1">
      <a:defRPr sz="450" kern="1200">
        <a:solidFill>
          <a:schemeClr val="tx1"/>
        </a:solidFill>
        <a:latin typeface="+mn-lt"/>
        <a:ea typeface="+mn-ea"/>
        <a:cs typeface="+mn-cs"/>
      </a:defRPr>
    </a:lvl6pPr>
    <a:lvl7pPr marL="1028636" algn="l" defTabSz="342879" rtl="0" eaLnBrk="1" latinLnBrk="0" hangingPunct="1">
      <a:defRPr sz="450" kern="1200">
        <a:solidFill>
          <a:schemeClr val="tx1"/>
        </a:solidFill>
        <a:latin typeface="+mn-lt"/>
        <a:ea typeface="+mn-ea"/>
        <a:cs typeface="+mn-cs"/>
      </a:defRPr>
    </a:lvl7pPr>
    <a:lvl8pPr marL="1200075" algn="l" defTabSz="342879" rtl="0" eaLnBrk="1" latinLnBrk="0" hangingPunct="1">
      <a:defRPr sz="450" kern="1200">
        <a:solidFill>
          <a:schemeClr val="tx1"/>
        </a:solidFill>
        <a:latin typeface="+mn-lt"/>
        <a:ea typeface="+mn-ea"/>
        <a:cs typeface="+mn-cs"/>
      </a:defRPr>
    </a:lvl8pPr>
    <a:lvl9pPr marL="1371514" algn="l" defTabSz="342879" rtl="0" eaLnBrk="1" latinLnBrk="0" hangingPunct="1">
      <a:defRPr sz="4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Kind </a:t>
            </a:r>
            <a:r>
              <a:rPr lang="de-DE" dirty="0" err="1"/>
              <a:t>of</a:t>
            </a:r>
            <a:r>
              <a:rPr lang="de-DE" dirty="0"/>
              <a:t> a </a:t>
            </a:r>
            <a:r>
              <a:rPr lang="de-DE" dirty="0" err="1"/>
              <a:t>One</a:t>
            </a:r>
            <a:r>
              <a:rPr lang="de-DE" dirty="0"/>
              <a:t> </a:t>
            </a:r>
            <a:r>
              <a:rPr lang="de-DE" dirty="0" err="1"/>
              <a:t>pager</a:t>
            </a:r>
            <a:r>
              <a:rPr lang="de-DE" dirty="0"/>
              <a:t>, </a:t>
            </a:r>
            <a:r>
              <a:rPr lang="de-DE" dirty="0" err="1"/>
              <a:t>That</a:t>
            </a:r>
            <a:r>
              <a:rPr lang="de-DE" dirty="0"/>
              <a:t> </a:t>
            </a:r>
            <a:r>
              <a:rPr lang="de-DE" dirty="0" err="1"/>
              <a:t>mainly</a:t>
            </a:r>
            <a:r>
              <a:rPr lang="de-DE" dirty="0"/>
              <a:t> </a:t>
            </a:r>
            <a:r>
              <a:rPr lang="de-DE" dirty="0" err="1"/>
              <a:t>tells</a:t>
            </a:r>
            <a:r>
              <a:rPr lang="de-DE" dirty="0"/>
              <a:t> </a:t>
            </a:r>
            <a:r>
              <a:rPr lang="de-DE" dirty="0" err="1"/>
              <a:t>about</a:t>
            </a:r>
            <a:r>
              <a:rPr lang="de-DE" dirty="0"/>
              <a:t> </a:t>
            </a:r>
            <a:r>
              <a:rPr lang="de-DE" dirty="0" err="1"/>
              <a:t>the</a:t>
            </a:r>
            <a:r>
              <a:rPr lang="de-DE" dirty="0"/>
              <a:t> </a:t>
            </a:r>
            <a:r>
              <a:rPr lang="de-DE" dirty="0" err="1"/>
              <a:t>thesis</a:t>
            </a:r>
            <a:r>
              <a:rPr lang="de-DE" dirty="0"/>
              <a:t> </a:t>
            </a:r>
            <a:r>
              <a:rPr lang="de-DE" dirty="0" err="1"/>
              <a:t>with</a:t>
            </a:r>
            <a:r>
              <a:rPr lang="de-DE" dirty="0"/>
              <a:t> least </a:t>
            </a:r>
            <a:r>
              <a:rPr lang="de-DE" dirty="0" err="1"/>
              <a:t>words</a:t>
            </a:r>
            <a:r>
              <a:rPr lang="de-DE" dirty="0"/>
              <a:t> possible</a:t>
            </a:r>
          </a:p>
        </p:txBody>
      </p:sp>
      <p:sp>
        <p:nvSpPr>
          <p:cNvPr id="4" name="Slide Number Placeholder 3"/>
          <p:cNvSpPr>
            <a:spLocks noGrp="1"/>
          </p:cNvSpPr>
          <p:nvPr>
            <p:ph type="sldNum" sz="quarter" idx="5"/>
          </p:nvPr>
        </p:nvSpPr>
        <p:spPr/>
        <p:txBody>
          <a:bodyPr/>
          <a:lstStyle/>
          <a:p>
            <a:fld id="{229C06B9-A246-4EA8-9C1B-FA47F53AF6F3}" type="slidenum">
              <a:rPr lang="en-US" smtClean="0"/>
              <a:pPr/>
              <a:t>2</a:t>
            </a:fld>
            <a:endParaRPr lang="en-US"/>
          </a:p>
        </p:txBody>
      </p:sp>
    </p:spTree>
    <p:extLst>
      <p:ext uri="{BB962C8B-B14F-4D97-AF65-F5344CB8AC3E}">
        <p14:creationId xmlns:p14="http://schemas.microsoft.com/office/powerpoint/2010/main" val="27654854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elcome Page">
    <p:spTree>
      <p:nvGrpSpPr>
        <p:cNvPr id="1" name=""/>
        <p:cNvGrpSpPr/>
        <p:nvPr/>
      </p:nvGrpSpPr>
      <p:grpSpPr>
        <a:xfrm>
          <a:off x="0" y="0"/>
          <a:ext cx="0" cy="0"/>
          <a:chOff x="0" y="0"/>
          <a:chExt cx="0" cy="0"/>
        </a:xfrm>
      </p:grpSpPr>
      <p:pic>
        <p:nvPicPr>
          <p:cNvPr id="12" name="Picture Placeholder 6">
            <a:extLst>
              <a:ext uri="{FF2B5EF4-FFF2-40B4-BE49-F238E27FC236}">
                <a16:creationId xmlns:a16="http://schemas.microsoft.com/office/drawing/2014/main" id="{F4A43431-46A9-5A41-87C3-0F44E36C5C6F}"/>
              </a:ext>
            </a:extLst>
          </p:cNvPr>
          <p:cNvPicPr>
            <a:picLocks noChangeAspect="1"/>
          </p:cNvPicPr>
          <p:nvPr userDrawn="1"/>
        </p:nvPicPr>
        <p:blipFill>
          <a:blip r:embed="rId2">
            <a:extLst>
              <a:ext uri="{28A0092B-C50C-407E-A947-70E740481C1C}">
                <a14:useLocalDpi xmlns:a14="http://schemas.microsoft.com/office/drawing/2010/main" val="0"/>
              </a:ext>
            </a:extLst>
          </a:blip>
          <a:srcRect l="14464" r="14464"/>
          <a:stretch>
            <a:fillRect/>
          </a:stretch>
        </p:blipFill>
        <p:spPr>
          <a:xfrm>
            <a:off x="0" y="0"/>
            <a:ext cx="9144000" cy="5143500"/>
          </a:xfrm>
          <a:prstGeom prst="rect">
            <a:avLst/>
          </a:prstGeom>
        </p:spPr>
      </p:pic>
      <p:sp>
        <p:nvSpPr>
          <p:cNvPr id="15" name="Rectangle 14">
            <a:extLst>
              <a:ext uri="{FF2B5EF4-FFF2-40B4-BE49-F238E27FC236}">
                <a16:creationId xmlns:a16="http://schemas.microsoft.com/office/drawing/2014/main" id="{3C9E4EE1-F541-2D45-AAE2-81E09BBF0FD0}"/>
              </a:ext>
            </a:extLst>
          </p:cNvPr>
          <p:cNvSpPr/>
          <p:nvPr userDrawn="1"/>
        </p:nvSpPr>
        <p:spPr>
          <a:xfrm>
            <a:off x="0" y="0"/>
            <a:ext cx="9144000" cy="5143500"/>
          </a:xfrm>
          <a:prstGeom prst="rect">
            <a:avLst/>
          </a:prstGeom>
          <a:gradFill flip="none" rotWithShape="1">
            <a:gsLst>
              <a:gs pos="0">
                <a:schemeClr val="tx2">
                  <a:alpha val="50000"/>
                </a:schemeClr>
              </a:gs>
              <a:gs pos="75000">
                <a:schemeClr val="accent1">
                  <a:alpha val="7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5" name="Text Placeholder 4"/>
          <p:cNvSpPr>
            <a:spLocks noGrp="1"/>
          </p:cNvSpPr>
          <p:nvPr>
            <p:ph type="body" sz="quarter" idx="11" hasCustomPrompt="1"/>
          </p:nvPr>
        </p:nvSpPr>
        <p:spPr>
          <a:xfrm>
            <a:off x="878748" y="1201772"/>
            <a:ext cx="4509475" cy="1412694"/>
          </a:xfrm>
          <a:prstGeom prst="rect">
            <a:avLst/>
          </a:prstGeom>
        </p:spPr>
        <p:txBody>
          <a:bodyPr wrap="square" lIns="0" tIns="0" rIns="0" bIns="0">
            <a:spAutoFit/>
          </a:bodyPr>
          <a:lstStyle>
            <a:lvl1pPr marL="0" indent="0">
              <a:lnSpc>
                <a:spcPct val="90000"/>
              </a:lnSpc>
              <a:spcBef>
                <a:spcPts val="0"/>
              </a:spcBef>
              <a:buFontTx/>
              <a:buNone/>
              <a:defRPr sz="5100" spc="-151" baseline="0">
                <a:solidFill>
                  <a:schemeClr val="bg1"/>
                </a:solidFill>
                <a:latin typeface="+mn-lt"/>
              </a:defRPr>
            </a:lvl1pPr>
          </a:lstStyle>
          <a:p>
            <a:pPr lvl="0"/>
            <a:r>
              <a:rPr lang="de-DE" err="1"/>
              <a:t>Presentation</a:t>
            </a:r>
            <a:r>
              <a:rPr lang="de-DE"/>
              <a:t> title </a:t>
            </a:r>
            <a:r>
              <a:rPr lang="de-DE" err="1"/>
              <a:t>goes</a:t>
            </a:r>
            <a:r>
              <a:rPr lang="de-DE"/>
              <a:t> </a:t>
            </a:r>
            <a:r>
              <a:rPr lang="de-DE" err="1"/>
              <a:t>here</a:t>
            </a:r>
            <a:endParaRPr lang="en-US"/>
          </a:p>
        </p:txBody>
      </p:sp>
      <p:sp>
        <p:nvSpPr>
          <p:cNvPr id="8" name="Text Placeholder 4"/>
          <p:cNvSpPr>
            <a:spLocks noGrp="1"/>
          </p:cNvSpPr>
          <p:nvPr>
            <p:ph type="body" sz="quarter" idx="12" hasCustomPrompt="1"/>
          </p:nvPr>
        </p:nvSpPr>
        <p:spPr>
          <a:xfrm>
            <a:off x="878748" y="2646867"/>
            <a:ext cx="3510787" cy="255839"/>
          </a:xfrm>
          <a:prstGeom prst="rect">
            <a:avLst/>
          </a:prstGeom>
        </p:spPr>
        <p:txBody>
          <a:bodyPr lIns="0" tIns="0" rIns="0" bIns="0">
            <a:spAutoFit/>
          </a:bodyPr>
          <a:lstStyle>
            <a:lvl1pPr marL="0" indent="0">
              <a:lnSpc>
                <a:spcPct val="120000"/>
              </a:lnSpc>
              <a:spcBef>
                <a:spcPts val="0"/>
              </a:spcBef>
              <a:buFontTx/>
              <a:buNone/>
              <a:defRPr sz="1500">
                <a:solidFill>
                  <a:schemeClr val="bg1"/>
                </a:solidFill>
                <a:latin typeface="+mn-lt"/>
              </a:defRPr>
            </a:lvl1pPr>
          </a:lstStyle>
          <a:p>
            <a:pPr lvl="0"/>
            <a:r>
              <a:rPr lang="en-US"/>
              <a:t>Description or subtitle goes here</a:t>
            </a:r>
          </a:p>
        </p:txBody>
      </p:sp>
      <p:sp>
        <p:nvSpPr>
          <p:cNvPr id="22" name="Text Placeholder 4">
            <a:extLst>
              <a:ext uri="{FF2B5EF4-FFF2-40B4-BE49-F238E27FC236}">
                <a16:creationId xmlns:a16="http://schemas.microsoft.com/office/drawing/2014/main" id="{72BE5529-C37F-6946-9AB7-D0252912549D}"/>
              </a:ext>
            </a:extLst>
          </p:cNvPr>
          <p:cNvSpPr>
            <a:spLocks noGrp="1"/>
          </p:cNvSpPr>
          <p:nvPr>
            <p:ph type="body" sz="quarter" idx="44" hasCustomPrompt="1"/>
          </p:nvPr>
        </p:nvSpPr>
        <p:spPr>
          <a:xfrm>
            <a:off x="878748" y="3595855"/>
            <a:ext cx="3510787" cy="153504"/>
          </a:xfrm>
          <a:prstGeom prst="rect">
            <a:avLst/>
          </a:prstGeom>
        </p:spPr>
        <p:txBody>
          <a:bodyPr lIns="0" tIns="0" rIns="0" bIns="0">
            <a:spAutoFit/>
          </a:bodyPr>
          <a:lstStyle>
            <a:lvl1pPr marL="0" indent="0">
              <a:lnSpc>
                <a:spcPct val="120000"/>
              </a:lnSpc>
              <a:spcBef>
                <a:spcPts val="0"/>
              </a:spcBef>
              <a:buFontTx/>
              <a:buNone/>
              <a:defRPr sz="900">
                <a:solidFill>
                  <a:schemeClr val="bg1"/>
                </a:solidFill>
                <a:latin typeface="+mn-lt"/>
              </a:defRPr>
            </a:lvl1pPr>
          </a:lstStyle>
          <a:p>
            <a:pPr lvl="0"/>
            <a:r>
              <a:rPr lang="en-US"/>
              <a:t>Customer name</a:t>
            </a:r>
          </a:p>
        </p:txBody>
      </p:sp>
      <p:sp>
        <p:nvSpPr>
          <p:cNvPr id="4" name="Text Placeholder 3">
            <a:extLst>
              <a:ext uri="{FF2B5EF4-FFF2-40B4-BE49-F238E27FC236}">
                <a16:creationId xmlns:a16="http://schemas.microsoft.com/office/drawing/2014/main" id="{727AC7F0-38B5-1048-BABC-6A7888E99218}"/>
              </a:ext>
            </a:extLst>
          </p:cNvPr>
          <p:cNvSpPr>
            <a:spLocks noGrp="1"/>
          </p:cNvSpPr>
          <p:nvPr>
            <p:ph type="body" sz="quarter" idx="46" hasCustomPrompt="1"/>
          </p:nvPr>
        </p:nvSpPr>
        <p:spPr>
          <a:xfrm>
            <a:off x="878889" y="3491244"/>
            <a:ext cx="1421699" cy="104610"/>
          </a:xfrm>
          <a:prstGeom prst="rect">
            <a:avLst/>
          </a:prstGeom>
        </p:spPr>
        <p:txBody>
          <a:bodyPr lIns="18000" anchor="ctr">
            <a:noAutofit/>
          </a:bodyPr>
          <a:lstStyle>
            <a:lvl1pPr marL="0" indent="0">
              <a:buNone/>
              <a:defRPr sz="600" cap="all" spc="113" baseline="0">
                <a:solidFill>
                  <a:schemeClr val="bg1">
                    <a:lumMod val="85000"/>
                  </a:schemeClr>
                </a:solidFill>
              </a:defRPr>
            </a:lvl1pPr>
          </a:lstStyle>
          <a:p>
            <a:pPr lvl="0"/>
            <a:r>
              <a:rPr lang="en-GB"/>
              <a:t>PREPARED FOR</a:t>
            </a:r>
            <a:endParaRPr lang="en-RO"/>
          </a:p>
        </p:txBody>
      </p:sp>
      <p:sp>
        <p:nvSpPr>
          <p:cNvPr id="13" name="Text Placeholder 3">
            <a:extLst>
              <a:ext uri="{FF2B5EF4-FFF2-40B4-BE49-F238E27FC236}">
                <a16:creationId xmlns:a16="http://schemas.microsoft.com/office/drawing/2014/main" id="{5D6F72E9-8CD9-904E-BD9A-8D7491FB3811}"/>
              </a:ext>
            </a:extLst>
          </p:cNvPr>
          <p:cNvSpPr>
            <a:spLocks noGrp="1"/>
          </p:cNvSpPr>
          <p:nvPr>
            <p:ph type="body" sz="quarter" idx="48" hasCustomPrompt="1"/>
          </p:nvPr>
        </p:nvSpPr>
        <p:spPr>
          <a:xfrm>
            <a:off x="878889" y="4003424"/>
            <a:ext cx="1421699" cy="104610"/>
          </a:xfrm>
          <a:prstGeom prst="rect">
            <a:avLst/>
          </a:prstGeom>
        </p:spPr>
        <p:txBody>
          <a:bodyPr lIns="18000" anchor="ctr">
            <a:noAutofit/>
          </a:bodyPr>
          <a:lstStyle>
            <a:lvl1pPr marL="0" indent="0">
              <a:buNone/>
              <a:defRPr sz="600" cap="all" spc="113" baseline="0">
                <a:solidFill>
                  <a:schemeClr val="bg1">
                    <a:lumMod val="85000"/>
                  </a:schemeClr>
                </a:solidFill>
              </a:defRPr>
            </a:lvl1pPr>
          </a:lstStyle>
          <a:p>
            <a:pPr lvl="0"/>
            <a:r>
              <a:rPr lang="en-GB"/>
              <a:t>PREPARED by</a:t>
            </a:r>
            <a:endParaRPr lang="en-RO"/>
          </a:p>
        </p:txBody>
      </p:sp>
      <p:sp>
        <p:nvSpPr>
          <p:cNvPr id="14" name="Text Placeholder 4">
            <a:extLst>
              <a:ext uri="{FF2B5EF4-FFF2-40B4-BE49-F238E27FC236}">
                <a16:creationId xmlns:a16="http://schemas.microsoft.com/office/drawing/2014/main" id="{CC35A305-6374-ED4C-B66C-3BD49CF8A2A9}"/>
              </a:ext>
            </a:extLst>
          </p:cNvPr>
          <p:cNvSpPr>
            <a:spLocks noGrp="1"/>
          </p:cNvSpPr>
          <p:nvPr>
            <p:ph type="body" sz="quarter" idx="45" hasCustomPrompt="1"/>
          </p:nvPr>
        </p:nvSpPr>
        <p:spPr>
          <a:xfrm>
            <a:off x="878748" y="4108035"/>
            <a:ext cx="3510787" cy="153504"/>
          </a:xfrm>
          <a:prstGeom prst="rect">
            <a:avLst/>
          </a:prstGeom>
        </p:spPr>
        <p:txBody>
          <a:bodyPr lIns="0" tIns="0" rIns="0" bIns="0">
            <a:spAutoFit/>
          </a:bodyPr>
          <a:lstStyle>
            <a:lvl1pPr marL="0" indent="0" algn="l">
              <a:lnSpc>
                <a:spcPct val="120000"/>
              </a:lnSpc>
              <a:spcBef>
                <a:spcPts val="0"/>
              </a:spcBef>
              <a:buFontTx/>
              <a:buNone/>
              <a:defRPr sz="900">
                <a:solidFill>
                  <a:schemeClr val="bg1"/>
                </a:solidFill>
                <a:latin typeface="+mn-lt"/>
              </a:defRPr>
            </a:lvl1pPr>
          </a:lstStyle>
          <a:p>
            <a:pPr lvl="0"/>
            <a:r>
              <a:rPr lang="en-US"/>
              <a:t>Expert name</a:t>
            </a:r>
          </a:p>
        </p:txBody>
      </p:sp>
      <p:pic>
        <p:nvPicPr>
          <p:cNvPr id="16" name="Graphic 15">
            <a:extLst>
              <a:ext uri="{FF2B5EF4-FFF2-40B4-BE49-F238E27FC236}">
                <a16:creationId xmlns:a16="http://schemas.microsoft.com/office/drawing/2014/main" id="{E9D52F2D-157E-4E49-822F-FCDA9B4DD1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6782169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asic Red">
    <p:spTree>
      <p:nvGrpSpPr>
        <p:cNvPr id="1" name=""/>
        <p:cNvGrpSpPr/>
        <p:nvPr/>
      </p:nvGrpSpPr>
      <p:grpSpPr>
        <a:xfrm>
          <a:off x="0" y="0"/>
          <a:ext cx="0" cy="0"/>
          <a:chOff x="0" y="0"/>
          <a:chExt cx="0" cy="0"/>
        </a:xfrm>
      </p:grpSpPr>
      <p:sp>
        <p:nvSpPr>
          <p:cNvPr id="14" name="Text Placeholder 4">
            <a:extLst>
              <a:ext uri="{FF2B5EF4-FFF2-40B4-BE49-F238E27FC236}">
                <a16:creationId xmlns:a16="http://schemas.microsoft.com/office/drawing/2014/main" id="{41E7B7D7-FCBB-964E-BAF0-EB40BECFC02D}"/>
              </a:ext>
            </a:extLst>
          </p:cNvPr>
          <p:cNvSpPr>
            <a:spLocks noGrp="1"/>
          </p:cNvSpPr>
          <p:nvPr>
            <p:ph type="body" sz="quarter" idx="77" hasCustomPrompt="1"/>
          </p:nvPr>
        </p:nvSpPr>
        <p:spPr>
          <a:xfrm>
            <a:off x="324000" y="570062"/>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Subtitle</a:t>
            </a:r>
          </a:p>
        </p:txBody>
      </p:sp>
      <p:sp>
        <p:nvSpPr>
          <p:cNvPr id="15" name="Text Placeholder 4">
            <a:extLst>
              <a:ext uri="{FF2B5EF4-FFF2-40B4-BE49-F238E27FC236}">
                <a16:creationId xmlns:a16="http://schemas.microsoft.com/office/drawing/2014/main" id="{72AD8D7C-8A1E-A048-80BC-F50FC3F81077}"/>
              </a:ext>
            </a:extLst>
          </p:cNvPr>
          <p:cNvSpPr>
            <a:spLocks noGrp="1"/>
          </p:cNvSpPr>
          <p:nvPr>
            <p:ph type="body" sz="quarter" idx="78" hasCustomPrompt="1"/>
          </p:nvPr>
        </p:nvSpPr>
        <p:spPr>
          <a:xfrm>
            <a:off x="324000" y="170242"/>
            <a:ext cx="5795525" cy="373949"/>
          </a:xfrm>
          <a:prstGeom prst="rect">
            <a:avLst/>
          </a:prstGeom>
        </p:spPr>
        <p:txBody>
          <a:bodyPr vert="horz" wrap="square" lIns="0" tIns="0" rIns="0" bIns="0" rtlCol="0">
            <a:spAutoFit/>
          </a:bodyPr>
          <a:lstStyle>
            <a:lvl1pPr marL="0" indent="0">
              <a:buNone/>
              <a:defRPr lang="en-US" sz="2700" spc="-151" baseline="0" dirty="0">
                <a:solidFill>
                  <a:schemeClr val="bg1"/>
                </a:solidFill>
              </a:defRPr>
            </a:lvl1pPr>
          </a:lstStyle>
          <a:p>
            <a:pPr marL="67498" lvl="0" indent="-67498">
              <a:spcBef>
                <a:spcPts val="0"/>
              </a:spcBef>
            </a:pPr>
            <a:r>
              <a:rPr lang="en-US"/>
              <a:t>Title</a:t>
            </a:r>
          </a:p>
        </p:txBody>
      </p:sp>
      <p:sp>
        <p:nvSpPr>
          <p:cNvPr id="8" name="Date Placeholder 2">
            <a:extLst>
              <a:ext uri="{FF2B5EF4-FFF2-40B4-BE49-F238E27FC236}">
                <a16:creationId xmlns:a16="http://schemas.microsoft.com/office/drawing/2014/main" id="{B2277509-B0DF-6544-A7AA-B7E288CD583F}"/>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0DA89EC3-4AC4-4C10-9BF8-A2A6507D25F8}" type="datetime1">
              <a:rPr lang="de-DE" smtClean="0"/>
              <a:t>24.01.2024</a:t>
            </a:fld>
            <a:endParaRPr lang="en-US"/>
          </a:p>
        </p:txBody>
      </p:sp>
      <p:sp>
        <p:nvSpPr>
          <p:cNvPr id="10" name="Slide Number Placeholder 4">
            <a:extLst>
              <a:ext uri="{FF2B5EF4-FFF2-40B4-BE49-F238E27FC236}">
                <a16:creationId xmlns:a16="http://schemas.microsoft.com/office/drawing/2014/main" id="{8CE08755-C4C3-5A41-A0C3-B8F77BB204D5}"/>
              </a:ext>
            </a:extLst>
          </p:cNvPr>
          <p:cNvSpPr>
            <a:spLocks noGrp="1"/>
          </p:cNvSpPr>
          <p:nvPr>
            <p:ph type="sldNum" sz="quarter" idx="81"/>
          </p:nvPr>
        </p:nvSpPr>
        <p:spPr>
          <a:xfrm>
            <a:off x="8482477"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
        <p:nvSpPr>
          <p:cNvPr id="12" name="Text Placeholder 14">
            <a:extLst>
              <a:ext uri="{FF2B5EF4-FFF2-40B4-BE49-F238E27FC236}">
                <a16:creationId xmlns:a16="http://schemas.microsoft.com/office/drawing/2014/main" id="{CF270E6A-E48C-A541-AD2F-2362D549DCCF}"/>
              </a:ext>
            </a:extLst>
          </p:cNvPr>
          <p:cNvSpPr>
            <a:spLocks noGrp="1"/>
          </p:cNvSpPr>
          <p:nvPr>
            <p:ph idx="1"/>
          </p:nvPr>
        </p:nvSpPr>
        <p:spPr>
          <a:xfrm>
            <a:off x="324001" y="884041"/>
            <a:ext cx="8496151" cy="3748683"/>
          </a:xfrm>
          <a:prstGeom prst="rect">
            <a:avLst/>
          </a:prstGeom>
        </p:spPr>
        <p:txBody>
          <a:bodyPr vert="horz" lIns="0" tIns="45720" rIns="91440" bIns="45720" rtlCol="0">
            <a:normAutofit/>
          </a:bodyPr>
          <a:lstStyle>
            <a:lvl1pPr marL="89998" indent="-89998">
              <a:buClr>
                <a:schemeClr val="tx2">
                  <a:lumMod val="40000"/>
                  <a:lumOff val="60000"/>
                </a:schemeClr>
              </a:buClr>
              <a:defRPr>
                <a:solidFill>
                  <a:schemeClr val="bg1"/>
                </a:solidFill>
              </a:defRPr>
            </a:lvl1pPr>
            <a:lvl2pPr indent="-89998">
              <a:buClr>
                <a:schemeClr val="tx2">
                  <a:lumMod val="40000"/>
                  <a:lumOff val="60000"/>
                </a:schemeClr>
              </a:buClr>
              <a:defRPr>
                <a:solidFill>
                  <a:schemeClr val="bg1"/>
                </a:solidFill>
              </a:defRPr>
            </a:lvl2pPr>
            <a:lvl3pPr indent="-89998">
              <a:buClr>
                <a:schemeClr val="tx2">
                  <a:lumMod val="40000"/>
                  <a:lumOff val="60000"/>
                </a:schemeClr>
              </a:buClr>
              <a:defRPr>
                <a:solidFill>
                  <a:schemeClr val="bg1"/>
                </a:solidFill>
              </a:defRPr>
            </a:lvl3pPr>
            <a:lvl4pPr indent="-89998">
              <a:buClr>
                <a:schemeClr val="tx2">
                  <a:lumMod val="40000"/>
                  <a:lumOff val="60000"/>
                </a:schemeClr>
              </a:buClr>
              <a:defRPr>
                <a:solidFill>
                  <a:schemeClr val="bg1"/>
                </a:solidFill>
              </a:defRPr>
            </a:lvl4pPr>
            <a:lvl5pPr indent="-89998">
              <a:buClr>
                <a:schemeClr val="tx2">
                  <a:lumMod val="40000"/>
                  <a:lumOff val="6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3" name="Footer Placeholder 3">
            <a:extLst>
              <a:ext uri="{FF2B5EF4-FFF2-40B4-BE49-F238E27FC236}">
                <a16:creationId xmlns:a16="http://schemas.microsoft.com/office/drawing/2014/main" id="{C8689D35-717C-F14E-9756-60131CF79006}"/>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6" name="Graphic 15">
            <a:extLst>
              <a:ext uri="{FF2B5EF4-FFF2-40B4-BE49-F238E27FC236}">
                <a16:creationId xmlns:a16="http://schemas.microsoft.com/office/drawing/2014/main" id="{F8DB3917-BDA4-5544-AA4E-EB90795AEE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1626697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TA Large - Bright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F8E06C-28B5-7C4A-ACB4-558900B7966D}"/>
              </a:ext>
            </a:extLst>
          </p:cNvPr>
          <p:cNvPicPr>
            <a:picLocks noChangeAspect="1"/>
          </p:cNvPicPr>
          <p:nvPr/>
        </p:nvPicPr>
        <p:blipFill rotWithShape="1">
          <a:blip r:embed="rId2">
            <a:extLst>
              <a:ext uri="{28A0092B-C50C-407E-A947-70E740481C1C}">
                <a14:useLocalDpi xmlns:a14="http://schemas.microsoft.com/office/drawing/2010/main" val="0"/>
              </a:ext>
            </a:extLst>
          </a:blip>
          <a:srcRect t="31" b="59714"/>
          <a:stretch/>
        </p:blipFill>
        <p:spPr>
          <a:xfrm>
            <a:off x="5186946" y="3854386"/>
            <a:ext cx="3410172" cy="1289114"/>
          </a:xfrm>
          <a:prstGeom prst="rect">
            <a:avLst/>
          </a:prstGeom>
        </p:spPr>
      </p:pic>
      <p:sp>
        <p:nvSpPr>
          <p:cNvPr id="15" name="Text Placeholder 4">
            <a:extLst>
              <a:ext uri="{FF2B5EF4-FFF2-40B4-BE49-F238E27FC236}">
                <a16:creationId xmlns:a16="http://schemas.microsoft.com/office/drawing/2014/main" id="{45E3D455-8565-BF44-B4F2-7BE266357492}"/>
              </a:ext>
            </a:extLst>
          </p:cNvPr>
          <p:cNvSpPr>
            <a:spLocks noGrp="1"/>
          </p:cNvSpPr>
          <p:nvPr>
            <p:ph type="body" sz="quarter" idx="78" hasCustomPrompt="1"/>
          </p:nvPr>
        </p:nvSpPr>
        <p:spPr>
          <a:xfrm>
            <a:off x="788520" y="1055049"/>
            <a:ext cx="5795525" cy="498598"/>
          </a:xfrm>
          <a:prstGeom prst="rect">
            <a:avLst/>
          </a:prstGeom>
        </p:spPr>
        <p:txBody>
          <a:bodyPr wrap="square" lIns="0" tIns="0" rIns="0" bIns="0">
            <a:spAutoFit/>
          </a:bodyPr>
          <a:lstStyle>
            <a:lvl1pPr marL="0" indent="0">
              <a:lnSpc>
                <a:spcPct val="90000"/>
              </a:lnSpc>
              <a:spcBef>
                <a:spcPts val="0"/>
              </a:spcBef>
              <a:buFont typeface="Arial" panose="020B0604020202020204" pitchFamily="34" charset="0"/>
              <a:buNone/>
              <a:defRPr sz="3600" spc="-151" baseline="0">
                <a:solidFill>
                  <a:srgbClr val="F1F1F1"/>
                </a:solidFill>
                <a:latin typeface="+mn-lt"/>
              </a:defRPr>
            </a:lvl1pPr>
          </a:lstStyle>
          <a:p>
            <a:pPr lvl="0"/>
            <a:r>
              <a:rPr lang="en-US"/>
              <a:t>Title</a:t>
            </a:r>
          </a:p>
        </p:txBody>
      </p:sp>
      <p:sp>
        <p:nvSpPr>
          <p:cNvPr id="8" name="Date Placeholder 2">
            <a:extLst>
              <a:ext uri="{FF2B5EF4-FFF2-40B4-BE49-F238E27FC236}">
                <a16:creationId xmlns:a16="http://schemas.microsoft.com/office/drawing/2014/main" id="{3560DB00-0093-6944-BDD8-CB2199B25205}"/>
              </a:ext>
            </a:extLst>
          </p:cNvPr>
          <p:cNvSpPr>
            <a:spLocks noGrp="1"/>
          </p:cNvSpPr>
          <p:nvPr>
            <p:ph type="dt" sz="half" idx="79"/>
          </p:nvPr>
        </p:nvSpPr>
        <p:spPr>
          <a:xfrm>
            <a:off x="324002" y="4972079"/>
            <a:ext cx="494319" cy="92455"/>
          </a:xfrm>
        </p:spPr>
        <p:txBody>
          <a:bodyPr anchor="t"/>
          <a:lstStyle>
            <a:lvl1pPr>
              <a:defRPr>
                <a:solidFill>
                  <a:schemeClr val="bg1">
                    <a:alpha val="50000"/>
                  </a:schemeClr>
                </a:solidFill>
              </a:defRPr>
            </a:lvl1pPr>
          </a:lstStyle>
          <a:p>
            <a:fld id="{0C8F96EC-062D-4B2F-868A-EE3D856AED89}" type="datetime1">
              <a:rPr lang="de-DE" smtClean="0"/>
              <a:t>24.01.2024</a:t>
            </a:fld>
            <a:endParaRPr lang="en-US"/>
          </a:p>
        </p:txBody>
      </p:sp>
      <p:pic>
        <p:nvPicPr>
          <p:cNvPr id="12" name="Picture 11">
            <a:extLst>
              <a:ext uri="{FF2B5EF4-FFF2-40B4-BE49-F238E27FC236}">
                <a16:creationId xmlns:a16="http://schemas.microsoft.com/office/drawing/2014/main" id="{8AF49EE0-1BBB-438F-8CBF-01F1E8507F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1" b="59714"/>
          <a:stretch/>
        </p:blipFill>
        <p:spPr>
          <a:xfrm>
            <a:off x="5186946" y="3854386"/>
            <a:ext cx="3410172" cy="1289114"/>
          </a:xfrm>
          <a:prstGeom prst="rect">
            <a:avLst/>
          </a:prstGeom>
        </p:spPr>
      </p:pic>
      <p:sp>
        <p:nvSpPr>
          <p:cNvPr id="13" name="Footer Placeholder 3">
            <a:extLst>
              <a:ext uri="{FF2B5EF4-FFF2-40B4-BE49-F238E27FC236}">
                <a16:creationId xmlns:a16="http://schemas.microsoft.com/office/drawing/2014/main" id="{D2AF6CE8-E122-9147-B930-3A738D2EE508}"/>
              </a:ext>
            </a:extLst>
          </p:cNvPr>
          <p:cNvSpPr>
            <a:spLocks noGrp="1"/>
          </p:cNvSpPr>
          <p:nvPr>
            <p:ph type="ftr" sz="quarter" idx="80"/>
          </p:nvPr>
        </p:nvSpPr>
        <p:spPr>
          <a:xfrm>
            <a:off x="2424056" y="4972079"/>
            <a:ext cx="4295888" cy="92455"/>
          </a:xfrm>
        </p:spPr>
        <p:txBody>
          <a:bodyPr anchor="t"/>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4" name="Graphic 13">
            <a:extLst>
              <a:ext uri="{FF2B5EF4-FFF2-40B4-BE49-F238E27FC236}">
                <a16:creationId xmlns:a16="http://schemas.microsoft.com/office/drawing/2014/main" id="{1CA1942A-CB4D-9943-A331-C74423A8336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908" y="202500"/>
            <a:ext cx="312243" cy="302760"/>
          </a:xfrm>
          <a:prstGeom prst="rect">
            <a:avLst/>
          </a:prstGeom>
        </p:spPr>
      </p:pic>
      <p:sp>
        <p:nvSpPr>
          <p:cNvPr id="16" name="Slide Number Placeholder 4">
            <a:extLst>
              <a:ext uri="{FF2B5EF4-FFF2-40B4-BE49-F238E27FC236}">
                <a16:creationId xmlns:a16="http://schemas.microsoft.com/office/drawing/2014/main" id="{5C160E3D-FFD5-FA49-9408-864D54260D3F}"/>
              </a:ext>
            </a:extLst>
          </p:cNvPr>
          <p:cNvSpPr>
            <a:spLocks noGrp="1"/>
          </p:cNvSpPr>
          <p:nvPr>
            <p:ph type="sldNum" sz="quarter" idx="81"/>
          </p:nvPr>
        </p:nvSpPr>
        <p:spPr>
          <a:xfrm>
            <a:off x="8482628" y="4972079"/>
            <a:ext cx="337523" cy="92455"/>
          </a:xfrm>
        </p:spPr>
        <p:txBody>
          <a:bodyPr anchor="t"/>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22070734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dustries 2">
    <p:spTree>
      <p:nvGrpSpPr>
        <p:cNvPr id="1" name=""/>
        <p:cNvGrpSpPr/>
        <p:nvPr/>
      </p:nvGrpSpPr>
      <p:grpSpPr>
        <a:xfrm>
          <a:off x="0" y="0"/>
          <a:ext cx="0" cy="0"/>
          <a:chOff x="0" y="0"/>
          <a:chExt cx="0" cy="0"/>
        </a:xfrm>
      </p:grpSpPr>
      <p:sp>
        <p:nvSpPr>
          <p:cNvPr id="3" name="Picture Placeholder 2"/>
          <p:cNvSpPr>
            <a:spLocks noGrp="1"/>
          </p:cNvSpPr>
          <p:nvPr>
            <p:ph type="pic" sz="quarter" idx="44"/>
          </p:nvPr>
        </p:nvSpPr>
        <p:spPr>
          <a:xfrm>
            <a:off x="-4797" y="1230674"/>
            <a:ext cx="3051199" cy="169668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2" name="Text Placeholder 4"/>
          <p:cNvSpPr>
            <a:spLocks noGrp="1"/>
          </p:cNvSpPr>
          <p:nvPr>
            <p:ph type="body" sz="quarter" idx="14" hasCustomPrompt="1"/>
          </p:nvPr>
        </p:nvSpPr>
        <p:spPr>
          <a:xfrm>
            <a:off x="337521" y="1521376"/>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Automotive</a:t>
            </a:r>
          </a:p>
        </p:txBody>
      </p:sp>
      <p:sp>
        <p:nvSpPr>
          <p:cNvPr id="18" name="Picture Placeholder 2"/>
          <p:cNvSpPr>
            <a:spLocks noGrp="1"/>
          </p:cNvSpPr>
          <p:nvPr>
            <p:ph type="pic" sz="quarter" idx="60"/>
          </p:nvPr>
        </p:nvSpPr>
        <p:spPr>
          <a:xfrm>
            <a:off x="3046402" y="1230674"/>
            <a:ext cx="3051199" cy="169668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19" name="Picture Placeholder 2"/>
          <p:cNvSpPr>
            <a:spLocks noGrp="1"/>
          </p:cNvSpPr>
          <p:nvPr>
            <p:ph type="pic" sz="quarter" idx="61"/>
          </p:nvPr>
        </p:nvSpPr>
        <p:spPr>
          <a:xfrm>
            <a:off x="6097601" y="1230674"/>
            <a:ext cx="3051199" cy="169668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0" name="Picture Placeholder 2"/>
          <p:cNvSpPr>
            <a:spLocks noGrp="1"/>
          </p:cNvSpPr>
          <p:nvPr>
            <p:ph type="pic" sz="quarter" idx="62"/>
          </p:nvPr>
        </p:nvSpPr>
        <p:spPr>
          <a:xfrm>
            <a:off x="-3860" y="2922363"/>
            <a:ext cx="3051199" cy="169668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1" name="Picture Placeholder 2"/>
          <p:cNvSpPr>
            <a:spLocks noGrp="1"/>
          </p:cNvSpPr>
          <p:nvPr>
            <p:ph type="pic" sz="quarter" idx="63"/>
          </p:nvPr>
        </p:nvSpPr>
        <p:spPr>
          <a:xfrm>
            <a:off x="3046402" y="2922363"/>
            <a:ext cx="3051199" cy="169668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4" name="Picture Placeholder 2"/>
          <p:cNvSpPr>
            <a:spLocks noGrp="1"/>
          </p:cNvSpPr>
          <p:nvPr>
            <p:ph type="pic" sz="quarter" idx="64"/>
          </p:nvPr>
        </p:nvSpPr>
        <p:spPr>
          <a:xfrm>
            <a:off x="6097601" y="2922363"/>
            <a:ext cx="3051199" cy="169668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5" name="Text Placeholder 4"/>
          <p:cNvSpPr>
            <a:spLocks noGrp="1"/>
          </p:cNvSpPr>
          <p:nvPr>
            <p:ph type="body" sz="quarter" idx="65" hasCustomPrompt="1"/>
          </p:nvPr>
        </p:nvSpPr>
        <p:spPr>
          <a:xfrm>
            <a:off x="3384356" y="1521376"/>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Energy</a:t>
            </a:r>
          </a:p>
        </p:txBody>
      </p:sp>
      <p:sp>
        <p:nvSpPr>
          <p:cNvPr id="26" name="Text Placeholder 4"/>
          <p:cNvSpPr>
            <a:spLocks noGrp="1"/>
          </p:cNvSpPr>
          <p:nvPr>
            <p:ph type="body" sz="quarter" idx="66" hasCustomPrompt="1"/>
          </p:nvPr>
        </p:nvSpPr>
        <p:spPr>
          <a:xfrm>
            <a:off x="6434479" y="1521376"/>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Banking &amp; insurance</a:t>
            </a:r>
          </a:p>
        </p:txBody>
      </p:sp>
      <p:sp>
        <p:nvSpPr>
          <p:cNvPr id="28" name="Text Placeholder 4"/>
          <p:cNvSpPr>
            <a:spLocks noGrp="1"/>
          </p:cNvSpPr>
          <p:nvPr>
            <p:ph type="body" sz="quarter" idx="68" hasCustomPrompt="1"/>
          </p:nvPr>
        </p:nvSpPr>
        <p:spPr>
          <a:xfrm>
            <a:off x="3384356" y="3213064"/>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Consumer goods &amp; retail</a:t>
            </a:r>
          </a:p>
        </p:txBody>
      </p:sp>
      <p:sp>
        <p:nvSpPr>
          <p:cNvPr id="29" name="Text Placeholder 4"/>
          <p:cNvSpPr>
            <a:spLocks noGrp="1"/>
          </p:cNvSpPr>
          <p:nvPr>
            <p:ph type="body" sz="quarter" idx="69" hasCustomPrompt="1"/>
          </p:nvPr>
        </p:nvSpPr>
        <p:spPr>
          <a:xfrm>
            <a:off x="6434467" y="3213064"/>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Rail &amp; transportation</a:t>
            </a:r>
          </a:p>
        </p:txBody>
      </p:sp>
      <p:sp>
        <p:nvSpPr>
          <p:cNvPr id="30" name="Text Placeholder 4"/>
          <p:cNvSpPr>
            <a:spLocks noGrp="1"/>
          </p:cNvSpPr>
          <p:nvPr>
            <p:ph type="body" sz="quarter" idx="70" hasCustomPrompt="1"/>
          </p:nvPr>
        </p:nvSpPr>
        <p:spPr>
          <a:xfrm>
            <a:off x="337523" y="3213064"/>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IT &amp; Media</a:t>
            </a:r>
          </a:p>
        </p:txBody>
      </p:sp>
      <p:sp>
        <p:nvSpPr>
          <p:cNvPr id="31" name="Text Placeholder 4">
            <a:extLst>
              <a:ext uri="{FF2B5EF4-FFF2-40B4-BE49-F238E27FC236}">
                <a16:creationId xmlns:a16="http://schemas.microsoft.com/office/drawing/2014/main" id="{D98578FB-1B83-7749-A494-CCF5A31699C7}"/>
              </a:ext>
            </a:extLst>
          </p:cNvPr>
          <p:cNvSpPr>
            <a:spLocks noGrp="1"/>
          </p:cNvSpPr>
          <p:nvPr>
            <p:ph type="body" sz="quarter" idx="77" hasCustomPrompt="1"/>
          </p:nvPr>
        </p:nvSpPr>
        <p:spPr>
          <a:xfrm>
            <a:off x="323850" y="926938"/>
            <a:ext cx="7117447"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chemeClr val="accent3"/>
                </a:solidFill>
                <a:latin typeface="+mj-lt"/>
              </a:defRPr>
            </a:lvl1pPr>
          </a:lstStyle>
          <a:p>
            <a:r>
              <a:rPr lang="en-US"/>
              <a:t>At a glance</a:t>
            </a:r>
          </a:p>
        </p:txBody>
      </p:sp>
      <p:sp>
        <p:nvSpPr>
          <p:cNvPr id="32" name="Text Placeholder 4">
            <a:extLst>
              <a:ext uri="{FF2B5EF4-FFF2-40B4-BE49-F238E27FC236}">
                <a16:creationId xmlns:a16="http://schemas.microsoft.com/office/drawing/2014/main" id="{31900D05-ECE8-F94F-8255-98CC29FBFED6}"/>
              </a:ext>
            </a:extLst>
          </p:cNvPr>
          <p:cNvSpPr>
            <a:spLocks noGrp="1"/>
          </p:cNvSpPr>
          <p:nvPr>
            <p:ph type="body" sz="quarter" idx="78" hasCustomPrompt="1"/>
          </p:nvPr>
        </p:nvSpPr>
        <p:spPr>
          <a:xfrm>
            <a:off x="323850" y="170007"/>
            <a:ext cx="7117447" cy="747897"/>
          </a:xfrm>
          <a:prstGeom prst="rect">
            <a:avLst/>
          </a:prstGeom>
        </p:spPr>
        <p:txBody>
          <a:bodyPr vert="horz" wrap="square" lIns="0" tIns="0" rIns="0" bIns="0" rtlCol="0">
            <a:spAutoFit/>
          </a:bodyPr>
          <a:lstStyle>
            <a:lvl1pPr marL="0" indent="0">
              <a:buFont typeface="Arial" panose="020B0604020202020204" pitchFamily="34" charset="0"/>
              <a:buNone/>
              <a:tabLst/>
              <a:defRPr lang="en-US" sz="2700" spc="-151" baseline="0" dirty="0">
                <a:solidFill>
                  <a:schemeClr val="accent1"/>
                </a:solidFill>
              </a:defRPr>
            </a:lvl1pPr>
          </a:lstStyle>
          <a:p>
            <a:pPr marL="67498" lvl="0" indent="-67498">
              <a:spcBef>
                <a:spcPts val="0"/>
              </a:spcBef>
            </a:pPr>
            <a:r>
              <a:rPr lang="en-US"/>
              <a:t>Our team is up to the challenge of bridging the gap between key technologies and business </a:t>
            </a:r>
          </a:p>
        </p:txBody>
      </p:sp>
      <p:sp>
        <p:nvSpPr>
          <p:cNvPr id="23" name="Date Placeholder 2">
            <a:extLst>
              <a:ext uri="{FF2B5EF4-FFF2-40B4-BE49-F238E27FC236}">
                <a16:creationId xmlns:a16="http://schemas.microsoft.com/office/drawing/2014/main" id="{DE32AC4D-1322-7346-A456-B5F9D0B7975E}"/>
              </a:ext>
            </a:extLst>
          </p:cNvPr>
          <p:cNvSpPr>
            <a:spLocks noGrp="1"/>
          </p:cNvSpPr>
          <p:nvPr>
            <p:ph type="dt" sz="half" idx="10"/>
          </p:nvPr>
        </p:nvSpPr>
        <p:spPr>
          <a:xfrm>
            <a:off x="324002" y="4972079"/>
            <a:ext cx="494319" cy="92455"/>
          </a:xfrm>
        </p:spPr>
        <p:txBody>
          <a:bodyPr/>
          <a:lstStyle/>
          <a:p>
            <a:fld id="{ACBAE1A8-6364-4FA2-BB86-4FD665B2B68D}" type="datetime1">
              <a:rPr lang="de-DE" smtClean="0"/>
              <a:t>24.01.2024</a:t>
            </a:fld>
            <a:endParaRPr lang="en-US"/>
          </a:p>
        </p:txBody>
      </p:sp>
      <p:sp>
        <p:nvSpPr>
          <p:cNvPr id="33" name="Footer Placeholder 2">
            <a:extLst>
              <a:ext uri="{FF2B5EF4-FFF2-40B4-BE49-F238E27FC236}">
                <a16:creationId xmlns:a16="http://schemas.microsoft.com/office/drawing/2014/main" id="{390ECFE4-F8BA-4A47-B64A-ACDC132E7727}"/>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36" name="Graphic 35">
            <a:extLst>
              <a:ext uri="{FF2B5EF4-FFF2-40B4-BE49-F238E27FC236}">
                <a16:creationId xmlns:a16="http://schemas.microsoft.com/office/drawing/2014/main" id="{8905F514-D44F-054D-A262-0F304748BD2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7" name="Slide Number Placeholder 3">
            <a:extLst>
              <a:ext uri="{FF2B5EF4-FFF2-40B4-BE49-F238E27FC236}">
                <a16:creationId xmlns:a16="http://schemas.microsoft.com/office/drawing/2014/main" id="{7A2D1DE3-5E41-4644-913D-9C8C4413A2AE}"/>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40793652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ndustries 1">
    <p:spTree>
      <p:nvGrpSpPr>
        <p:cNvPr id="1" name=""/>
        <p:cNvGrpSpPr/>
        <p:nvPr/>
      </p:nvGrpSpPr>
      <p:grpSpPr>
        <a:xfrm>
          <a:off x="0" y="0"/>
          <a:ext cx="0" cy="0"/>
          <a:chOff x="0" y="0"/>
          <a:chExt cx="0" cy="0"/>
        </a:xfrm>
      </p:grpSpPr>
      <p:sp>
        <p:nvSpPr>
          <p:cNvPr id="3" name="Picture Placeholder 2"/>
          <p:cNvSpPr>
            <a:spLocks noGrp="1"/>
          </p:cNvSpPr>
          <p:nvPr>
            <p:ph type="pic" sz="quarter" idx="44"/>
          </p:nvPr>
        </p:nvSpPr>
        <p:spPr>
          <a:xfrm>
            <a:off x="-4797" y="1011291"/>
            <a:ext cx="3051199" cy="1822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2" name="Text Placeholder 4"/>
          <p:cNvSpPr>
            <a:spLocks noGrp="1"/>
          </p:cNvSpPr>
          <p:nvPr>
            <p:ph type="body" sz="quarter" idx="14" hasCustomPrompt="1"/>
          </p:nvPr>
        </p:nvSpPr>
        <p:spPr>
          <a:xfrm>
            <a:off x="337521" y="1301993"/>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Automotive</a:t>
            </a:r>
          </a:p>
        </p:txBody>
      </p:sp>
      <p:sp>
        <p:nvSpPr>
          <p:cNvPr id="18" name="Picture Placeholder 2"/>
          <p:cNvSpPr>
            <a:spLocks noGrp="1"/>
          </p:cNvSpPr>
          <p:nvPr>
            <p:ph type="pic" sz="quarter" idx="60"/>
          </p:nvPr>
        </p:nvSpPr>
        <p:spPr>
          <a:xfrm>
            <a:off x="3046402" y="1011291"/>
            <a:ext cx="3051199" cy="1822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19" name="Picture Placeholder 2"/>
          <p:cNvSpPr>
            <a:spLocks noGrp="1"/>
          </p:cNvSpPr>
          <p:nvPr>
            <p:ph type="pic" sz="quarter" idx="61"/>
          </p:nvPr>
        </p:nvSpPr>
        <p:spPr>
          <a:xfrm>
            <a:off x="6097601" y="1011291"/>
            <a:ext cx="3051199" cy="1822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0" name="Picture Placeholder 2"/>
          <p:cNvSpPr>
            <a:spLocks noGrp="1"/>
          </p:cNvSpPr>
          <p:nvPr>
            <p:ph type="pic" sz="quarter" idx="62"/>
          </p:nvPr>
        </p:nvSpPr>
        <p:spPr>
          <a:xfrm>
            <a:off x="-3860" y="2833295"/>
            <a:ext cx="3051199" cy="1822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1" name="Picture Placeholder 2"/>
          <p:cNvSpPr>
            <a:spLocks noGrp="1"/>
          </p:cNvSpPr>
          <p:nvPr>
            <p:ph type="pic" sz="quarter" idx="63"/>
          </p:nvPr>
        </p:nvSpPr>
        <p:spPr>
          <a:xfrm>
            <a:off x="3046402" y="2833295"/>
            <a:ext cx="3051199" cy="1822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4" name="Picture Placeholder 2"/>
          <p:cNvSpPr>
            <a:spLocks noGrp="1"/>
          </p:cNvSpPr>
          <p:nvPr>
            <p:ph type="pic" sz="quarter" idx="64"/>
          </p:nvPr>
        </p:nvSpPr>
        <p:spPr>
          <a:xfrm>
            <a:off x="6097601" y="2833295"/>
            <a:ext cx="3051199" cy="1822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5" name="Text Placeholder 4"/>
          <p:cNvSpPr>
            <a:spLocks noGrp="1"/>
          </p:cNvSpPr>
          <p:nvPr>
            <p:ph type="body" sz="quarter" idx="65" hasCustomPrompt="1"/>
          </p:nvPr>
        </p:nvSpPr>
        <p:spPr>
          <a:xfrm>
            <a:off x="3384356" y="1301993"/>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Energy</a:t>
            </a:r>
          </a:p>
        </p:txBody>
      </p:sp>
      <p:sp>
        <p:nvSpPr>
          <p:cNvPr id="26" name="Text Placeholder 4"/>
          <p:cNvSpPr>
            <a:spLocks noGrp="1"/>
          </p:cNvSpPr>
          <p:nvPr>
            <p:ph type="body" sz="quarter" idx="66" hasCustomPrompt="1"/>
          </p:nvPr>
        </p:nvSpPr>
        <p:spPr>
          <a:xfrm>
            <a:off x="6434479" y="1301993"/>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Banking &amp; insurance</a:t>
            </a:r>
          </a:p>
        </p:txBody>
      </p:sp>
      <p:sp>
        <p:nvSpPr>
          <p:cNvPr id="28" name="Text Placeholder 4"/>
          <p:cNvSpPr>
            <a:spLocks noGrp="1"/>
          </p:cNvSpPr>
          <p:nvPr>
            <p:ph type="body" sz="quarter" idx="68" hasCustomPrompt="1"/>
          </p:nvPr>
        </p:nvSpPr>
        <p:spPr>
          <a:xfrm>
            <a:off x="3384356" y="3123997"/>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Consumer goods &amp; retail</a:t>
            </a:r>
          </a:p>
        </p:txBody>
      </p:sp>
      <p:sp>
        <p:nvSpPr>
          <p:cNvPr id="29" name="Text Placeholder 4"/>
          <p:cNvSpPr>
            <a:spLocks noGrp="1"/>
          </p:cNvSpPr>
          <p:nvPr>
            <p:ph type="body" sz="quarter" idx="69" hasCustomPrompt="1"/>
          </p:nvPr>
        </p:nvSpPr>
        <p:spPr>
          <a:xfrm>
            <a:off x="6434467" y="3123996"/>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Rail &amp; transportation</a:t>
            </a:r>
          </a:p>
        </p:txBody>
      </p:sp>
      <p:sp>
        <p:nvSpPr>
          <p:cNvPr id="30" name="Text Placeholder 4"/>
          <p:cNvSpPr>
            <a:spLocks noGrp="1"/>
          </p:cNvSpPr>
          <p:nvPr>
            <p:ph type="body" sz="quarter" idx="70" hasCustomPrompt="1"/>
          </p:nvPr>
        </p:nvSpPr>
        <p:spPr>
          <a:xfrm>
            <a:off x="337523" y="3123996"/>
            <a:ext cx="2308155" cy="205441"/>
          </a:xfrm>
          <a:prstGeom prst="rect">
            <a:avLst/>
          </a:prstGeom>
        </p:spPr>
        <p:txBody>
          <a:bodyPr wrap="square" lIns="0" tIns="0" rIns="0" bIns="0">
            <a:spAutoFit/>
          </a:bodyPr>
          <a:lstStyle>
            <a:lvl1pPr marL="0" indent="0">
              <a:lnSpc>
                <a:spcPct val="80000"/>
              </a:lnSpc>
              <a:spcBef>
                <a:spcPts val="0"/>
              </a:spcBef>
              <a:buFontTx/>
              <a:buNone/>
              <a:defRPr sz="1651" spc="0" baseline="0">
                <a:solidFill>
                  <a:schemeClr val="bg1"/>
                </a:solidFill>
                <a:latin typeface="+mn-lt"/>
              </a:defRPr>
            </a:lvl1pPr>
          </a:lstStyle>
          <a:p>
            <a:pPr lvl="0"/>
            <a:r>
              <a:rPr lang="en-US"/>
              <a:t>IT &amp; Media</a:t>
            </a:r>
          </a:p>
        </p:txBody>
      </p:sp>
      <p:sp>
        <p:nvSpPr>
          <p:cNvPr id="31" name="Text Placeholder 4">
            <a:extLst>
              <a:ext uri="{FF2B5EF4-FFF2-40B4-BE49-F238E27FC236}">
                <a16:creationId xmlns:a16="http://schemas.microsoft.com/office/drawing/2014/main" id="{D98578FB-1B83-7749-A494-CCF5A31699C7}"/>
              </a:ext>
            </a:extLst>
          </p:cNvPr>
          <p:cNvSpPr>
            <a:spLocks noGrp="1"/>
          </p:cNvSpPr>
          <p:nvPr>
            <p:ph type="body" sz="quarter" idx="77" hasCustomPrompt="1"/>
          </p:nvPr>
        </p:nvSpPr>
        <p:spPr>
          <a:xfrm>
            <a:off x="323850" y="569700"/>
            <a:ext cx="7117447"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chemeClr val="accent3"/>
                </a:solidFill>
                <a:latin typeface="+mj-lt"/>
              </a:defRPr>
            </a:lvl1pPr>
          </a:lstStyle>
          <a:p>
            <a:r>
              <a:rPr lang="en-US"/>
              <a:t>At a glance</a:t>
            </a:r>
          </a:p>
        </p:txBody>
      </p:sp>
      <p:sp>
        <p:nvSpPr>
          <p:cNvPr id="32" name="Text Placeholder 4">
            <a:extLst>
              <a:ext uri="{FF2B5EF4-FFF2-40B4-BE49-F238E27FC236}">
                <a16:creationId xmlns:a16="http://schemas.microsoft.com/office/drawing/2014/main" id="{31900D05-ECE8-F94F-8255-98CC29FBFED6}"/>
              </a:ext>
            </a:extLst>
          </p:cNvPr>
          <p:cNvSpPr>
            <a:spLocks noGrp="1"/>
          </p:cNvSpPr>
          <p:nvPr>
            <p:ph type="body" sz="quarter" idx="78" hasCustomPrompt="1"/>
          </p:nvPr>
        </p:nvSpPr>
        <p:spPr>
          <a:xfrm>
            <a:off x="323850" y="170008"/>
            <a:ext cx="7117447" cy="373949"/>
          </a:xfrm>
          <a:prstGeom prst="rect">
            <a:avLst/>
          </a:prstGeom>
        </p:spPr>
        <p:txBody>
          <a:bodyPr vert="horz" wrap="square" lIns="0" tIns="0" rIns="0" bIns="0" rtlCol="0">
            <a:spAutoFit/>
          </a:bodyPr>
          <a:lstStyle>
            <a:lvl1pPr marL="0" indent="0">
              <a:buFont typeface="Arial" panose="020B0604020202020204" pitchFamily="34" charset="0"/>
              <a:buNone/>
              <a:defRPr lang="en-US" sz="2700" spc="-151" baseline="0" dirty="0">
                <a:solidFill>
                  <a:schemeClr val="accent1"/>
                </a:solidFill>
              </a:defRPr>
            </a:lvl1pPr>
          </a:lstStyle>
          <a:p>
            <a:pPr marL="67498" lvl="0" indent="-67498">
              <a:spcBef>
                <a:spcPts val="0"/>
              </a:spcBef>
            </a:pPr>
            <a:r>
              <a:rPr lang="en-US"/>
              <a:t>We serve a wide range of industries </a:t>
            </a:r>
          </a:p>
        </p:txBody>
      </p:sp>
      <p:sp>
        <p:nvSpPr>
          <p:cNvPr id="23" name="Date Placeholder 2">
            <a:extLst>
              <a:ext uri="{FF2B5EF4-FFF2-40B4-BE49-F238E27FC236}">
                <a16:creationId xmlns:a16="http://schemas.microsoft.com/office/drawing/2014/main" id="{DE32AC4D-1322-7346-A456-B5F9D0B7975E}"/>
              </a:ext>
            </a:extLst>
          </p:cNvPr>
          <p:cNvSpPr>
            <a:spLocks noGrp="1"/>
          </p:cNvSpPr>
          <p:nvPr>
            <p:ph type="dt" sz="half" idx="10"/>
          </p:nvPr>
        </p:nvSpPr>
        <p:spPr>
          <a:xfrm>
            <a:off x="324002" y="4972079"/>
            <a:ext cx="494319" cy="92455"/>
          </a:xfrm>
        </p:spPr>
        <p:txBody>
          <a:bodyPr/>
          <a:lstStyle/>
          <a:p>
            <a:fld id="{B1B2693F-B001-4E12-8983-C3EEDE36869F}" type="datetime1">
              <a:rPr lang="de-DE" smtClean="0"/>
              <a:t>24.01.2024</a:t>
            </a:fld>
            <a:endParaRPr lang="en-US"/>
          </a:p>
        </p:txBody>
      </p:sp>
      <p:sp>
        <p:nvSpPr>
          <p:cNvPr id="33" name="Footer Placeholder 2">
            <a:extLst>
              <a:ext uri="{FF2B5EF4-FFF2-40B4-BE49-F238E27FC236}">
                <a16:creationId xmlns:a16="http://schemas.microsoft.com/office/drawing/2014/main" id="{390ECFE4-F8BA-4A47-B64A-ACDC132E7727}"/>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36" name="Graphic 35">
            <a:extLst>
              <a:ext uri="{FF2B5EF4-FFF2-40B4-BE49-F238E27FC236}">
                <a16:creationId xmlns:a16="http://schemas.microsoft.com/office/drawing/2014/main" id="{8905F514-D44F-054D-A262-0F304748BD2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7" name="Slide Number Placeholder 3">
            <a:extLst>
              <a:ext uri="{FF2B5EF4-FFF2-40B4-BE49-F238E27FC236}">
                <a16:creationId xmlns:a16="http://schemas.microsoft.com/office/drawing/2014/main" id="{7A2D1DE3-5E41-4644-913D-9C8C4413A2AE}"/>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0309869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dustries by numbers">
    <p:spTree>
      <p:nvGrpSpPr>
        <p:cNvPr id="1" name=""/>
        <p:cNvGrpSpPr/>
        <p:nvPr/>
      </p:nvGrpSpPr>
      <p:grpSpPr>
        <a:xfrm>
          <a:off x="0" y="0"/>
          <a:ext cx="0" cy="0"/>
          <a:chOff x="0" y="0"/>
          <a:chExt cx="0" cy="0"/>
        </a:xfrm>
      </p:grpSpPr>
      <p:sp>
        <p:nvSpPr>
          <p:cNvPr id="22" name="Text Placeholder 4"/>
          <p:cNvSpPr>
            <a:spLocks noGrp="1"/>
          </p:cNvSpPr>
          <p:nvPr>
            <p:ph type="body" sz="quarter" idx="14" hasCustomPrompt="1"/>
          </p:nvPr>
        </p:nvSpPr>
        <p:spPr>
          <a:xfrm>
            <a:off x="1102448" y="1444330"/>
            <a:ext cx="1890539" cy="639086"/>
          </a:xfrm>
          <a:prstGeom prst="rect">
            <a:avLst/>
          </a:prstGeom>
        </p:spPr>
        <p:txBody>
          <a:bodyPr wrap="square" lIns="0" tIns="0" rIns="0" bIns="0" anchor="ctr">
            <a:spAutoFit/>
          </a:bodyPr>
          <a:lstStyle>
            <a:lvl1pPr marL="0" indent="0">
              <a:lnSpc>
                <a:spcPct val="80000"/>
              </a:lnSpc>
              <a:spcBef>
                <a:spcPts val="0"/>
              </a:spcBef>
              <a:buFontTx/>
              <a:buNone/>
              <a:defRPr sz="5137" spc="0" baseline="0">
                <a:gradFill flip="none" rotWithShape="1">
                  <a:gsLst>
                    <a:gs pos="0">
                      <a:schemeClr val="tx2"/>
                    </a:gs>
                    <a:gs pos="75000">
                      <a:schemeClr val="tx1"/>
                    </a:gs>
                  </a:gsLst>
                  <a:lin ang="2700000" scaled="1"/>
                  <a:tileRect/>
                </a:gradFill>
                <a:latin typeface="+mn-lt"/>
              </a:defRPr>
            </a:lvl1pPr>
          </a:lstStyle>
          <a:p>
            <a:pPr lvl="0"/>
            <a:r>
              <a:rPr lang="en-US"/>
              <a:t>1000</a:t>
            </a:r>
          </a:p>
        </p:txBody>
      </p:sp>
      <p:sp>
        <p:nvSpPr>
          <p:cNvPr id="23" name="Text Placeholder 4"/>
          <p:cNvSpPr>
            <a:spLocks noGrp="1"/>
          </p:cNvSpPr>
          <p:nvPr>
            <p:ph type="body" sz="quarter" idx="12" hasCustomPrompt="1"/>
          </p:nvPr>
        </p:nvSpPr>
        <p:spPr>
          <a:xfrm>
            <a:off x="1102449" y="2016188"/>
            <a:ext cx="2025132" cy="323422"/>
          </a:xfrm>
          <a:prstGeom prst="rect">
            <a:avLst/>
          </a:prstGeom>
        </p:spPr>
        <p:txBody>
          <a:bodyPr wrap="square" lIns="0" tIns="0" rIns="0" bIns="0">
            <a:spAutoFit/>
          </a:bodyPr>
          <a:lstStyle>
            <a:lvl1pPr marL="0" indent="0">
              <a:lnSpc>
                <a:spcPct val="100000"/>
              </a:lnSpc>
              <a:spcBef>
                <a:spcPts val="0"/>
              </a:spcBef>
              <a:spcAft>
                <a:spcPts val="0"/>
              </a:spcAft>
              <a:buFontTx/>
              <a:buNone/>
              <a:defRPr sz="1051">
                <a:solidFill>
                  <a:srgbClr val="000000"/>
                </a:solidFill>
                <a:latin typeface="+mn-lt"/>
              </a:defRPr>
            </a:lvl1pPr>
          </a:lstStyle>
          <a:p>
            <a:pPr lvl="0"/>
            <a:r>
              <a:rPr lang="en-US"/>
              <a:t>employees</a:t>
            </a:r>
            <a:br>
              <a:rPr lang="en-US"/>
            </a:br>
            <a:r>
              <a:rPr lang="en-US"/>
              <a:t>from 70 nations</a:t>
            </a:r>
          </a:p>
        </p:txBody>
      </p:sp>
      <p:sp>
        <p:nvSpPr>
          <p:cNvPr id="27" name="Text Placeholder 4"/>
          <p:cNvSpPr>
            <a:spLocks noGrp="1"/>
          </p:cNvSpPr>
          <p:nvPr>
            <p:ph type="body" sz="quarter" idx="71" hasCustomPrompt="1"/>
          </p:nvPr>
        </p:nvSpPr>
        <p:spPr>
          <a:xfrm>
            <a:off x="3627210" y="1445579"/>
            <a:ext cx="809677" cy="639086"/>
          </a:xfrm>
          <a:prstGeom prst="rect">
            <a:avLst/>
          </a:prstGeom>
        </p:spPr>
        <p:txBody>
          <a:bodyPr wrap="square" lIns="0" tIns="0" rIns="0" bIns="0" anchor="ctr">
            <a:spAutoFit/>
          </a:bodyPr>
          <a:lstStyle>
            <a:lvl1pPr marL="0" indent="0">
              <a:lnSpc>
                <a:spcPct val="80000"/>
              </a:lnSpc>
              <a:spcBef>
                <a:spcPts val="0"/>
              </a:spcBef>
              <a:buFontTx/>
              <a:buNone/>
              <a:defRPr sz="5137" spc="0" baseline="0">
                <a:gradFill flip="none" rotWithShape="1">
                  <a:gsLst>
                    <a:gs pos="0">
                      <a:schemeClr val="tx2"/>
                    </a:gs>
                    <a:gs pos="75000">
                      <a:schemeClr val="tx1"/>
                    </a:gs>
                  </a:gsLst>
                  <a:lin ang="2700000" scaled="1"/>
                  <a:tileRect/>
                </a:gradFill>
                <a:latin typeface="+mn-lt"/>
              </a:defRPr>
            </a:lvl1pPr>
          </a:lstStyle>
          <a:p>
            <a:pPr lvl="0"/>
            <a:r>
              <a:rPr lang="en-US"/>
              <a:t>11</a:t>
            </a:r>
          </a:p>
        </p:txBody>
      </p:sp>
      <p:sp>
        <p:nvSpPr>
          <p:cNvPr id="31" name="Text Placeholder 4"/>
          <p:cNvSpPr>
            <a:spLocks noGrp="1"/>
          </p:cNvSpPr>
          <p:nvPr>
            <p:ph type="body" sz="quarter" idx="72" hasCustomPrompt="1"/>
          </p:nvPr>
        </p:nvSpPr>
        <p:spPr>
          <a:xfrm>
            <a:off x="3627210" y="2017724"/>
            <a:ext cx="1619951" cy="323422"/>
          </a:xfrm>
          <a:prstGeom prst="rect">
            <a:avLst/>
          </a:prstGeom>
        </p:spPr>
        <p:txBody>
          <a:bodyPr wrap="square" lIns="0" tIns="0" rIns="0" bIns="0">
            <a:spAutoFit/>
          </a:bodyPr>
          <a:lstStyle>
            <a:lvl1pPr marL="0" indent="0">
              <a:lnSpc>
                <a:spcPct val="100000"/>
              </a:lnSpc>
              <a:spcBef>
                <a:spcPts val="0"/>
              </a:spcBef>
              <a:spcAft>
                <a:spcPts val="0"/>
              </a:spcAft>
              <a:buFontTx/>
              <a:buNone/>
              <a:defRPr sz="1051">
                <a:solidFill>
                  <a:srgbClr val="000000"/>
                </a:solidFill>
                <a:latin typeface="+mn-lt"/>
              </a:defRPr>
            </a:lvl1pPr>
          </a:lstStyle>
          <a:p>
            <a:pPr lvl="0"/>
            <a:r>
              <a:rPr lang="en-US"/>
              <a:t>subsidiaries</a:t>
            </a:r>
            <a:br>
              <a:rPr lang="en-US"/>
            </a:br>
            <a:r>
              <a:rPr lang="en-US"/>
              <a:t>within P3</a:t>
            </a:r>
          </a:p>
        </p:txBody>
      </p:sp>
      <p:sp>
        <p:nvSpPr>
          <p:cNvPr id="32" name="Text Placeholder 4"/>
          <p:cNvSpPr>
            <a:spLocks noGrp="1"/>
          </p:cNvSpPr>
          <p:nvPr>
            <p:ph type="body" sz="quarter" idx="73" hasCustomPrompt="1"/>
          </p:nvPr>
        </p:nvSpPr>
        <p:spPr>
          <a:xfrm>
            <a:off x="6151969" y="3110896"/>
            <a:ext cx="1339019" cy="639086"/>
          </a:xfrm>
          <a:prstGeom prst="rect">
            <a:avLst/>
          </a:prstGeom>
        </p:spPr>
        <p:txBody>
          <a:bodyPr wrap="square" lIns="0" tIns="0" rIns="0" bIns="0" anchor="ctr">
            <a:spAutoFit/>
          </a:bodyPr>
          <a:lstStyle>
            <a:lvl1pPr marL="0" indent="0">
              <a:lnSpc>
                <a:spcPct val="80000"/>
              </a:lnSpc>
              <a:spcBef>
                <a:spcPts val="0"/>
              </a:spcBef>
              <a:buFontTx/>
              <a:buNone/>
              <a:defRPr sz="5137" spc="0" baseline="0">
                <a:gradFill flip="none" rotWithShape="1">
                  <a:gsLst>
                    <a:gs pos="0">
                      <a:schemeClr val="tx2"/>
                    </a:gs>
                    <a:gs pos="75000">
                      <a:schemeClr val="tx1"/>
                    </a:gs>
                  </a:gsLst>
                  <a:lin ang="2700000" scaled="1"/>
                  <a:tileRect/>
                </a:gradFill>
                <a:latin typeface="+mn-lt"/>
              </a:defRPr>
            </a:lvl1pPr>
          </a:lstStyle>
          <a:p>
            <a:pPr lvl="0"/>
            <a:r>
              <a:rPr lang="en-US"/>
              <a:t>100</a:t>
            </a:r>
          </a:p>
        </p:txBody>
      </p:sp>
      <p:sp>
        <p:nvSpPr>
          <p:cNvPr id="33" name="Text Placeholder 4"/>
          <p:cNvSpPr>
            <a:spLocks noGrp="1"/>
          </p:cNvSpPr>
          <p:nvPr>
            <p:ph type="body" sz="quarter" idx="74" hasCustomPrompt="1"/>
          </p:nvPr>
        </p:nvSpPr>
        <p:spPr>
          <a:xfrm>
            <a:off x="1102449" y="3682038"/>
            <a:ext cx="1619951" cy="323422"/>
          </a:xfrm>
          <a:prstGeom prst="rect">
            <a:avLst/>
          </a:prstGeom>
        </p:spPr>
        <p:txBody>
          <a:bodyPr wrap="square" lIns="0" tIns="0" rIns="0" bIns="0">
            <a:spAutoFit/>
          </a:bodyPr>
          <a:lstStyle>
            <a:lvl1pPr marL="0" indent="0">
              <a:lnSpc>
                <a:spcPct val="100000"/>
              </a:lnSpc>
              <a:spcBef>
                <a:spcPts val="0"/>
              </a:spcBef>
              <a:spcAft>
                <a:spcPts val="0"/>
              </a:spcAft>
              <a:buFontTx/>
              <a:buNone/>
              <a:defRPr sz="1051">
                <a:solidFill>
                  <a:srgbClr val="000000"/>
                </a:solidFill>
                <a:latin typeface="+mn-lt"/>
              </a:defRPr>
            </a:lvl1pPr>
          </a:lstStyle>
          <a:p>
            <a:pPr lvl="0"/>
            <a:r>
              <a:rPr lang="en-US"/>
              <a:t>locations</a:t>
            </a:r>
            <a:br>
              <a:rPr lang="en-US"/>
            </a:br>
            <a:r>
              <a:rPr lang="en-US"/>
              <a:t>across 3 continents</a:t>
            </a:r>
          </a:p>
        </p:txBody>
      </p:sp>
      <p:sp>
        <p:nvSpPr>
          <p:cNvPr id="34" name="Text Placeholder 4"/>
          <p:cNvSpPr>
            <a:spLocks noGrp="1"/>
          </p:cNvSpPr>
          <p:nvPr>
            <p:ph type="body" sz="quarter" idx="75" hasCustomPrompt="1"/>
          </p:nvPr>
        </p:nvSpPr>
        <p:spPr>
          <a:xfrm>
            <a:off x="3627211" y="3110736"/>
            <a:ext cx="730975" cy="639406"/>
          </a:xfrm>
          <a:prstGeom prst="rect">
            <a:avLst/>
          </a:prstGeom>
        </p:spPr>
        <p:txBody>
          <a:bodyPr wrap="square" lIns="0" tIns="0" rIns="0" bIns="0" anchor="ctr">
            <a:spAutoFit/>
          </a:bodyPr>
          <a:lstStyle>
            <a:lvl1pPr marL="0" indent="0">
              <a:lnSpc>
                <a:spcPct val="80000"/>
              </a:lnSpc>
              <a:spcBef>
                <a:spcPts val="0"/>
              </a:spcBef>
              <a:buFontTx/>
              <a:buNone/>
              <a:defRPr sz="5140" spc="0" baseline="0">
                <a:gradFill flip="none" rotWithShape="1">
                  <a:gsLst>
                    <a:gs pos="0">
                      <a:schemeClr val="tx2"/>
                    </a:gs>
                    <a:gs pos="75000">
                      <a:schemeClr val="tx1"/>
                    </a:gs>
                  </a:gsLst>
                  <a:lin ang="2700000" scaled="1"/>
                  <a:tileRect/>
                </a:gradFill>
                <a:latin typeface="+mn-lt"/>
              </a:defRPr>
            </a:lvl1pPr>
          </a:lstStyle>
          <a:p>
            <a:pPr lvl="0"/>
            <a:r>
              <a:rPr lang="en-US"/>
              <a:t>75</a:t>
            </a:r>
          </a:p>
        </p:txBody>
      </p:sp>
      <p:sp>
        <p:nvSpPr>
          <p:cNvPr id="35" name="Text Placeholder 4"/>
          <p:cNvSpPr>
            <a:spLocks noGrp="1"/>
          </p:cNvSpPr>
          <p:nvPr>
            <p:ph type="body" sz="quarter" idx="76" hasCustomPrompt="1"/>
          </p:nvPr>
        </p:nvSpPr>
        <p:spPr>
          <a:xfrm>
            <a:off x="3627208" y="3680826"/>
            <a:ext cx="2160531" cy="323422"/>
          </a:xfrm>
          <a:prstGeom prst="rect">
            <a:avLst/>
          </a:prstGeom>
        </p:spPr>
        <p:txBody>
          <a:bodyPr wrap="square" lIns="0" tIns="0" rIns="0" bIns="0">
            <a:spAutoFit/>
          </a:bodyPr>
          <a:lstStyle>
            <a:lvl1pPr marL="0" indent="0">
              <a:lnSpc>
                <a:spcPct val="100000"/>
              </a:lnSpc>
              <a:spcBef>
                <a:spcPts val="0"/>
              </a:spcBef>
              <a:spcAft>
                <a:spcPts val="0"/>
              </a:spcAft>
              <a:buFontTx/>
              <a:buNone/>
              <a:defRPr sz="1051">
                <a:solidFill>
                  <a:srgbClr val="000000"/>
                </a:solidFill>
                <a:latin typeface="+mn-lt"/>
              </a:defRPr>
            </a:lvl1pPr>
          </a:lstStyle>
          <a:p>
            <a:pPr lvl="0"/>
            <a:r>
              <a:rPr lang="en-US"/>
              <a:t>75% of our employees are engineers &amp; SW-developers</a:t>
            </a:r>
          </a:p>
        </p:txBody>
      </p:sp>
      <p:sp>
        <p:nvSpPr>
          <p:cNvPr id="15" name="Text Placeholder 4">
            <a:extLst>
              <a:ext uri="{FF2B5EF4-FFF2-40B4-BE49-F238E27FC236}">
                <a16:creationId xmlns:a16="http://schemas.microsoft.com/office/drawing/2014/main" id="{26E0D0C4-5FD4-0642-B295-C0224EA483C1}"/>
              </a:ext>
            </a:extLst>
          </p:cNvPr>
          <p:cNvSpPr>
            <a:spLocks noGrp="1"/>
          </p:cNvSpPr>
          <p:nvPr>
            <p:ph type="body" sz="quarter" idx="77" hasCustomPrompt="1"/>
          </p:nvPr>
        </p:nvSpPr>
        <p:spPr>
          <a:xfrm>
            <a:off x="323850" y="569828"/>
            <a:ext cx="7117447"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chemeClr val="accent3"/>
                </a:solidFill>
                <a:latin typeface="+mj-lt"/>
              </a:defRPr>
            </a:lvl1pPr>
          </a:lstStyle>
          <a:p>
            <a:r>
              <a:rPr lang="en-US"/>
              <a:t>At a glance </a:t>
            </a:r>
          </a:p>
        </p:txBody>
      </p:sp>
      <p:sp>
        <p:nvSpPr>
          <p:cNvPr id="16" name="Text Placeholder 4">
            <a:extLst>
              <a:ext uri="{FF2B5EF4-FFF2-40B4-BE49-F238E27FC236}">
                <a16:creationId xmlns:a16="http://schemas.microsoft.com/office/drawing/2014/main" id="{2F5BDD0F-AFD4-C74B-8245-DADD56631763}"/>
              </a:ext>
            </a:extLst>
          </p:cNvPr>
          <p:cNvSpPr>
            <a:spLocks noGrp="1"/>
          </p:cNvSpPr>
          <p:nvPr>
            <p:ph type="body" sz="quarter" idx="78" hasCustomPrompt="1"/>
          </p:nvPr>
        </p:nvSpPr>
        <p:spPr>
          <a:xfrm>
            <a:off x="323850" y="170008"/>
            <a:ext cx="7117447" cy="373949"/>
          </a:xfrm>
          <a:prstGeom prst="rect">
            <a:avLst/>
          </a:prstGeom>
        </p:spPr>
        <p:txBody>
          <a:bodyPr vert="horz" wrap="square" lIns="0" tIns="0" rIns="0" bIns="0" rtlCol="0">
            <a:spAutoFit/>
          </a:bodyPr>
          <a:lstStyle>
            <a:lvl1pPr marL="0" indent="0">
              <a:buFont typeface="Arial" panose="020B0604020202020204" pitchFamily="34" charset="0"/>
              <a:buNone/>
              <a:defRPr lang="en-US" sz="2700" spc="-151" baseline="0" dirty="0" smtClean="0">
                <a:solidFill>
                  <a:schemeClr val="accent1"/>
                </a:solidFill>
              </a:defRPr>
            </a:lvl1pPr>
          </a:lstStyle>
          <a:p>
            <a:pPr marL="67498" lvl="0" indent="-67498">
              <a:spcBef>
                <a:spcPts val="0"/>
              </a:spcBef>
            </a:pPr>
            <a:r>
              <a:rPr lang="en-US"/>
              <a:t>We serve a wide range of industries </a:t>
            </a:r>
          </a:p>
        </p:txBody>
      </p:sp>
      <p:sp>
        <p:nvSpPr>
          <p:cNvPr id="21" name="Text Placeholder 4">
            <a:extLst>
              <a:ext uri="{FF2B5EF4-FFF2-40B4-BE49-F238E27FC236}">
                <a16:creationId xmlns:a16="http://schemas.microsoft.com/office/drawing/2014/main" id="{281474C2-7C1C-164E-B8DF-CA1BDD3F09F2}"/>
              </a:ext>
            </a:extLst>
          </p:cNvPr>
          <p:cNvSpPr>
            <a:spLocks noGrp="1"/>
          </p:cNvSpPr>
          <p:nvPr>
            <p:ph type="body" sz="quarter" idx="79" hasCustomPrompt="1"/>
          </p:nvPr>
        </p:nvSpPr>
        <p:spPr>
          <a:xfrm>
            <a:off x="1102449" y="3110896"/>
            <a:ext cx="942993" cy="639086"/>
          </a:xfrm>
          <a:prstGeom prst="rect">
            <a:avLst/>
          </a:prstGeom>
        </p:spPr>
        <p:txBody>
          <a:bodyPr wrap="square" lIns="0" tIns="0" rIns="0" bIns="0" anchor="ctr">
            <a:spAutoFit/>
          </a:bodyPr>
          <a:lstStyle>
            <a:lvl1pPr marL="0" indent="0">
              <a:lnSpc>
                <a:spcPct val="80000"/>
              </a:lnSpc>
              <a:spcBef>
                <a:spcPts val="0"/>
              </a:spcBef>
              <a:buFontTx/>
              <a:buNone/>
              <a:defRPr sz="5137" spc="0" baseline="0">
                <a:gradFill flip="none" rotWithShape="1">
                  <a:gsLst>
                    <a:gs pos="0">
                      <a:schemeClr val="tx2"/>
                    </a:gs>
                    <a:gs pos="75000">
                      <a:schemeClr val="tx1"/>
                    </a:gs>
                  </a:gsLst>
                  <a:lin ang="2700000" scaled="1"/>
                  <a:tileRect/>
                </a:gradFill>
                <a:latin typeface="+mn-lt"/>
              </a:defRPr>
            </a:lvl1pPr>
          </a:lstStyle>
          <a:p>
            <a:pPr lvl="0"/>
            <a:r>
              <a:rPr lang="en-US"/>
              <a:t>22</a:t>
            </a:r>
          </a:p>
        </p:txBody>
      </p:sp>
      <p:sp>
        <p:nvSpPr>
          <p:cNvPr id="24" name="Text Placeholder 4">
            <a:extLst>
              <a:ext uri="{FF2B5EF4-FFF2-40B4-BE49-F238E27FC236}">
                <a16:creationId xmlns:a16="http://schemas.microsoft.com/office/drawing/2014/main" id="{1929BA3D-2DB2-7D4B-8D31-151F8FA52AA1}"/>
              </a:ext>
            </a:extLst>
          </p:cNvPr>
          <p:cNvSpPr>
            <a:spLocks noGrp="1"/>
          </p:cNvSpPr>
          <p:nvPr>
            <p:ph type="body" sz="quarter" idx="80" hasCustomPrompt="1"/>
          </p:nvPr>
        </p:nvSpPr>
        <p:spPr>
          <a:xfrm>
            <a:off x="6151971" y="1444330"/>
            <a:ext cx="1053215" cy="639086"/>
          </a:xfrm>
          <a:prstGeom prst="rect">
            <a:avLst/>
          </a:prstGeom>
        </p:spPr>
        <p:txBody>
          <a:bodyPr wrap="square" lIns="0" tIns="0" rIns="0" bIns="0" anchor="ctr">
            <a:spAutoFit/>
          </a:bodyPr>
          <a:lstStyle>
            <a:lvl1pPr marL="0" indent="0">
              <a:lnSpc>
                <a:spcPct val="80000"/>
              </a:lnSpc>
              <a:spcBef>
                <a:spcPts val="0"/>
              </a:spcBef>
              <a:buFontTx/>
              <a:buNone/>
              <a:defRPr sz="5137" spc="0" baseline="0">
                <a:gradFill flip="none" rotWithShape="1">
                  <a:gsLst>
                    <a:gs pos="0">
                      <a:schemeClr val="tx2"/>
                    </a:gs>
                    <a:gs pos="75000">
                      <a:schemeClr val="tx1"/>
                    </a:gs>
                  </a:gsLst>
                  <a:lin ang="2700000" scaled="1"/>
                  <a:tileRect/>
                </a:gradFill>
                <a:latin typeface="+mn-lt"/>
              </a:defRPr>
            </a:lvl1pPr>
          </a:lstStyle>
          <a:p>
            <a:pPr lvl="0"/>
            <a:r>
              <a:rPr lang="en-US"/>
              <a:t>25</a:t>
            </a:r>
          </a:p>
        </p:txBody>
      </p:sp>
      <p:sp>
        <p:nvSpPr>
          <p:cNvPr id="25" name="Text Placeholder 4">
            <a:extLst>
              <a:ext uri="{FF2B5EF4-FFF2-40B4-BE49-F238E27FC236}">
                <a16:creationId xmlns:a16="http://schemas.microsoft.com/office/drawing/2014/main" id="{80D0FE5D-D131-E449-BA58-0293D206948D}"/>
              </a:ext>
            </a:extLst>
          </p:cNvPr>
          <p:cNvSpPr>
            <a:spLocks noGrp="1"/>
          </p:cNvSpPr>
          <p:nvPr>
            <p:ph type="body" sz="quarter" idx="81" hasCustomPrompt="1"/>
          </p:nvPr>
        </p:nvSpPr>
        <p:spPr>
          <a:xfrm>
            <a:off x="6151971" y="2019894"/>
            <a:ext cx="1998304" cy="323422"/>
          </a:xfrm>
          <a:prstGeom prst="rect">
            <a:avLst/>
          </a:prstGeom>
        </p:spPr>
        <p:txBody>
          <a:bodyPr wrap="square" lIns="0" tIns="0" rIns="0" bIns="0">
            <a:spAutoFit/>
          </a:bodyPr>
          <a:lstStyle>
            <a:lvl1pPr marL="0" indent="0">
              <a:lnSpc>
                <a:spcPct val="100000"/>
              </a:lnSpc>
              <a:spcBef>
                <a:spcPts val="0"/>
              </a:spcBef>
              <a:spcAft>
                <a:spcPts val="0"/>
              </a:spcAft>
              <a:buFontTx/>
              <a:buNone/>
              <a:defRPr sz="1051">
                <a:solidFill>
                  <a:srgbClr val="000000"/>
                </a:solidFill>
                <a:latin typeface="+mn-lt"/>
              </a:defRPr>
            </a:lvl1pPr>
          </a:lstStyle>
          <a:p>
            <a:pPr lvl="0"/>
            <a:r>
              <a:rPr lang="en-US"/>
              <a:t>years of experience in Europe, Asia and N. America</a:t>
            </a:r>
          </a:p>
        </p:txBody>
      </p:sp>
      <p:sp>
        <p:nvSpPr>
          <p:cNvPr id="26" name="Text Placeholder 4">
            <a:extLst>
              <a:ext uri="{FF2B5EF4-FFF2-40B4-BE49-F238E27FC236}">
                <a16:creationId xmlns:a16="http://schemas.microsoft.com/office/drawing/2014/main" id="{4699D371-5BBA-7643-877D-C0B8709832F8}"/>
              </a:ext>
            </a:extLst>
          </p:cNvPr>
          <p:cNvSpPr>
            <a:spLocks noGrp="1"/>
          </p:cNvSpPr>
          <p:nvPr>
            <p:ph type="body" sz="quarter" idx="82" hasCustomPrompt="1"/>
          </p:nvPr>
        </p:nvSpPr>
        <p:spPr>
          <a:xfrm>
            <a:off x="6151971" y="3680826"/>
            <a:ext cx="2025132" cy="323422"/>
          </a:xfrm>
          <a:prstGeom prst="rect">
            <a:avLst/>
          </a:prstGeom>
        </p:spPr>
        <p:txBody>
          <a:bodyPr wrap="square" lIns="0" tIns="0" rIns="0" bIns="0">
            <a:spAutoFit/>
          </a:bodyPr>
          <a:lstStyle>
            <a:lvl1pPr marL="0" indent="0">
              <a:lnSpc>
                <a:spcPct val="100000"/>
              </a:lnSpc>
              <a:spcBef>
                <a:spcPts val="0"/>
              </a:spcBef>
              <a:spcAft>
                <a:spcPts val="0"/>
              </a:spcAft>
              <a:buFontTx/>
              <a:buNone/>
              <a:defRPr sz="1051">
                <a:solidFill>
                  <a:srgbClr val="000000"/>
                </a:solidFill>
                <a:latin typeface="+mn-lt"/>
              </a:defRPr>
            </a:lvl1pPr>
          </a:lstStyle>
          <a:p>
            <a:pPr lvl="0"/>
            <a:r>
              <a:rPr lang="en-US"/>
              <a:t>revenue</a:t>
            </a:r>
          </a:p>
          <a:p>
            <a:pPr lvl="0"/>
            <a:r>
              <a:rPr lang="en-US"/>
              <a:t>million € (2018)</a:t>
            </a:r>
          </a:p>
        </p:txBody>
      </p:sp>
      <p:sp>
        <p:nvSpPr>
          <p:cNvPr id="29" name="object 27">
            <a:extLst>
              <a:ext uri="{FF2B5EF4-FFF2-40B4-BE49-F238E27FC236}">
                <a16:creationId xmlns:a16="http://schemas.microsoft.com/office/drawing/2014/main" id="{68A7F23F-E98A-9240-9D1B-255DEFB68AF1}"/>
              </a:ext>
            </a:extLst>
          </p:cNvPr>
          <p:cNvSpPr/>
          <p:nvPr/>
        </p:nvSpPr>
        <p:spPr>
          <a:xfrm>
            <a:off x="1102449" y="2732324"/>
            <a:ext cx="2025132" cy="24072"/>
          </a:xfrm>
          <a:custGeom>
            <a:avLst/>
            <a:gdLst/>
            <a:ahLst/>
            <a:cxnLst/>
            <a:rect l="l" t="t" r="r" b="b"/>
            <a:pathLst>
              <a:path w="20104100">
                <a:moveTo>
                  <a:pt x="0" y="0"/>
                </a:moveTo>
                <a:lnTo>
                  <a:pt x="20104099" y="0"/>
                </a:lnTo>
              </a:path>
            </a:pathLst>
          </a:custGeom>
          <a:ln w="5026">
            <a:solidFill>
              <a:srgbClr val="999999"/>
            </a:solidFill>
          </a:ln>
        </p:spPr>
        <p:txBody>
          <a:bodyPr wrap="square" lIns="0" tIns="0" rIns="0" bIns="0" rtlCol="0"/>
          <a:lstStyle/>
          <a:p>
            <a:endParaRPr sz="675"/>
          </a:p>
        </p:txBody>
      </p:sp>
      <p:sp>
        <p:nvSpPr>
          <p:cNvPr id="30" name="object 27">
            <a:extLst>
              <a:ext uri="{FF2B5EF4-FFF2-40B4-BE49-F238E27FC236}">
                <a16:creationId xmlns:a16="http://schemas.microsoft.com/office/drawing/2014/main" id="{9AF51274-9E33-084E-B38E-EB0B1621A489}"/>
              </a:ext>
            </a:extLst>
          </p:cNvPr>
          <p:cNvSpPr/>
          <p:nvPr/>
        </p:nvSpPr>
        <p:spPr>
          <a:xfrm>
            <a:off x="3627211" y="2732324"/>
            <a:ext cx="2025132" cy="24072"/>
          </a:xfrm>
          <a:custGeom>
            <a:avLst/>
            <a:gdLst/>
            <a:ahLst/>
            <a:cxnLst/>
            <a:rect l="l" t="t" r="r" b="b"/>
            <a:pathLst>
              <a:path w="20104100">
                <a:moveTo>
                  <a:pt x="0" y="0"/>
                </a:moveTo>
                <a:lnTo>
                  <a:pt x="20104099" y="0"/>
                </a:lnTo>
              </a:path>
            </a:pathLst>
          </a:custGeom>
          <a:ln w="5026">
            <a:solidFill>
              <a:srgbClr val="999999"/>
            </a:solidFill>
          </a:ln>
        </p:spPr>
        <p:txBody>
          <a:bodyPr wrap="square" lIns="0" tIns="0" rIns="0" bIns="0" rtlCol="0"/>
          <a:lstStyle/>
          <a:p>
            <a:endParaRPr sz="675"/>
          </a:p>
        </p:txBody>
      </p:sp>
      <p:sp>
        <p:nvSpPr>
          <p:cNvPr id="36" name="object 27">
            <a:extLst>
              <a:ext uri="{FF2B5EF4-FFF2-40B4-BE49-F238E27FC236}">
                <a16:creationId xmlns:a16="http://schemas.microsoft.com/office/drawing/2014/main" id="{04C7FA5A-190D-884A-B561-2A2E094EAE67}"/>
              </a:ext>
            </a:extLst>
          </p:cNvPr>
          <p:cNvSpPr/>
          <p:nvPr/>
        </p:nvSpPr>
        <p:spPr>
          <a:xfrm>
            <a:off x="6151971" y="2732324"/>
            <a:ext cx="2025132" cy="24072"/>
          </a:xfrm>
          <a:custGeom>
            <a:avLst/>
            <a:gdLst/>
            <a:ahLst/>
            <a:cxnLst/>
            <a:rect l="l" t="t" r="r" b="b"/>
            <a:pathLst>
              <a:path w="20104100">
                <a:moveTo>
                  <a:pt x="0" y="0"/>
                </a:moveTo>
                <a:lnTo>
                  <a:pt x="20104099" y="0"/>
                </a:lnTo>
              </a:path>
            </a:pathLst>
          </a:custGeom>
          <a:ln w="5026">
            <a:solidFill>
              <a:srgbClr val="999999"/>
            </a:solidFill>
          </a:ln>
        </p:spPr>
        <p:txBody>
          <a:bodyPr wrap="square" lIns="0" tIns="0" rIns="0" bIns="0" rtlCol="0"/>
          <a:lstStyle/>
          <a:p>
            <a:endParaRPr sz="675"/>
          </a:p>
        </p:txBody>
      </p:sp>
      <p:sp>
        <p:nvSpPr>
          <p:cNvPr id="20" name="Text Placeholder 4">
            <a:extLst>
              <a:ext uri="{FF2B5EF4-FFF2-40B4-BE49-F238E27FC236}">
                <a16:creationId xmlns:a16="http://schemas.microsoft.com/office/drawing/2014/main" id="{529899BB-35A1-EB43-9FE1-4B345A3C340F}"/>
              </a:ext>
            </a:extLst>
          </p:cNvPr>
          <p:cNvSpPr>
            <a:spLocks noGrp="1"/>
          </p:cNvSpPr>
          <p:nvPr>
            <p:ph type="body" sz="quarter" idx="83" hasCustomPrompt="1"/>
          </p:nvPr>
        </p:nvSpPr>
        <p:spPr>
          <a:xfrm>
            <a:off x="4358185" y="3117854"/>
            <a:ext cx="302027" cy="280077"/>
          </a:xfrm>
          <a:prstGeom prst="rect">
            <a:avLst/>
          </a:prstGeom>
        </p:spPr>
        <p:txBody>
          <a:bodyPr wrap="square" lIns="0" tIns="0" rIns="0" bIns="0" anchor="ctr">
            <a:spAutoFit/>
          </a:bodyPr>
          <a:lstStyle>
            <a:lvl1pPr marL="0" indent="0">
              <a:lnSpc>
                <a:spcPct val="80000"/>
              </a:lnSpc>
              <a:spcBef>
                <a:spcPts val="0"/>
              </a:spcBef>
              <a:buFontTx/>
              <a:buNone/>
              <a:defRPr sz="2251" spc="0" baseline="0">
                <a:gradFill flip="none" rotWithShape="1">
                  <a:gsLst>
                    <a:gs pos="0">
                      <a:schemeClr val="tx2"/>
                    </a:gs>
                    <a:gs pos="75000">
                      <a:schemeClr val="tx1"/>
                    </a:gs>
                  </a:gsLst>
                  <a:lin ang="2700000" scaled="1"/>
                  <a:tileRect/>
                </a:gradFill>
                <a:latin typeface="+mn-lt"/>
              </a:defRPr>
            </a:lvl1pPr>
          </a:lstStyle>
          <a:p>
            <a:pPr lvl="0"/>
            <a:r>
              <a:rPr lang="en-US"/>
              <a:t>%</a:t>
            </a:r>
          </a:p>
        </p:txBody>
      </p:sp>
      <p:sp>
        <p:nvSpPr>
          <p:cNvPr id="28" name="Date Placeholder 2">
            <a:extLst>
              <a:ext uri="{FF2B5EF4-FFF2-40B4-BE49-F238E27FC236}">
                <a16:creationId xmlns:a16="http://schemas.microsoft.com/office/drawing/2014/main" id="{8A136441-DA92-7443-9D56-109D5F1E4F1D}"/>
              </a:ext>
            </a:extLst>
          </p:cNvPr>
          <p:cNvSpPr>
            <a:spLocks noGrp="1"/>
          </p:cNvSpPr>
          <p:nvPr>
            <p:ph type="dt" sz="half" idx="10"/>
          </p:nvPr>
        </p:nvSpPr>
        <p:spPr>
          <a:xfrm>
            <a:off x="323851" y="4972079"/>
            <a:ext cx="494319" cy="92455"/>
          </a:xfrm>
        </p:spPr>
        <p:txBody>
          <a:bodyPr/>
          <a:lstStyle/>
          <a:p>
            <a:fld id="{D91E9AA8-B9E4-4DBE-A5E5-2AF8DF0488CD}" type="datetime1">
              <a:rPr lang="de-DE" smtClean="0"/>
              <a:t>24.01.2024</a:t>
            </a:fld>
            <a:endParaRPr lang="en-US"/>
          </a:p>
        </p:txBody>
      </p:sp>
      <p:sp>
        <p:nvSpPr>
          <p:cNvPr id="39" name="object 27">
            <a:extLst>
              <a:ext uri="{FF2B5EF4-FFF2-40B4-BE49-F238E27FC236}">
                <a16:creationId xmlns:a16="http://schemas.microsoft.com/office/drawing/2014/main" id="{EC96074D-80C6-48BC-BD61-10874A2F0E84}"/>
              </a:ext>
            </a:extLst>
          </p:cNvPr>
          <p:cNvSpPr/>
          <p:nvPr userDrawn="1"/>
        </p:nvSpPr>
        <p:spPr>
          <a:xfrm>
            <a:off x="1102449" y="2732324"/>
            <a:ext cx="2025132" cy="24072"/>
          </a:xfrm>
          <a:custGeom>
            <a:avLst/>
            <a:gdLst/>
            <a:ahLst/>
            <a:cxnLst/>
            <a:rect l="l" t="t" r="r" b="b"/>
            <a:pathLst>
              <a:path w="20104100">
                <a:moveTo>
                  <a:pt x="0" y="0"/>
                </a:moveTo>
                <a:lnTo>
                  <a:pt x="20104099" y="0"/>
                </a:lnTo>
              </a:path>
            </a:pathLst>
          </a:custGeom>
          <a:ln w="5026">
            <a:solidFill>
              <a:srgbClr val="999999"/>
            </a:solidFill>
          </a:ln>
        </p:spPr>
        <p:txBody>
          <a:bodyPr wrap="square" lIns="0" tIns="0" rIns="0" bIns="0" rtlCol="0"/>
          <a:lstStyle/>
          <a:p>
            <a:endParaRPr sz="253"/>
          </a:p>
        </p:txBody>
      </p:sp>
      <p:sp>
        <p:nvSpPr>
          <p:cNvPr id="41" name="object 27">
            <a:extLst>
              <a:ext uri="{FF2B5EF4-FFF2-40B4-BE49-F238E27FC236}">
                <a16:creationId xmlns:a16="http://schemas.microsoft.com/office/drawing/2014/main" id="{88C8DB49-3E2E-466B-95F5-98BC64378DCB}"/>
              </a:ext>
            </a:extLst>
          </p:cNvPr>
          <p:cNvSpPr/>
          <p:nvPr userDrawn="1"/>
        </p:nvSpPr>
        <p:spPr>
          <a:xfrm>
            <a:off x="3627211" y="2732324"/>
            <a:ext cx="2025132" cy="24072"/>
          </a:xfrm>
          <a:custGeom>
            <a:avLst/>
            <a:gdLst/>
            <a:ahLst/>
            <a:cxnLst/>
            <a:rect l="l" t="t" r="r" b="b"/>
            <a:pathLst>
              <a:path w="20104100">
                <a:moveTo>
                  <a:pt x="0" y="0"/>
                </a:moveTo>
                <a:lnTo>
                  <a:pt x="20104099" y="0"/>
                </a:lnTo>
              </a:path>
            </a:pathLst>
          </a:custGeom>
          <a:ln w="5026">
            <a:solidFill>
              <a:srgbClr val="999999"/>
            </a:solidFill>
          </a:ln>
        </p:spPr>
        <p:txBody>
          <a:bodyPr wrap="square" lIns="0" tIns="0" rIns="0" bIns="0" rtlCol="0"/>
          <a:lstStyle/>
          <a:p>
            <a:endParaRPr sz="253"/>
          </a:p>
        </p:txBody>
      </p:sp>
      <p:sp>
        <p:nvSpPr>
          <p:cNvPr id="42" name="object 27">
            <a:extLst>
              <a:ext uri="{FF2B5EF4-FFF2-40B4-BE49-F238E27FC236}">
                <a16:creationId xmlns:a16="http://schemas.microsoft.com/office/drawing/2014/main" id="{801F6CE0-26C6-4C81-8171-2751482FB2B9}"/>
              </a:ext>
            </a:extLst>
          </p:cNvPr>
          <p:cNvSpPr/>
          <p:nvPr userDrawn="1"/>
        </p:nvSpPr>
        <p:spPr>
          <a:xfrm>
            <a:off x="6151971" y="2732324"/>
            <a:ext cx="2025132" cy="24072"/>
          </a:xfrm>
          <a:custGeom>
            <a:avLst/>
            <a:gdLst/>
            <a:ahLst/>
            <a:cxnLst/>
            <a:rect l="l" t="t" r="r" b="b"/>
            <a:pathLst>
              <a:path w="20104100">
                <a:moveTo>
                  <a:pt x="0" y="0"/>
                </a:moveTo>
                <a:lnTo>
                  <a:pt x="20104099" y="0"/>
                </a:lnTo>
              </a:path>
            </a:pathLst>
          </a:custGeom>
          <a:ln w="5026">
            <a:solidFill>
              <a:srgbClr val="999999"/>
            </a:solidFill>
          </a:ln>
        </p:spPr>
        <p:txBody>
          <a:bodyPr wrap="square" lIns="0" tIns="0" rIns="0" bIns="0" rtlCol="0"/>
          <a:lstStyle/>
          <a:p>
            <a:endParaRPr sz="253"/>
          </a:p>
        </p:txBody>
      </p:sp>
      <p:sp>
        <p:nvSpPr>
          <p:cNvPr id="43" name="Footer Placeholder 2">
            <a:extLst>
              <a:ext uri="{FF2B5EF4-FFF2-40B4-BE49-F238E27FC236}">
                <a16:creationId xmlns:a16="http://schemas.microsoft.com/office/drawing/2014/main" id="{9C040585-FD13-8648-AC59-B2CF40EEA679}"/>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44" name="Graphic 43">
            <a:extLst>
              <a:ext uri="{FF2B5EF4-FFF2-40B4-BE49-F238E27FC236}">
                <a16:creationId xmlns:a16="http://schemas.microsoft.com/office/drawing/2014/main" id="{A7B2A008-3B86-654E-A43F-7EB1F0EACCD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45" name="Slide Number Placeholder 3">
            <a:extLst>
              <a:ext uri="{FF2B5EF4-FFF2-40B4-BE49-F238E27FC236}">
                <a16:creationId xmlns:a16="http://schemas.microsoft.com/office/drawing/2014/main" id="{7009E667-5EE1-C849-8502-BBF980A745E4}"/>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24143294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ocation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26E0D0C4-5FD4-0642-B295-C0224EA483C1}"/>
              </a:ext>
            </a:extLst>
          </p:cNvPr>
          <p:cNvSpPr>
            <a:spLocks noGrp="1"/>
          </p:cNvSpPr>
          <p:nvPr>
            <p:ph type="body" sz="quarter" idx="77" hasCustomPrompt="1"/>
          </p:nvPr>
        </p:nvSpPr>
        <p:spPr>
          <a:xfrm>
            <a:off x="323852" y="569828"/>
            <a:ext cx="7122897"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rgbClr val="3399FF"/>
                </a:solidFill>
                <a:latin typeface="+mj-lt"/>
              </a:defRPr>
            </a:lvl1pPr>
          </a:lstStyle>
          <a:p>
            <a:r>
              <a:rPr lang="en-US"/>
              <a:t>At a glance </a:t>
            </a:r>
          </a:p>
        </p:txBody>
      </p:sp>
      <p:sp>
        <p:nvSpPr>
          <p:cNvPr id="16" name="Text Placeholder 4">
            <a:extLst>
              <a:ext uri="{FF2B5EF4-FFF2-40B4-BE49-F238E27FC236}">
                <a16:creationId xmlns:a16="http://schemas.microsoft.com/office/drawing/2014/main" id="{2F5BDD0F-AFD4-C74B-8245-DADD56631763}"/>
              </a:ext>
            </a:extLst>
          </p:cNvPr>
          <p:cNvSpPr>
            <a:spLocks noGrp="1"/>
          </p:cNvSpPr>
          <p:nvPr>
            <p:ph type="body" sz="quarter" idx="78" hasCustomPrompt="1"/>
          </p:nvPr>
        </p:nvSpPr>
        <p:spPr>
          <a:xfrm>
            <a:off x="324001" y="170008"/>
            <a:ext cx="7109225" cy="373949"/>
          </a:xfrm>
          <a:prstGeom prst="rect">
            <a:avLst/>
          </a:prstGeom>
        </p:spPr>
        <p:txBody>
          <a:bodyPr vert="horz" wrap="square" lIns="0" tIns="0" rIns="0" bIns="0" rtlCol="0">
            <a:spAutoFit/>
          </a:bodyPr>
          <a:lstStyle>
            <a:lvl1pPr marL="0" indent="0">
              <a:buFont typeface="Arial" panose="020B0604020202020204" pitchFamily="34" charset="0"/>
              <a:buNone/>
              <a:defRPr lang="en-US" sz="2700" spc="-151" baseline="0" dirty="0" smtClean="0">
                <a:solidFill>
                  <a:schemeClr val="bg1"/>
                </a:solidFill>
              </a:defRPr>
            </a:lvl1pPr>
          </a:lstStyle>
          <a:p>
            <a:pPr marL="67498" lvl="0" indent="-67498">
              <a:spcBef>
                <a:spcPts val="0"/>
              </a:spcBef>
            </a:pPr>
            <a:r>
              <a:rPr lang="en-US"/>
              <a:t>We serve a wide range of industries </a:t>
            </a:r>
          </a:p>
        </p:txBody>
      </p:sp>
      <p:pic>
        <p:nvPicPr>
          <p:cNvPr id="28" name="Graphic 27">
            <a:extLst>
              <a:ext uri="{FF2B5EF4-FFF2-40B4-BE49-F238E27FC236}">
                <a16:creationId xmlns:a16="http://schemas.microsoft.com/office/drawing/2014/main" id="{2479A389-35E1-C04E-BD47-C2126F0E89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06179" y="1402970"/>
            <a:ext cx="4702623" cy="2461801"/>
          </a:xfrm>
          <a:prstGeom prst="rect">
            <a:avLst/>
          </a:prstGeom>
        </p:spPr>
      </p:pic>
      <p:sp>
        <p:nvSpPr>
          <p:cNvPr id="63" name="Oval 62">
            <a:extLst>
              <a:ext uri="{FF2B5EF4-FFF2-40B4-BE49-F238E27FC236}">
                <a16:creationId xmlns:a16="http://schemas.microsoft.com/office/drawing/2014/main" id="{FC09CB9E-CDCA-234D-8688-7D8EF2276D70}"/>
              </a:ext>
            </a:extLst>
          </p:cNvPr>
          <p:cNvSpPr/>
          <p:nvPr/>
        </p:nvSpPr>
        <p:spPr>
          <a:xfrm>
            <a:off x="7974283" y="2328713"/>
            <a:ext cx="48603" cy="48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675"/>
          </a:p>
        </p:txBody>
      </p:sp>
      <p:sp>
        <p:nvSpPr>
          <p:cNvPr id="64" name="Oval 63">
            <a:extLst>
              <a:ext uri="{FF2B5EF4-FFF2-40B4-BE49-F238E27FC236}">
                <a16:creationId xmlns:a16="http://schemas.microsoft.com/office/drawing/2014/main" id="{0D45B477-E217-AE43-AE6B-0194F68198D8}"/>
              </a:ext>
            </a:extLst>
          </p:cNvPr>
          <p:cNvSpPr/>
          <p:nvPr/>
        </p:nvSpPr>
        <p:spPr>
          <a:xfrm>
            <a:off x="6699421" y="2329052"/>
            <a:ext cx="48603" cy="48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675"/>
          </a:p>
        </p:txBody>
      </p:sp>
      <p:sp>
        <p:nvSpPr>
          <p:cNvPr id="20" name="Date Placeholder 2">
            <a:extLst>
              <a:ext uri="{FF2B5EF4-FFF2-40B4-BE49-F238E27FC236}">
                <a16:creationId xmlns:a16="http://schemas.microsoft.com/office/drawing/2014/main" id="{DD686842-45DD-A743-A86B-048D3769C80E}"/>
              </a:ext>
            </a:extLst>
          </p:cNvPr>
          <p:cNvSpPr>
            <a:spLocks noGrp="1"/>
          </p:cNvSpPr>
          <p:nvPr>
            <p:ph type="dt" sz="half" idx="79"/>
          </p:nvPr>
        </p:nvSpPr>
        <p:spPr>
          <a:xfrm>
            <a:off x="323851" y="4972079"/>
            <a:ext cx="494319" cy="92455"/>
          </a:xfrm>
        </p:spPr>
        <p:txBody>
          <a:bodyPr/>
          <a:lstStyle>
            <a:lvl1pPr>
              <a:defRPr>
                <a:solidFill>
                  <a:schemeClr val="bg1">
                    <a:alpha val="50000"/>
                  </a:schemeClr>
                </a:solidFill>
              </a:defRPr>
            </a:lvl1pPr>
          </a:lstStyle>
          <a:p>
            <a:fld id="{476EDD5B-DD2D-464F-98F8-072654744C06}" type="datetime1">
              <a:rPr lang="de-DE" smtClean="0"/>
              <a:t>24.01.2024</a:t>
            </a:fld>
            <a:endParaRPr lang="en-US"/>
          </a:p>
        </p:txBody>
      </p:sp>
      <p:pic>
        <p:nvPicPr>
          <p:cNvPr id="17" name="Graphic 16">
            <a:extLst>
              <a:ext uri="{FF2B5EF4-FFF2-40B4-BE49-F238E27FC236}">
                <a16:creationId xmlns:a16="http://schemas.microsoft.com/office/drawing/2014/main" id="{2032916B-69A7-4AA7-9047-F38B2CD89B7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06179" y="1402970"/>
            <a:ext cx="4702623" cy="2461801"/>
          </a:xfrm>
          <a:prstGeom prst="rect">
            <a:avLst/>
          </a:prstGeom>
        </p:spPr>
      </p:pic>
      <p:sp>
        <p:nvSpPr>
          <p:cNvPr id="26" name="Oval 25">
            <a:extLst>
              <a:ext uri="{FF2B5EF4-FFF2-40B4-BE49-F238E27FC236}">
                <a16:creationId xmlns:a16="http://schemas.microsoft.com/office/drawing/2014/main" id="{F6CC0ABD-C6B6-449C-A856-6992733EC329}"/>
              </a:ext>
            </a:extLst>
          </p:cNvPr>
          <p:cNvSpPr/>
          <p:nvPr userDrawn="1"/>
        </p:nvSpPr>
        <p:spPr>
          <a:xfrm>
            <a:off x="7974283" y="2328713"/>
            <a:ext cx="48603" cy="48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253"/>
          </a:p>
        </p:txBody>
      </p:sp>
      <p:sp>
        <p:nvSpPr>
          <p:cNvPr id="27" name="Oval 26">
            <a:extLst>
              <a:ext uri="{FF2B5EF4-FFF2-40B4-BE49-F238E27FC236}">
                <a16:creationId xmlns:a16="http://schemas.microsoft.com/office/drawing/2014/main" id="{8BAD62F0-E82B-4F15-9424-8B7A3CB4A9F0}"/>
              </a:ext>
            </a:extLst>
          </p:cNvPr>
          <p:cNvSpPr/>
          <p:nvPr userDrawn="1"/>
        </p:nvSpPr>
        <p:spPr>
          <a:xfrm>
            <a:off x="6699421" y="2329052"/>
            <a:ext cx="48603" cy="48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253"/>
          </a:p>
        </p:txBody>
      </p:sp>
      <p:sp>
        <p:nvSpPr>
          <p:cNvPr id="30" name="Oval 29">
            <a:extLst>
              <a:ext uri="{FF2B5EF4-FFF2-40B4-BE49-F238E27FC236}">
                <a16:creationId xmlns:a16="http://schemas.microsoft.com/office/drawing/2014/main" id="{645A298A-EE45-4BB7-A7BB-9F68A893C106}"/>
              </a:ext>
            </a:extLst>
          </p:cNvPr>
          <p:cNvSpPr/>
          <p:nvPr userDrawn="1"/>
        </p:nvSpPr>
        <p:spPr>
          <a:xfrm>
            <a:off x="6165028" y="2460776"/>
            <a:ext cx="48603" cy="48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253"/>
          </a:p>
        </p:txBody>
      </p:sp>
      <p:sp>
        <p:nvSpPr>
          <p:cNvPr id="18" name="Footer Placeholder 3">
            <a:extLst>
              <a:ext uri="{FF2B5EF4-FFF2-40B4-BE49-F238E27FC236}">
                <a16:creationId xmlns:a16="http://schemas.microsoft.com/office/drawing/2014/main" id="{E747F29B-F6DB-E74A-8874-F2B248E9CC88}"/>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9" name="Graphic 18">
            <a:extLst>
              <a:ext uri="{FF2B5EF4-FFF2-40B4-BE49-F238E27FC236}">
                <a16:creationId xmlns:a16="http://schemas.microsoft.com/office/drawing/2014/main" id="{7CD14DDA-3B32-DD44-8C4B-C6CB59232D4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07908" y="202500"/>
            <a:ext cx="312243" cy="302760"/>
          </a:xfrm>
          <a:prstGeom prst="rect">
            <a:avLst/>
          </a:prstGeom>
        </p:spPr>
      </p:pic>
      <p:sp>
        <p:nvSpPr>
          <p:cNvPr id="24" name="Slide Number Placeholder 4">
            <a:extLst>
              <a:ext uri="{FF2B5EF4-FFF2-40B4-BE49-F238E27FC236}">
                <a16:creationId xmlns:a16="http://schemas.microsoft.com/office/drawing/2014/main" id="{15045353-A334-CD47-B40A-8525BB81AECD}"/>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665426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bout">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26E0D0C4-5FD4-0642-B295-C0224EA483C1}"/>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At a glance </a:t>
            </a:r>
          </a:p>
        </p:txBody>
      </p:sp>
      <p:sp>
        <p:nvSpPr>
          <p:cNvPr id="16" name="Text Placeholder 4">
            <a:extLst>
              <a:ext uri="{FF2B5EF4-FFF2-40B4-BE49-F238E27FC236}">
                <a16:creationId xmlns:a16="http://schemas.microsoft.com/office/drawing/2014/main" id="{2F5BDD0F-AFD4-C74B-8245-DADD56631763}"/>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Font typeface="Arial" panose="020B0604020202020204" pitchFamily="34" charset="0"/>
              <a:buNone/>
              <a:defRPr lang="en-US" sz="2700" spc="-151" baseline="0" dirty="0">
                <a:solidFill>
                  <a:schemeClr val="accent1"/>
                </a:solidFill>
              </a:defRPr>
            </a:lvl1pPr>
          </a:lstStyle>
          <a:p>
            <a:pPr marL="67498" lvl="0" indent="-67498">
              <a:spcBef>
                <a:spcPts val="0"/>
              </a:spcBef>
            </a:pPr>
            <a:r>
              <a:rPr lang="en-US"/>
              <a:t>We place customers at the heart of our organization </a:t>
            </a:r>
          </a:p>
        </p:txBody>
      </p:sp>
      <p:grpSp>
        <p:nvGrpSpPr>
          <p:cNvPr id="2" name="Group 1">
            <a:extLst>
              <a:ext uri="{FF2B5EF4-FFF2-40B4-BE49-F238E27FC236}">
                <a16:creationId xmlns:a16="http://schemas.microsoft.com/office/drawing/2014/main" id="{154FB1E1-E5C0-9F41-B2D9-61818F1FBEC4}"/>
              </a:ext>
            </a:extLst>
          </p:cNvPr>
          <p:cNvGrpSpPr/>
          <p:nvPr/>
        </p:nvGrpSpPr>
        <p:grpSpPr>
          <a:xfrm>
            <a:off x="5177509" y="1124691"/>
            <a:ext cx="3404623" cy="3108477"/>
            <a:chOff x="15279925" y="4013010"/>
            <a:chExt cx="6611653" cy="6036942"/>
          </a:xfrm>
        </p:grpSpPr>
        <p:sp>
          <p:nvSpPr>
            <p:cNvPr id="28" name="object 2">
              <a:extLst>
                <a:ext uri="{FF2B5EF4-FFF2-40B4-BE49-F238E27FC236}">
                  <a16:creationId xmlns:a16="http://schemas.microsoft.com/office/drawing/2014/main" id="{C90A7146-3D90-404F-997B-A820E22D1F4E}"/>
                </a:ext>
              </a:extLst>
            </p:cNvPr>
            <p:cNvSpPr/>
            <p:nvPr/>
          </p:nvSpPr>
          <p:spPr>
            <a:xfrm>
              <a:off x="16137144" y="5224587"/>
              <a:ext cx="4825365" cy="4825365"/>
            </a:xfrm>
            <a:custGeom>
              <a:avLst/>
              <a:gdLst/>
              <a:ahLst/>
              <a:cxnLst/>
              <a:rect l="l" t="t" r="r" b="b"/>
              <a:pathLst>
                <a:path w="4825365" h="4825365">
                  <a:moveTo>
                    <a:pt x="4824983" y="2412491"/>
                  </a:moveTo>
                  <a:lnTo>
                    <a:pt x="4824514" y="2460538"/>
                  </a:lnTo>
                  <a:lnTo>
                    <a:pt x="4823113" y="2508357"/>
                  </a:lnTo>
                  <a:lnTo>
                    <a:pt x="4820789" y="2555938"/>
                  </a:lnTo>
                  <a:lnTo>
                    <a:pt x="4817550" y="2603274"/>
                  </a:lnTo>
                  <a:lnTo>
                    <a:pt x="4813405" y="2650355"/>
                  </a:lnTo>
                  <a:lnTo>
                    <a:pt x="4808363" y="2697174"/>
                  </a:lnTo>
                  <a:lnTo>
                    <a:pt x="4802432" y="2743720"/>
                  </a:lnTo>
                  <a:lnTo>
                    <a:pt x="4795621" y="2789986"/>
                  </a:lnTo>
                  <a:lnTo>
                    <a:pt x="4787939" y="2835962"/>
                  </a:lnTo>
                  <a:lnTo>
                    <a:pt x="4779395" y="2881641"/>
                  </a:lnTo>
                  <a:lnTo>
                    <a:pt x="4769996" y="2927013"/>
                  </a:lnTo>
                  <a:lnTo>
                    <a:pt x="4759753" y="2972070"/>
                  </a:lnTo>
                  <a:lnTo>
                    <a:pt x="4748673" y="3016803"/>
                  </a:lnTo>
                  <a:lnTo>
                    <a:pt x="4736765" y="3061203"/>
                  </a:lnTo>
                  <a:lnTo>
                    <a:pt x="4724038" y="3105262"/>
                  </a:lnTo>
                  <a:lnTo>
                    <a:pt x="4710500" y="3148970"/>
                  </a:lnTo>
                  <a:lnTo>
                    <a:pt x="4696161" y="3192321"/>
                  </a:lnTo>
                  <a:lnTo>
                    <a:pt x="4681029" y="3235303"/>
                  </a:lnTo>
                  <a:lnTo>
                    <a:pt x="4665112" y="3277910"/>
                  </a:lnTo>
                  <a:lnTo>
                    <a:pt x="4648420" y="3320132"/>
                  </a:lnTo>
                  <a:lnTo>
                    <a:pt x="4630961" y="3361960"/>
                  </a:lnTo>
                  <a:lnTo>
                    <a:pt x="4612744" y="3403387"/>
                  </a:lnTo>
                  <a:lnTo>
                    <a:pt x="4593776" y="3444402"/>
                  </a:lnTo>
                  <a:lnTo>
                    <a:pt x="4574068" y="3484998"/>
                  </a:lnTo>
                  <a:lnTo>
                    <a:pt x="4553628" y="3525166"/>
                  </a:lnTo>
                  <a:lnTo>
                    <a:pt x="4532464" y="3564897"/>
                  </a:lnTo>
                  <a:lnTo>
                    <a:pt x="4510585" y="3604182"/>
                  </a:lnTo>
                  <a:lnTo>
                    <a:pt x="4488000" y="3643013"/>
                  </a:lnTo>
                  <a:lnTo>
                    <a:pt x="4464718" y="3681382"/>
                  </a:lnTo>
                  <a:lnTo>
                    <a:pt x="4440747" y="3719278"/>
                  </a:lnTo>
                  <a:lnTo>
                    <a:pt x="4416096" y="3756694"/>
                  </a:lnTo>
                  <a:lnTo>
                    <a:pt x="4390773" y="3793621"/>
                  </a:lnTo>
                  <a:lnTo>
                    <a:pt x="4364787" y="3830051"/>
                  </a:lnTo>
                  <a:lnTo>
                    <a:pt x="4338148" y="3865974"/>
                  </a:lnTo>
                  <a:lnTo>
                    <a:pt x="4310863" y="3901382"/>
                  </a:lnTo>
                  <a:lnTo>
                    <a:pt x="4282941" y="3936266"/>
                  </a:lnTo>
                  <a:lnTo>
                    <a:pt x="4254391" y="3970618"/>
                  </a:lnTo>
                  <a:lnTo>
                    <a:pt x="4225222" y="4004429"/>
                  </a:lnTo>
                  <a:lnTo>
                    <a:pt x="4195443" y="4037690"/>
                  </a:lnTo>
                  <a:lnTo>
                    <a:pt x="4165061" y="4070392"/>
                  </a:lnTo>
                  <a:lnTo>
                    <a:pt x="4134087" y="4102527"/>
                  </a:lnTo>
                  <a:lnTo>
                    <a:pt x="4102527" y="4134087"/>
                  </a:lnTo>
                  <a:lnTo>
                    <a:pt x="4070392" y="4165061"/>
                  </a:lnTo>
                  <a:lnTo>
                    <a:pt x="4037690" y="4195443"/>
                  </a:lnTo>
                  <a:lnTo>
                    <a:pt x="4004429" y="4225222"/>
                  </a:lnTo>
                  <a:lnTo>
                    <a:pt x="3970618" y="4254391"/>
                  </a:lnTo>
                  <a:lnTo>
                    <a:pt x="3936266" y="4282941"/>
                  </a:lnTo>
                  <a:lnTo>
                    <a:pt x="3901382" y="4310863"/>
                  </a:lnTo>
                  <a:lnTo>
                    <a:pt x="3865974" y="4338148"/>
                  </a:lnTo>
                  <a:lnTo>
                    <a:pt x="3830051" y="4364787"/>
                  </a:lnTo>
                  <a:lnTo>
                    <a:pt x="3793621" y="4390773"/>
                  </a:lnTo>
                  <a:lnTo>
                    <a:pt x="3756694" y="4416096"/>
                  </a:lnTo>
                  <a:lnTo>
                    <a:pt x="3719278" y="4440747"/>
                  </a:lnTo>
                  <a:lnTo>
                    <a:pt x="3681382" y="4464718"/>
                  </a:lnTo>
                  <a:lnTo>
                    <a:pt x="3643013" y="4488000"/>
                  </a:lnTo>
                  <a:lnTo>
                    <a:pt x="3604182" y="4510585"/>
                  </a:lnTo>
                  <a:lnTo>
                    <a:pt x="3564897" y="4532464"/>
                  </a:lnTo>
                  <a:lnTo>
                    <a:pt x="3525166" y="4553628"/>
                  </a:lnTo>
                  <a:lnTo>
                    <a:pt x="3484998" y="4574068"/>
                  </a:lnTo>
                  <a:lnTo>
                    <a:pt x="3444402" y="4593776"/>
                  </a:lnTo>
                  <a:lnTo>
                    <a:pt x="3403387" y="4612744"/>
                  </a:lnTo>
                  <a:lnTo>
                    <a:pt x="3361960" y="4630961"/>
                  </a:lnTo>
                  <a:lnTo>
                    <a:pt x="3320132" y="4648420"/>
                  </a:lnTo>
                  <a:lnTo>
                    <a:pt x="3277910" y="4665112"/>
                  </a:lnTo>
                  <a:lnTo>
                    <a:pt x="3235303" y="4681029"/>
                  </a:lnTo>
                  <a:lnTo>
                    <a:pt x="3192321" y="4696161"/>
                  </a:lnTo>
                  <a:lnTo>
                    <a:pt x="3148970" y="4710500"/>
                  </a:lnTo>
                  <a:lnTo>
                    <a:pt x="3105262" y="4724038"/>
                  </a:lnTo>
                  <a:lnTo>
                    <a:pt x="3061203" y="4736765"/>
                  </a:lnTo>
                  <a:lnTo>
                    <a:pt x="3016803" y="4748673"/>
                  </a:lnTo>
                  <a:lnTo>
                    <a:pt x="2972070" y="4759753"/>
                  </a:lnTo>
                  <a:lnTo>
                    <a:pt x="2927013" y="4769996"/>
                  </a:lnTo>
                  <a:lnTo>
                    <a:pt x="2881641" y="4779395"/>
                  </a:lnTo>
                  <a:lnTo>
                    <a:pt x="2835962" y="4787939"/>
                  </a:lnTo>
                  <a:lnTo>
                    <a:pt x="2789986" y="4795621"/>
                  </a:lnTo>
                  <a:lnTo>
                    <a:pt x="2743720" y="4802432"/>
                  </a:lnTo>
                  <a:lnTo>
                    <a:pt x="2697174" y="4808363"/>
                  </a:lnTo>
                  <a:lnTo>
                    <a:pt x="2650355" y="4813405"/>
                  </a:lnTo>
                  <a:lnTo>
                    <a:pt x="2603274" y="4817550"/>
                  </a:lnTo>
                  <a:lnTo>
                    <a:pt x="2555938" y="4820789"/>
                  </a:lnTo>
                  <a:lnTo>
                    <a:pt x="2508357" y="4823113"/>
                  </a:lnTo>
                  <a:lnTo>
                    <a:pt x="2460538" y="4824514"/>
                  </a:lnTo>
                  <a:lnTo>
                    <a:pt x="2412491" y="4824983"/>
                  </a:lnTo>
                  <a:lnTo>
                    <a:pt x="2364444" y="4824514"/>
                  </a:lnTo>
                  <a:lnTo>
                    <a:pt x="2316626" y="4823113"/>
                  </a:lnTo>
                  <a:lnTo>
                    <a:pt x="2269044" y="4820789"/>
                  </a:lnTo>
                  <a:lnTo>
                    <a:pt x="2221709" y="4817550"/>
                  </a:lnTo>
                  <a:lnTo>
                    <a:pt x="2174627" y="4813405"/>
                  </a:lnTo>
                  <a:lnTo>
                    <a:pt x="2127809" y="4808363"/>
                  </a:lnTo>
                  <a:lnTo>
                    <a:pt x="2081263" y="4802432"/>
                  </a:lnTo>
                  <a:lnTo>
                    <a:pt x="2034997" y="4795621"/>
                  </a:lnTo>
                  <a:lnTo>
                    <a:pt x="1989021" y="4787939"/>
                  </a:lnTo>
                  <a:lnTo>
                    <a:pt x="1943342" y="4779395"/>
                  </a:lnTo>
                  <a:lnTo>
                    <a:pt x="1897970" y="4769996"/>
                  </a:lnTo>
                  <a:lnTo>
                    <a:pt x="1852913" y="4759753"/>
                  </a:lnTo>
                  <a:lnTo>
                    <a:pt x="1808180" y="4748673"/>
                  </a:lnTo>
                  <a:lnTo>
                    <a:pt x="1763780" y="4736765"/>
                  </a:lnTo>
                  <a:lnTo>
                    <a:pt x="1719721" y="4724038"/>
                  </a:lnTo>
                  <a:lnTo>
                    <a:pt x="1676012" y="4710500"/>
                  </a:lnTo>
                  <a:lnTo>
                    <a:pt x="1632662" y="4696161"/>
                  </a:lnTo>
                  <a:lnTo>
                    <a:pt x="1589679" y="4681029"/>
                  </a:lnTo>
                  <a:lnTo>
                    <a:pt x="1547073" y="4665112"/>
                  </a:lnTo>
                  <a:lnTo>
                    <a:pt x="1504851" y="4648420"/>
                  </a:lnTo>
                  <a:lnTo>
                    <a:pt x="1463022" y="4630961"/>
                  </a:lnTo>
                  <a:lnTo>
                    <a:pt x="1421596" y="4612744"/>
                  </a:lnTo>
                  <a:lnTo>
                    <a:pt x="1380581" y="4593776"/>
                  </a:lnTo>
                  <a:lnTo>
                    <a:pt x="1339985" y="4574068"/>
                  </a:lnTo>
                  <a:lnTo>
                    <a:pt x="1299817" y="4553628"/>
                  </a:lnTo>
                  <a:lnTo>
                    <a:pt x="1260086" y="4532464"/>
                  </a:lnTo>
                  <a:lnTo>
                    <a:pt x="1220800" y="4510585"/>
                  </a:lnTo>
                  <a:lnTo>
                    <a:pt x="1181969" y="4488000"/>
                  </a:lnTo>
                  <a:lnTo>
                    <a:pt x="1143601" y="4464718"/>
                  </a:lnTo>
                  <a:lnTo>
                    <a:pt x="1105705" y="4440747"/>
                  </a:lnTo>
                  <a:lnTo>
                    <a:pt x="1068289" y="4416096"/>
                  </a:lnTo>
                  <a:lnTo>
                    <a:pt x="1031361" y="4390773"/>
                  </a:lnTo>
                  <a:lnTo>
                    <a:pt x="994932" y="4364787"/>
                  </a:lnTo>
                  <a:lnTo>
                    <a:pt x="959009" y="4338148"/>
                  </a:lnTo>
                  <a:lnTo>
                    <a:pt x="923601" y="4310863"/>
                  </a:lnTo>
                  <a:lnTo>
                    <a:pt x="888717" y="4282941"/>
                  </a:lnTo>
                  <a:lnTo>
                    <a:pt x="854365" y="4254391"/>
                  </a:lnTo>
                  <a:lnTo>
                    <a:pt x="820554" y="4225222"/>
                  </a:lnTo>
                  <a:lnTo>
                    <a:pt x="787293" y="4195443"/>
                  </a:lnTo>
                  <a:lnTo>
                    <a:pt x="754591" y="4165061"/>
                  </a:lnTo>
                  <a:lnTo>
                    <a:pt x="722455" y="4134087"/>
                  </a:lnTo>
                  <a:lnTo>
                    <a:pt x="690896" y="4102527"/>
                  </a:lnTo>
                  <a:lnTo>
                    <a:pt x="659921" y="4070392"/>
                  </a:lnTo>
                  <a:lnTo>
                    <a:pt x="629540" y="4037690"/>
                  </a:lnTo>
                  <a:lnTo>
                    <a:pt x="599760" y="4004429"/>
                  </a:lnTo>
                  <a:lnTo>
                    <a:pt x="570591" y="3970618"/>
                  </a:lnTo>
                  <a:lnTo>
                    <a:pt x="542042" y="3936266"/>
                  </a:lnTo>
                  <a:lnTo>
                    <a:pt x="514120" y="3901382"/>
                  </a:lnTo>
                  <a:lnTo>
                    <a:pt x="486835" y="3865974"/>
                  </a:lnTo>
                  <a:lnTo>
                    <a:pt x="460196" y="3830051"/>
                  </a:lnTo>
                  <a:lnTo>
                    <a:pt x="434210" y="3793621"/>
                  </a:lnTo>
                  <a:lnTo>
                    <a:pt x="408887" y="3756694"/>
                  </a:lnTo>
                  <a:lnTo>
                    <a:pt x="384236" y="3719278"/>
                  </a:lnTo>
                  <a:lnTo>
                    <a:pt x="360265" y="3681382"/>
                  </a:lnTo>
                  <a:lnTo>
                    <a:pt x="336982" y="3643013"/>
                  </a:lnTo>
                  <a:lnTo>
                    <a:pt x="314397" y="3604182"/>
                  </a:lnTo>
                  <a:lnTo>
                    <a:pt x="292519" y="3564897"/>
                  </a:lnTo>
                  <a:lnTo>
                    <a:pt x="271355" y="3525166"/>
                  </a:lnTo>
                  <a:lnTo>
                    <a:pt x="250915" y="3484998"/>
                  </a:lnTo>
                  <a:lnTo>
                    <a:pt x="231206" y="3444402"/>
                  </a:lnTo>
                  <a:lnTo>
                    <a:pt x="212239" y="3403387"/>
                  </a:lnTo>
                  <a:lnTo>
                    <a:pt x="194022" y="3361960"/>
                  </a:lnTo>
                  <a:lnTo>
                    <a:pt x="176563" y="3320132"/>
                  </a:lnTo>
                  <a:lnTo>
                    <a:pt x="159870" y="3277910"/>
                  </a:lnTo>
                  <a:lnTo>
                    <a:pt x="143954" y="3235303"/>
                  </a:lnTo>
                  <a:lnTo>
                    <a:pt x="128822" y="3192321"/>
                  </a:lnTo>
                  <a:lnTo>
                    <a:pt x="114482" y="3148970"/>
                  </a:lnTo>
                  <a:lnTo>
                    <a:pt x="100945" y="3105262"/>
                  </a:lnTo>
                  <a:lnTo>
                    <a:pt x="88218" y="3061203"/>
                  </a:lnTo>
                  <a:lnTo>
                    <a:pt x="76310" y="3016803"/>
                  </a:lnTo>
                  <a:lnTo>
                    <a:pt x="65230" y="2972070"/>
                  </a:lnTo>
                  <a:lnTo>
                    <a:pt x="54987" y="2927013"/>
                  </a:lnTo>
                  <a:lnTo>
                    <a:pt x="45588" y="2881641"/>
                  </a:lnTo>
                  <a:lnTo>
                    <a:pt x="37044" y="2835962"/>
                  </a:lnTo>
                  <a:lnTo>
                    <a:pt x="29362" y="2789986"/>
                  </a:lnTo>
                  <a:lnTo>
                    <a:pt x="22551" y="2743720"/>
                  </a:lnTo>
                  <a:lnTo>
                    <a:pt x="16620" y="2697174"/>
                  </a:lnTo>
                  <a:lnTo>
                    <a:pt x="11578" y="2650355"/>
                  </a:lnTo>
                  <a:lnTo>
                    <a:pt x="7433" y="2603274"/>
                  </a:lnTo>
                  <a:lnTo>
                    <a:pt x="4194" y="2555938"/>
                  </a:lnTo>
                  <a:lnTo>
                    <a:pt x="1869" y="2508357"/>
                  </a:lnTo>
                  <a:lnTo>
                    <a:pt x="468" y="2460538"/>
                  </a:lnTo>
                  <a:lnTo>
                    <a:pt x="0" y="2412491"/>
                  </a:lnTo>
                  <a:lnTo>
                    <a:pt x="468" y="2364444"/>
                  </a:lnTo>
                  <a:lnTo>
                    <a:pt x="1869" y="2316626"/>
                  </a:lnTo>
                  <a:lnTo>
                    <a:pt x="4194" y="2269044"/>
                  </a:lnTo>
                  <a:lnTo>
                    <a:pt x="7433" y="2221709"/>
                  </a:lnTo>
                  <a:lnTo>
                    <a:pt x="11578" y="2174627"/>
                  </a:lnTo>
                  <a:lnTo>
                    <a:pt x="16620" y="2127809"/>
                  </a:lnTo>
                  <a:lnTo>
                    <a:pt x="22551" y="2081263"/>
                  </a:lnTo>
                  <a:lnTo>
                    <a:pt x="29362" y="2034997"/>
                  </a:lnTo>
                  <a:lnTo>
                    <a:pt x="37044" y="1989021"/>
                  </a:lnTo>
                  <a:lnTo>
                    <a:pt x="45588" y="1943342"/>
                  </a:lnTo>
                  <a:lnTo>
                    <a:pt x="54987" y="1897970"/>
                  </a:lnTo>
                  <a:lnTo>
                    <a:pt x="65230" y="1852913"/>
                  </a:lnTo>
                  <a:lnTo>
                    <a:pt x="76310" y="1808180"/>
                  </a:lnTo>
                  <a:lnTo>
                    <a:pt x="88218" y="1763780"/>
                  </a:lnTo>
                  <a:lnTo>
                    <a:pt x="100945" y="1719721"/>
                  </a:lnTo>
                  <a:lnTo>
                    <a:pt x="114482" y="1676012"/>
                  </a:lnTo>
                  <a:lnTo>
                    <a:pt x="128822" y="1632662"/>
                  </a:lnTo>
                  <a:lnTo>
                    <a:pt x="143954" y="1589679"/>
                  </a:lnTo>
                  <a:lnTo>
                    <a:pt x="159870" y="1547073"/>
                  </a:lnTo>
                  <a:lnTo>
                    <a:pt x="176563" y="1504851"/>
                  </a:lnTo>
                  <a:lnTo>
                    <a:pt x="194022" y="1463022"/>
                  </a:lnTo>
                  <a:lnTo>
                    <a:pt x="212239" y="1421596"/>
                  </a:lnTo>
                  <a:lnTo>
                    <a:pt x="231206" y="1380581"/>
                  </a:lnTo>
                  <a:lnTo>
                    <a:pt x="250915" y="1339985"/>
                  </a:lnTo>
                  <a:lnTo>
                    <a:pt x="271355" y="1299817"/>
                  </a:lnTo>
                  <a:lnTo>
                    <a:pt x="292519" y="1260086"/>
                  </a:lnTo>
                  <a:lnTo>
                    <a:pt x="314397" y="1220800"/>
                  </a:lnTo>
                  <a:lnTo>
                    <a:pt x="336982" y="1181969"/>
                  </a:lnTo>
                  <a:lnTo>
                    <a:pt x="360265" y="1143601"/>
                  </a:lnTo>
                  <a:lnTo>
                    <a:pt x="384236" y="1105705"/>
                  </a:lnTo>
                  <a:lnTo>
                    <a:pt x="408887" y="1068289"/>
                  </a:lnTo>
                  <a:lnTo>
                    <a:pt x="434210" y="1031361"/>
                  </a:lnTo>
                  <a:lnTo>
                    <a:pt x="460196" y="994932"/>
                  </a:lnTo>
                  <a:lnTo>
                    <a:pt x="486835" y="959009"/>
                  </a:lnTo>
                  <a:lnTo>
                    <a:pt x="514120" y="923601"/>
                  </a:lnTo>
                  <a:lnTo>
                    <a:pt x="542042" y="888717"/>
                  </a:lnTo>
                  <a:lnTo>
                    <a:pt x="570591" y="854365"/>
                  </a:lnTo>
                  <a:lnTo>
                    <a:pt x="599760" y="820554"/>
                  </a:lnTo>
                  <a:lnTo>
                    <a:pt x="629540" y="787293"/>
                  </a:lnTo>
                  <a:lnTo>
                    <a:pt x="659921" y="754591"/>
                  </a:lnTo>
                  <a:lnTo>
                    <a:pt x="690896" y="722455"/>
                  </a:lnTo>
                  <a:lnTo>
                    <a:pt x="722455" y="690896"/>
                  </a:lnTo>
                  <a:lnTo>
                    <a:pt x="754591" y="659921"/>
                  </a:lnTo>
                  <a:lnTo>
                    <a:pt x="787293" y="629540"/>
                  </a:lnTo>
                  <a:lnTo>
                    <a:pt x="820554" y="599760"/>
                  </a:lnTo>
                  <a:lnTo>
                    <a:pt x="854365" y="570591"/>
                  </a:lnTo>
                  <a:lnTo>
                    <a:pt x="888717" y="542042"/>
                  </a:lnTo>
                  <a:lnTo>
                    <a:pt x="923601" y="514120"/>
                  </a:lnTo>
                  <a:lnTo>
                    <a:pt x="959009" y="486835"/>
                  </a:lnTo>
                  <a:lnTo>
                    <a:pt x="994932" y="460196"/>
                  </a:lnTo>
                  <a:lnTo>
                    <a:pt x="1031361" y="434210"/>
                  </a:lnTo>
                  <a:lnTo>
                    <a:pt x="1068289" y="408887"/>
                  </a:lnTo>
                  <a:lnTo>
                    <a:pt x="1105705" y="384236"/>
                  </a:lnTo>
                  <a:lnTo>
                    <a:pt x="1143601" y="360265"/>
                  </a:lnTo>
                  <a:lnTo>
                    <a:pt x="1181969" y="336982"/>
                  </a:lnTo>
                  <a:lnTo>
                    <a:pt x="1220800" y="314397"/>
                  </a:lnTo>
                  <a:lnTo>
                    <a:pt x="1260086" y="292519"/>
                  </a:lnTo>
                  <a:lnTo>
                    <a:pt x="1299817" y="271355"/>
                  </a:lnTo>
                  <a:lnTo>
                    <a:pt x="1339985" y="250915"/>
                  </a:lnTo>
                  <a:lnTo>
                    <a:pt x="1380581" y="231206"/>
                  </a:lnTo>
                  <a:lnTo>
                    <a:pt x="1421596" y="212239"/>
                  </a:lnTo>
                  <a:lnTo>
                    <a:pt x="1463022" y="194022"/>
                  </a:lnTo>
                  <a:lnTo>
                    <a:pt x="1504851" y="176563"/>
                  </a:lnTo>
                  <a:lnTo>
                    <a:pt x="1547073" y="159870"/>
                  </a:lnTo>
                  <a:lnTo>
                    <a:pt x="1589679" y="143954"/>
                  </a:lnTo>
                  <a:lnTo>
                    <a:pt x="1632662" y="128822"/>
                  </a:lnTo>
                  <a:lnTo>
                    <a:pt x="1676012" y="114482"/>
                  </a:lnTo>
                  <a:lnTo>
                    <a:pt x="1719721" y="100945"/>
                  </a:lnTo>
                  <a:lnTo>
                    <a:pt x="1763780" y="88218"/>
                  </a:lnTo>
                  <a:lnTo>
                    <a:pt x="1808180" y="76310"/>
                  </a:lnTo>
                  <a:lnTo>
                    <a:pt x="1852913" y="65230"/>
                  </a:lnTo>
                  <a:lnTo>
                    <a:pt x="1897970" y="54987"/>
                  </a:lnTo>
                  <a:lnTo>
                    <a:pt x="1943342" y="45588"/>
                  </a:lnTo>
                  <a:lnTo>
                    <a:pt x="1989021" y="37044"/>
                  </a:lnTo>
                  <a:lnTo>
                    <a:pt x="2034997" y="29362"/>
                  </a:lnTo>
                  <a:lnTo>
                    <a:pt x="2081263" y="22551"/>
                  </a:lnTo>
                  <a:lnTo>
                    <a:pt x="2127809" y="16620"/>
                  </a:lnTo>
                  <a:lnTo>
                    <a:pt x="2174627" y="11578"/>
                  </a:lnTo>
                  <a:lnTo>
                    <a:pt x="2221709" y="7433"/>
                  </a:lnTo>
                  <a:lnTo>
                    <a:pt x="2269044" y="4194"/>
                  </a:lnTo>
                  <a:lnTo>
                    <a:pt x="2316626" y="1869"/>
                  </a:lnTo>
                  <a:lnTo>
                    <a:pt x="2364444" y="468"/>
                  </a:lnTo>
                  <a:lnTo>
                    <a:pt x="2412491" y="0"/>
                  </a:lnTo>
                  <a:lnTo>
                    <a:pt x="2460538" y="468"/>
                  </a:lnTo>
                  <a:lnTo>
                    <a:pt x="2508357" y="1869"/>
                  </a:lnTo>
                  <a:lnTo>
                    <a:pt x="2555938" y="4194"/>
                  </a:lnTo>
                  <a:lnTo>
                    <a:pt x="2603274" y="7433"/>
                  </a:lnTo>
                  <a:lnTo>
                    <a:pt x="2650355" y="11578"/>
                  </a:lnTo>
                  <a:lnTo>
                    <a:pt x="2697174" y="16620"/>
                  </a:lnTo>
                  <a:lnTo>
                    <a:pt x="2743720" y="22551"/>
                  </a:lnTo>
                  <a:lnTo>
                    <a:pt x="2789986" y="29362"/>
                  </a:lnTo>
                  <a:lnTo>
                    <a:pt x="2835962" y="37044"/>
                  </a:lnTo>
                  <a:lnTo>
                    <a:pt x="2881641" y="45588"/>
                  </a:lnTo>
                  <a:lnTo>
                    <a:pt x="2927013" y="54987"/>
                  </a:lnTo>
                  <a:lnTo>
                    <a:pt x="2972070" y="65230"/>
                  </a:lnTo>
                  <a:lnTo>
                    <a:pt x="3016803" y="76310"/>
                  </a:lnTo>
                  <a:lnTo>
                    <a:pt x="3061203" y="88218"/>
                  </a:lnTo>
                  <a:lnTo>
                    <a:pt x="3105262" y="100945"/>
                  </a:lnTo>
                  <a:lnTo>
                    <a:pt x="3148970" y="114482"/>
                  </a:lnTo>
                  <a:lnTo>
                    <a:pt x="3192321" y="128822"/>
                  </a:lnTo>
                  <a:lnTo>
                    <a:pt x="3235303" y="143954"/>
                  </a:lnTo>
                  <a:lnTo>
                    <a:pt x="3277910" y="159870"/>
                  </a:lnTo>
                  <a:lnTo>
                    <a:pt x="3320132" y="176563"/>
                  </a:lnTo>
                  <a:lnTo>
                    <a:pt x="3361960" y="194022"/>
                  </a:lnTo>
                  <a:lnTo>
                    <a:pt x="3403387" y="212239"/>
                  </a:lnTo>
                  <a:lnTo>
                    <a:pt x="3444402" y="231206"/>
                  </a:lnTo>
                  <a:lnTo>
                    <a:pt x="3484998" y="250915"/>
                  </a:lnTo>
                  <a:lnTo>
                    <a:pt x="3525166" y="271355"/>
                  </a:lnTo>
                  <a:lnTo>
                    <a:pt x="3564897" y="292519"/>
                  </a:lnTo>
                  <a:lnTo>
                    <a:pt x="3604182" y="314397"/>
                  </a:lnTo>
                  <a:lnTo>
                    <a:pt x="3643013" y="336982"/>
                  </a:lnTo>
                  <a:lnTo>
                    <a:pt x="3681382" y="360265"/>
                  </a:lnTo>
                  <a:lnTo>
                    <a:pt x="3719278" y="384236"/>
                  </a:lnTo>
                  <a:lnTo>
                    <a:pt x="3756694" y="408887"/>
                  </a:lnTo>
                  <a:lnTo>
                    <a:pt x="3793621" y="434210"/>
                  </a:lnTo>
                  <a:lnTo>
                    <a:pt x="3830051" y="460196"/>
                  </a:lnTo>
                  <a:lnTo>
                    <a:pt x="3865974" y="486835"/>
                  </a:lnTo>
                  <a:lnTo>
                    <a:pt x="3901382" y="514120"/>
                  </a:lnTo>
                  <a:lnTo>
                    <a:pt x="3936266" y="542042"/>
                  </a:lnTo>
                  <a:lnTo>
                    <a:pt x="3970618" y="570591"/>
                  </a:lnTo>
                  <a:lnTo>
                    <a:pt x="4004429" y="599760"/>
                  </a:lnTo>
                  <a:lnTo>
                    <a:pt x="4037690" y="629540"/>
                  </a:lnTo>
                  <a:lnTo>
                    <a:pt x="4070392" y="659921"/>
                  </a:lnTo>
                  <a:lnTo>
                    <a:pt x="4102527" y="690896"/>
                  </a:lnTo>
                  <a:lnTo>
                    <a:pt x="4134087" y="722455"/>
                  </a:lnTo>
                  <a:lnTo>
                    <a:pt x="4165061" y="754591"/>
                  </a:lnTo>
                  <a:lnTo>
                    <a:pt x="4195443" y="787293"/>
                  </a:lnTo>
                  <a:lnTo>
                    <a:pt x="4225222" y="820554"/>
                  </a:lnTo>
                  <a:lnTo>
                    <a:pt x="4254391" y="854365"/>
                  </a:lnTo>
                  <a:lnTo>
                    <a:pt x="4282941" y="888717"/>
                  </a:lnTo>
                  <a:lnTo>
                    <a:pt x="4310863" y="923601"/>
                  </a:lnTo>
                  <a:lnTo>
                    <a:pt x="4338148" y="959009"/>
                  </a:lnTo>
                  <a:lnTo>
                    <a:pt x="4364787" y="994932"/>
                  </a:lnTo>
                  <a:lnTo>
                    <a:pt x="4390773" y="1031361"/>
                  </a:lnTo>
                  <a:lnTo>
                    <a:pt x="4416096" y="1068289"/>
                  </a:lnTo>
                  <a:lnTo>
                    <a:pt x="4440747" y="1105705"/>
                  </a:lnTo>
                  <a:lnTo>
                    <a:pt x="4464718" y="1143601"/>
                  </a:lnTo>
                  <a:lnTo>
                    <a:pt x="4488000" y="1181969"/>
                  </a:lnTo>
                  <a:lnTo>
                    <a:pt x="4510585" y="1220800"/>
                  </a:lnTo>
                  <a:lnTo>
                    <a:pt x="4532464" y="1260086"/>
                  </a:lnTo>
                  <a:lnTo>
                    <a:pt x="4553628" y="1299817"/>
                  </a:lnTo>
                  <a:lnTo>
                    <a:pt x="4574068" y="1339985"/>
                  </a:lnTo>
                  <a:lnTo>
                    <a:pt x="4593776" y="1380581"/>
                  </a:lnTo>
                  <a:lnTo>
                    <a:pt x="4612744" y="1421596"/>
                  </a:lnTo>
                  <a:lnTo>
                    <a:pt x="4630961" y="1463022"/>
                  </a:lnTo>
                  <a:lnTo>
                    <a:pt x="4648420" y="1504851"/>
                  </a:lnTo>
                  <a:lnTo>
                    <a:pt x="4665112" y="1547073"/>
                  </a:lnTo>
                  <a:lnTo>
                    <a:pt x="4681029" y="1589679"/>
                  </a:lnTo>
                  <a:lnTo>
                    <a:pt x="4696161" y="1632662"/>
                  </a:lnTo>
                  <a:lnTo>
                    <a:pt x="4710500" y="1676012"/>
                  </a:lnTo>
                  <a:lnTo>
                    <a:pt x="4724038" y="1719721"/>
                  </a:lnTo>
                  <a:lnTo>
                    <a:pt x="4736765" y="1763780"/>
                  </a:lnTo>
                  <a:lnTo>
                    <a:pt x="4748673" y="1808180"/>
                  </a:lnTo>
                  <a:lnTo>
                    <a:pt x="4759753" y="1852913"/>
                  </a:lnTo>
                  <a:lnTo>
                    <a:pt x="4769996" y="1897970"/>
                  </a:lnTo>
                  <a:lnTo>
                    <a:pt x="4779395" y="1943342"/>
                  </a:lnTo>
                  <a:lnTo>
                    <a:pt x="4787939" y="1989021"/>
                  </a:lnTo>
                  <a:lnTo>
                    <a:pt x="4795621" y="2034997"/>
                  </a:lnTo>
                  <a:lnTo>
                    <a:pt x="4802432" y="2081263"/>
                  </a:lnTo>
                  <a:lnTo>
                    <a:pt x="4808363" y="2127809"/>
                  </a:lnTo>
                  <a:lnTo>
                    <a:pt x="4813405" y="2174627"/>
                  </a:lnTo>
                  <a:lnTo>
                    <a:pt x="4817550" y="2221709"/>
                  </a:lnTo>
                  <a:lnTo>
                    <a:pt x="4820789" y="2269044"/>
                  </a:lnTo>
                  <a:lnTo>
                    <a:pt x="4823113" y="2316626"/>
                  </a:lnTo>
                  <a:lnTo>
                    <a:pt x="4824514" y="2364444"/>
                  </a:lnTo>
                  <a:lnTo>
                    <a:pt x="4824983" y="2412491"/>
                  </a:lnTo>
                  <a:close/>
                </a:path>
              </a:pathLst>
            </a:custGeom>
            <a:ln w="3175">
              <a:solidFill>
                <a:srgbClr val="000066"/>
              </a:solidFill>
              <a:prstDash val="dash"/>
            </a:ln>
          </p:spPr>
          <p:txBody>
            <a:bodyPr wrap="square" lIns="0" tIns="0" rIns="0" bIns="0" rtlCol="0"/>
            <a:lstStyle/>
            <a:p>
              <a:endParaRPr sz="675"/>
            </a:p>
          </p:txBody>
        </p:sp>
        <p:sp>
          <p:nvSpPr>
            <p:cNvPr id="37" name="object 12">
              <a:extLst>
                <a:ext uri="{FF2B5EF4-FFF2-40B4-BE49-F238E27FC236}">
                  <a16:creationId xmlns:a16="http://schemas.microsoft.com/office/drawing/2014/main" id="{39B8D964-9596-CB4C-905D-4CC58796DBB3}"/>
                </a:ext>
              </a:extLst>
            </p:cNvPr>
            <p:cNvSpPr txBox="1"/>
            <p:nvPr/>
          </p:nvSpPr>
          <p:spPr>
            <a:xfrm>
              <a:off x="18069206" y="4974094"/>
              <a:ext cx="987424" cy="345315"/>
            </a:xfrm>
            <a:prstGeom prst="rect">
              <a:avLst/>
            </a:prstGeom>
          </p:spPr>
          <p:txBody>
            <a:bodyPr vert="horz" wrap="square" lIns="0" tIns="48260" rIns="0" bIns="0" rtlCol="0">
              <a:spAutoFit/>
            </a:bodyPr>
            <a:lstStyle/>
            <a:p>
              <a:pPr marL="21193" marR="1905" indent="-16669">
                <a:lnSpc>
                  <a:spcPts val="525"/>
                </a:lnSpc>
                <a:spcBef>
                  <a:spcPts val="143"/>
                </a:spcBef>
              </a:pPr>
              <a:r>
                <a:rPr sz="525" b="0" spc="21">
                  <a:solidFill>
                    <a:srgbClr val="FFFFFF"/>
                  </a:solidFill>
                  <a:latin typeface="Roboto Light" panose="02000000000000000000" pitchFamily="2" charset="0"/>
                  <a:cs typeface="Maison Neue Thin"/>
                </a:rPr>
                <a:t>S</a:t>
              </a:r>
              <a:r>
                <a:rPr sz="525" b="0" spc="28">
                  <a:solidFill>
                    <a:srgbClr val="FFFFFF"/>
                  </a:solidFill>
                  <a:latin typeface="Roboto Light" panose="02000000000000000000" pitchFamily="2" charset="0"/>
                  <a:cs typeface="Maison Neue Thin"/>
                </a:rPr>
                <a:t>T</a:t>
              </a:r>
              <a:r>
                <a:rPr sz="525" b="0" spc="45">
                  <a:solidFill>
                    <a:srgbClr val="FFFFFF"/>
                  </a:solidFill>
                  <a:latin typeface="Roboto Light" panose="02000000000000000000" pitchFamily="2" charset="0"/>
                  <a:cs typeface="Maison Neue Thin"/>
                </a:rPr>
                <a:t>R</a:t>
              </a:r>
              <a:r>
                <a:rPr sz="525" b="0" spc="-8">
                  <a:solidFill>
                    <a:srgbClr val="FFFFFF"/>
                  </a:solidFill>
                  <a:latin typeface="Roboto Light" panose="02000000000000000000" pitchFamily="2" charset="0"/>
                  <a:cs typeface="Maison Neue Thin"/>
                </a:rPr>
                <a:t>A</a:t>
              </a:r>
              <a:r>
                <a:rPr sz="525" b="0" spc="28">
                  <a:solidFill>
                    <a:srgbClr val="FFFFFF"/>
                  </a:solidFill>
                  <a:latin typeface="Roboto Light" panose="02000000000000000000" pitchFamily="2" charset="0"/>
                  <a:cs typeface="Maison Neue Thin"/>
                </a:rPr>
                <a:t>T</a:t>
              </a:r>
              <a:r>
                <a:rPr sz="525" b="0" spc="27">
                  <a:solidFill>
                    <a:srgbClr val="FFFFFF"/>
                  </a:solidFill>
                  <a:latin typeface="Roboto Light" panose="02000000000000000000" pitchFamily="2" charset="0"/>
                  <a:cs typeface="Maison Neue Thin"/>
                </a:rPr>
                <a:t>E</a:t>
              </a:r>
              <a:r>
                <a:rPr sz="525" b="0" spc="36">
                  <a:solidFill>
                    <a:srgbClr val="FFFFFF"/>
                  </a:solidFill>
                  <a:latin typeface="Roboto Light" panose="02000000000000000000" pitchFamily="2" charset="0"/>
                  <a:cs typeface="Maison Neue Thin"/>
                </a:rPr>
                <a:t>G</a:t>
              </a:r>
              <a:r>
                <a:rPr sz="525" b="0" spc="35">
                  <a:solidFill>
                    <a:srgbClr val="FFFFFF"/>
                  </a:solidFill>
                  <a:latin typeface="Roboto Light" panose="02000000000000000000" pitchFamily="2" charset="0"/>
                  <a:cs typeface="Maison Neue Thin"/>
                </a:rPr>
                <a:t>I</a:t>
              </a:r>
              <a:r>
                <a:rPr sz="525" b="0">
                  <a:solidFill>
                    <a:srgbClr val="FFFFFF"/>
                  </a:solidFill>
                  <a:latin typeface="Roboto Light" panose="02000000000000000000" pitchFamily="2" charset="0"/>
                  <a:cs typeface="Maison Neue Thin"/>
                </a:rPr>
                <a:t>C  </a:t>
              </a:r>
              <a:r>
                <a:rPr sz="525" b="0" spc="28">
                  <a:solidFill>
                    <a:srgbClr val="FFFFFF"/>
                  </a:solidFill>
                  <a:latin typeface="Roboto Light" panose="02000000000000000000" pitchFamily="2" charset="0"/>
                  <a:cs typeface="Maison Neue Thin"/>
                </a:rPr>
                <a:t>ADVISORY</a:t>
              </a:r>
              <a:endParaRPr sz="525">
                <a:latin typeface="Roboto Light" panose="02000000000000000000" pitchFamily="2" charset="0"/>
                <a:cs typeface="Maison Neue Thin"/>
              </a:endParaRPr>
            </a:p>
          </p:txBody>
        </p:sp>
        <p:sp>
          <p:nvSpPr>
            <p:cNvPr id="38" name="object 15">
              <a:extLst>
                <a:ext uri="{FF2B5EF4-FFF2-40B4-BE49-F238E27FC236}">
                  <a16:creationId xmlns:a16="http://schemas.microsoft.com/office/drawing/2014/main" id="{30EDCDDA-3A4F-7844-B2AD-5947E0813061}"/>
                </a:ext>
              </a:extLst>
            </p:cNvPr>
            <p:cNvSpPr txBox="1"/>
            <p:nvPr/>
          </p:nvSpPr>
          <p:spPr>
            <a:xfrm>
              <a:off x="15788712" y="8612613"/>
              <a:ext cx="1276987" cy="345315"/>
            </a:xfrm>
            <a:prstGeom prst="rect">
              <a:avLst/>
            </a:prstGeom>
          </p:spPr>
          <p:txBody>
            <a:bodyPr vert="horz" wrap="square" lIns="0" tIns="48260" rIns="0" bIns="0" rtlCol="0">
              <a:spAutoFit/>
            </a:bodyPr>
            <a:lstStyle/>
            <a:p>
              <a:pPr marL="27383" marR="1905" indent="-22859">
                <a:lnSpc>
                  <a:spcPts val="525"/>
                </a:lnSpc>
                <a:spcBef>
                  <a:spcPts val="143"/>
                </a:spcBef>
              </a:pPr>
              <a:r>
                <a:rPr sz="525" b="0" spc="37">
                  <a:solidFill>
                    <a:srgbClr val="FFFFFF"/>
                  </a:solidFill>
                  <a:latin typeface="Roboto Light" panose="02000000000000000000" pitchFamily="2" charset="0"/>
                  <a:cs typeface="Maison Neue Thin"/>
                </a:rPr>
                <a:t>MAN</a:t>
              </a:r>
              <a:r>
                <a:rPr sz="525" b="0" spc="27">
                  <a:solidFill>
                    <a:srgbClr val="FFFFFF"/>
                  </a:solidFill>
                  <a:latin typeface="Roboto Light" panose="02000000000000000000" pitchFamily="2" charset="0"/>
                  <a:cs typeface="Maison Neue Thin"/>
                </a:rPr>
                <a:t>A</a:t>
              </a:r>
              <a:r>
                <a:rPr sz="525" b="0" spc="35">
                  <a:solidFill>
                    <a:srgbClr val="FFFFFF"/>
                  </a:solidFill>
                  <a:latin typeface="Roboto Light" panose="02000000000000000000" pitchFamily="2" charset="0"/>
                  <a:cs typeface="Maison Neue Thin"/>
                </a:rPr>
                <a:t>G</a:t>
              </a:r>
              <a:r>
                <a:rPr sz="525" b="0" spc="23">
                  <a:solidFill>
                    <a:srgbClr val="FFFFFF"/>
                  </a:solidFill>
                  <a:latin typeface="Roboto Light" panose="02000000000000000000" pitchFamily="2" charset="0"/>
                  <a:cs typeface="Maison Neue Thin"/>
                </a:rPr>
                <a:t>E</a:t>
              </a:r>
              <a:r>
                <a:rPr sz="525" b="0" spc="31">
                  <a:solidFill>
                    <a:srgbClr val="FFFFFF"/>
                  </a:solidFill>
                  <a:latin typeface="Roboto Light" panose="02000000000000000000" pitchFamily="2" charset="0"/>
                  <a:cs typeface="Maison Neue Thin"/>
                </a:rPr>
                <a:t>M</a:t>
              </a:r>
              <a:r>
                <a:rPr sz="525" b="0" spc="23">
                  <a:solidFill>
                    <a:srgbClr val="FFFFFF"/>
                  </a:solidFill>
                  <a:latin typeface="Roboto Light" panose="02000000000000000000" pitchFamily="2" charset="0"/>
                  <a:cs typeface="Maison Neue Thin"/>
                </a:rPr>
                <a:t>E</a:t>
              </a:r>
              <a:r>
                <a:rPr sz="525" b="0" spc="28">
                  <a:solidFill>
                    <a:srgbClr val="FFFFFF"/>
                  </a:solidFill>
                  <a:latin typeface="Roboto Light" panose="02000000000000000000" pitchFamily="2" charset="0"/>
                  <a:cs typeface="Maison Neue Thin"/>
                </a:rPr>
                <a:t>N</a:t>
              </a:r>
              <a:r>
                <a:rPr sz="525" b="0">
                  <a:solidFill>
                    <a:srgbClr val="FFFFFF"/>
                  </a:solidFill>
                  <a:latin typeface="Roboto Light" panose="02000000000000000000" pitchFamily="2" charset="0"/>
                  <a:cs typeface="Maison Neue Thin"/>
                </a:rPr>
                <a:t>T  </a:t>
              </a:r>
              <a:r>
                <a:rPr sz="525" b="0" spc="24">
                  <a:solidFill>
                    <a:srgbClr val="FFFFFF"/>
                  </a:solidFill>
                  <a:latin typeface="Roboto Light" panose="02000000000000000000" pitchFamily="2" charset="0"/>
                  <a:cs typeface="Maison Neue Thin"/>
                </a:rPr>
                <a:t>CONSULTING</a:t>
              </a:r>
              <a:endParaRPr sz="525">
                <a:latin typeface="Roboto Light" panose="02000000000000000000" pitchFamily="2" charset="0"/>
                <a:cs typeface="Maison Neue Thin"/>
              </a:endParaRPr>
            </a:p>
          </p:txBody>
        </p:sp>
        <p:sp>
          <p:nvSpPr>
            <p:cNvPr id="39" name="object 17">
              <a:extLst>
                <a:ext uri="{FF2B5EF4-FFF2-40B4-BE49-F238E27FC236}">
                  <a16:creationId xmlns:a16="http://schemas.microsoft.com/office/drawing/2014/main" id="{15B2E6AC-D309-324D-9AC7-3D2B4E6A972B}"/>
                </a:ext>
              </a:extLst>
            </p:cNvPr>
            <p:cNvSpPr/>
            <p:nvPr/>
          </p:nvSpPr>
          <p:spPr>
            <a:xfrm>
              <a:off x="16967674" y="6055117"/>
              <a:ext cx="3164205" cy="3164205"/>
            </a:xfrm>
            <a:custGeom>
              <a:avLst/>
              <a:gdLst/>
              <a:ahLst/>
              <a:cxnLst/>
              <a:rect l="l" t="t" r="r" b="b"/>
              <a:pathLst>
                <a:path w="3164205" h="3164204">
                  <a:moveTo>
                    <a:pt x="3163922" y="1581961"/>
                  </a:moveTo>
                  <a:lnTo>
                    <a:pt x="3163197" y="1630326"/>
                  </a:lnTo>
                  <a:lnTo>
                    <a:pt x="3161035" y="1678330"/>
                  </a:lnTo>
                  <a:lnTo>
                    <a:pt x="3157457" y="1725952"/>
                  </a:lnTo>
                  <a:lnTo>
                    <a:pt x="3152484" y="1773171"/>
                  </a:lnTo>
                  <a:lnTo>
                    <a:pt x="3146137" y="1819968"/>
                  </a:lnTo>
                  <a:lnTo>
                    <a:pt x="3138435" y="1866321"/>
                  </a:lnTo>
                  <a:lnTo>
                    <a:pt x="3129400" y="1912209"/>
                  </a:lnTo>
                  <a:lnTo>
                    <a:pt x="3119053" y="1957612"/>
                  </a:lnTo>
                  <a:lnTo>
                    <a:pt x="3107413" y="2002509"/>
                  </a:lnTo>
                  <a:lnTo>
                    <a:pt x="3094503" y="2046880"/>
                  </a:lnTo>
                  <a:lnTo>
                    <a:pt x="3080342" y="2090703"/>
                  </a:lnTo>
                  <a:lnTo>
                    <a:pt x="3064951" y="2133959"/>
                  </a:lnTo>
                  <a:lnTo>
                    <a:pt x="3048351" y="2176626"/>
                  </a:lnTo>
                  <a:lnTo>
                    <a:pt x="3030563" y="2218683"/>
                  </a:lnTo>
                  <a:lnTo>
                    <a:pt x="3011607" y="2260111"/>
                  </a:lnTo>
                  <a:lnTo>
                    <a:pt x="2991503" y="2300888"/>
                  </a:lnTo>
                  <a:lnTo>
                    <a:pt x="2970274" y="2340994"/>
                  </a:lnTo>
                  <a:lnTo>
                    <a:pt x="2947938" y="2380408"/>
                  </a:lnTo>
                  <a:lnTo>
                    <a:pt x="2924518" y="2419108"/>
                  </a:lnTo>
                  <a:lnTo>
                    <a:pt x="2900033" y="2457076"/>
                  </a:lnTo>
                  <a:lnTo>
                    <a:pt x="2874505" y="2494290"/>
                  </a:lnTo>
                  <a:lnTo>
                    <a:pt x="2847954" y="2530728"/>
                  </a:lnTo>
                  <a:lnTo>
                    <a:pt x="2820400" y="2566372"/>
                  </a:lnTo>
                  <a:lnTo>
                    <a:pt x="2791865" y="2601199"/>
                  </a:lnTo>
                  <a:lnTo>
                    <a:pt x="2762369" y="2635189"/>
                  </a:lnTo>
                  <a:lnTo>
                    <a:pt x="2731933" y="2668322"/>
                  </a:lnTo>
                  <a:lnTo>
                    <a:pt x="2700577" y="2700577"/>
                  </a:lnTo>
                  <a:lnTo>
                    <a:pt x="2668322" y="2731933"/>
                  </a:lnTo>
                  <a:lnTo>
                    <a:pt x="2635189" y="2762369"/>
                  </a:lnTo>
                  <a:lnTo>
                    <a:pt x="2601199" y="2791865"/>
                  </a:lnTo>
                  <a:lnTo>
                    <a:pt x="2566372" y="2820400"/>
                  </a:lnTo>
                  <a:lnTo>
                    <a:pt x="2530728" y="2847954"/>
                  </a:lnTo>
                  <a:lnTo>
                    <a:pt x="2494290" y="2874505"/>
                  </a:lnTo>
                  <a:lnTo>
                    <a:pt x="2457076" y="2900033"/>
                  </a:lnTo>
                  <a:lnTo>
                    <a:pt x="2419108" y="2924518"/>
                  </a:lnTo>
                  <a:lnTo>
                    <a:pt x="2380408" y="2947938"/>
                  </a:lnTo>
                  <a:lnTo>
                    <a:pt x="2340994" y="2970274"/>
                  </a:lnTo>
                  <a:lnTo>
                    <a:pt x="2300888" y="2991503"/>
                  </a:lnTo>
                  <a:lnTo>
                    <a:pt x="2260111" y="3011607"/>
                  </a:lnTo>
                  <a:lnTo>
                    <a:pt x="2218683" y="3030563"/>
                  </a:lnTo>
                  <a:lnTo>
                    <a:pt x="2176626" y="3048351"/>
                  </a:lnTo>
                  <a:lnTo>
                    <a:pt x="2133959" y="3064951"/>
                  </a:lnTo>
                  <a:lnTo>
                    <a:pt x="2090703" y="3080342"/>
                  </a:lnTo>
                  <a:lnTo>
                    <a:pt x="2046880" y="3094503"/>
                  </a:lnTo>
                  <a:lnTo>
                    <a:pt x="2002509" y="3107413"/>
                  </a:lnTo>
                  <a:lnTo>
                    <a:pt x="1957612" y="3119053"/>
                  </a:lnTo>
                  <a:lnTo>
                    <a:pt x="1912209" y="3129400"/>
                  </a:lnTo>
                  <a:lnTo>
                    <a:pt x="1866321" y="3138435"/>
                  </a:lnTo>
                  <a:lnTo>
                    <a:pt x="1819968" y="3146137"/>
                  </a:lnTo>
                  <a:lnTo>
                    <a:pt x="1773171" y="3152484"/>
                  </a:lnTo>
                  <a:lnTo>
                    <a:pt x="1725952" y="3157457"/>
                  </a:lnTo>
                  <a:lnTo>
                    <a:pt x="1678330" y="3161035"/>
                  </a:lnTo>
                  <a:lnTo>
                    <a:pt x="1630326" y="3163197"/>
                  </a:lnTo>
                  <a:lnTo>
                    <a:pt x="1581961" y="3163922"/>
                  </a:lnTo>
                  <a:lnTo>
                    <a:pt x="1533596" y="3163197"/>
                  </a:lnTo>
                  <a:lnTo>
                    <a:pt x="1485592" y="3161035"/>
                  </a:lnTo>
                  <a:lnTo>
                    <a:pt x="1437970" y="3157457"/>
                  </a:lnTo>
                  <a:lnTo>
                    <a:pt x="1390750" y="3152484"/>
                  </a:lnTo>
                  <a:lnTo>
                    <a:pt x="1343954" y="3146137"/>
                  </a:lnTo>
                  <a:lnTo>
                    <a:pt x="1297601" y="3138435"/>
                  </a:lnTo>
                  <a:lnTo>
                    <a:pt x="1251713" y="3129400"/>
                  </a:lnTo>
                  <a:lnTo>
                    <a:pt x="1206310" y="3119053"/>
                  </a:lnTo>
                  <a:lnTo>
                    <a:pt x="1161413" y="3107413"/>
                  </a:lnTo>
                  <a:lnTo>
                    <a:pt x="1117042" y="3094503"/>
                  </a:lnTo>
                  <a:lnTo>
                    <a:pt x="1073219" y="3080342"/>
                  </a:lnTo>
                  <a:lnTo>
                    <a:pt x="1029963" y="3064951"/>
                  </a:lnTo>
                  <a:lnTo>
                    <a:pt x="987296" y="3048351"/>
                  </a:lnTo>
                  <a:lnTo>
                    <a:pt x="945238" y="3030563"/>
                  </a:lnTo>
                  <a:lnTo>
                    <a:pt x="903811" y="3011607"/>
                  </a:lnTo>
                  <a:lnTo>
                    <a:pt x="863034" y="2991503"/>
                  </a:lnTo>
                  <a:lnTo>
                    <a:pt x="822928" y="2970274"/>
                  </a:lnTo>
                  <a:lnTo>
                    <a:pt x="783514" y="2947938"/>
                  </a:lnTo>
                  <a:lnTo>
                    <a:pt x="744813" y="2924518"/>
                  </a:lnTo>
                  <a:lnTo>
                    <a:pt x="706846" y="2900033"/>
                  </a:lnTo>
                  <a:lnTo>
                    <a:pt x="669632" y="2874505"/>
                  </a:lnTo>
                  <a:lnTo>
                    <a:pt x="633193" y="2847954"/>
                  </a:lnTo>
                  <a:lnTo>
                    <a:pt x="597550" y="2820400"/>
                  </a:lnTo>
                  <a:lnTo>
                    <a:pt x="562723" y="2791865"/>
                  </a:lnTo>
                  <a:lnTo>
                    <a:pt x="528733" y="2762369"/>
                  </a:lnTo>
                  <a:lnTo>
                    <a:pt x="495600" y="2731933"/>
                  </a:lnTo>
                  <a:lnTo>
                    <a:pt x="463345" y="2700577"/>
                  </a:lnTo>
                  <a:lnTo>
                    <a:pt x="431989" y="2668322"/>
                  </a:lnTo>
                  <a:lnTo>
                    <a:pt x="401553" y="2635189"/>
                  </a:lnTo>
                  <a:lnTo>
                    <a:pt x="372057" y="2601199"/>
                  </a:lnTo>
                  <a:lnTo>
                    <a:pt x="343522" y="2566372"/>
                  </a:lnTo>
                  <a:lnTo>
                    <a:pt x="315968" y="2530728"/>
                  </a:lnTo>
                  <a:lnTo>
                    <a:pt x="289417" y="2494290"/>
                  </a:lnTo>
                  <a:lnTo>
                    <a:pt x="263888" y="2457076"/>
                  </a:lnTo>
                  <a:lnTo>
                    <a:pt x="239404" y="2419108"/>
                  </a:lnTo>
                  <a:lnTo>
                    <a:pt x="215983" y="2380408"/>
                  </a:lnTo>
                  <a:lnTo>
                    <a:pt x="193648" y="2340994"/>
                  </a:lnTo>
                  <a:lnTo>
                    <a:pt x="172419" y="2300888"/>
                  </a:lnTo>
                  <a:lnTo>
                    <a:pt x="152315" y="2260111"/>
                  </a:lnTo>
                  <a:lnTo>
                    <a:pt x="133359" y="2218683"/>
                  </a:lnTo>
                  <a:lnTo>
                    <a:pt x="115571" y="2176626"/>
                  </a:lnTo>
                  <a:lnTo>
                    <a:pt x="98971" y="2133959"/>
                  </a:lnTo>
                  <a:lnTo>
                    <a:pt x="83580" y="2090703"/>
                  </a:lnTo>
                  <a:lnTo>
                    <a:pt x="69419" y="2046880"/>
                  </a:lnTo>
                  <a:lnTo>
                    <a:pt x="56509" y="2002509"/>
                  </a:lnTo>
                  <a:lnTo>
                    <a:pt x="44869" y="1957612"/>
                  </a:lnTo>
                  <a:lnTo>
                    <a:pt x="34522" y="1912209"/>
                  </a:lnTo>
                  <a:lnTo>
                    <a:pt x="25487" y="1866321"/>
                  </a:lnTo>
                  <a:lnTo>
                    <a:pt x="17785" y="1819968"/>
                  </a:lnTo>
                  <a:lnTo>
                    <a:pt x="11438" y="1773171"/>
                  </a:lnTo>
                  <a:lnTo>
                    <a:pt x="6464" y="1725952"/>
                  </a:lnTo>
                  <a:lnTo>
                    <a:pt x="2887" y="1678330"/>
                  </a:lnTo>
                  <a:lnTo>
                    <a:pt x="725" y="1630326"/>
                  </a:lnTo>
                  <a:lnTo>
                    <a:pt x="0" y="1581961"/>
                  </a:lnTo>
                  <a:lnTo>
                    <a:pt x="725" y="1533596"/>
                  </a:lnTo>
                  <a:lnTo>
                    <a:pt x="2887" y="1485592"/>
                  </a:lnTo>
                  <a:lnTo>
                    <a:pt x="6464" y="1437970"/>
                  </a:lnTo>
                  <a:lnTo>
                    <a:pt x="11438" y="1390750"/>
                  </a:lnTo>
                  <a:lnTo>
                    <a:pt x="17785" y="1343954"/>
                  </a:lnTo>
                  <a:lnTo>
                    <a:pt x="25487" y="1297601"/>
                  </a:lnTo>
                  <a:lnTo>
                    <a:pt x="34522" y="1251713"/>
                  </a:lnTo>
                  <a:lnTo>
                    <a:pt x="44869" y="1206310"/>
                  </a:lnTo>
                  <a:lnTo>
                    <a:pt x="56509" y="1161413"/>
                  </a:lnTo>
                  <a:lnTo>
                    <a:pt x="69419" y="1117042"/>
                  </a:lnTo>
                  <a:lnTo>
                    <a:pt x="83580" y="1073219"/>
                  </a:lnTo>
                  <a:lnTo>
                    <a:pt x="98971" y="1029963"/>
                  </a:lnTo>
                  <a:lnTo>
                    <a:pt x="115571" y="987296"/>
                  </a:lnTo>
                  <a:lnTo>
                    <a:pt x="133359" y="945238"/>
                  </a:lnTo>
                  <a:lnTo>
                    <a:pt x="152315" y="903811"/>
                  </a:lnTo>
                  <a:lnTo>
                    <a:pt x="172419" y="863034"/>
                  </a:lnTo>
                  <a:lnTo>
                    <a:pt x="193648" y="822928"/>
                  </a:lnTo>
                  <a:lnTo>
                    <a:pt x="215983" y="783514"/>
                  </a:lnTo>
                  <a:lnTo>
                    <a:pt x="239404" y="744813"/>
                  </a:lnTo>
                  <a:lnTo>
                    <a:pt x="263888" y="706846"/>
                  </a:lnTo>
                  <a:lnTo>
                    <a:pt x="289417" y="669632"/>
                  </a:lnTo>
                  <a:lnTo>
                    <a:pt x="315968" y="633193"/>
                  </a:lnTo>
                  <a:lnTo>
                    <a:pt x="343522" y="597550"/>
                  </a:lnTo>
                  <a:lnTo>
                    <a:pt x="372057" y="562723"/>
                  </a:lnTo>
                  <a:lnTo>
                    <a:pt x="401553" y="528733"/>
                  </a:lnTo>
                  <a:lnTo>
                    <a:pt x="431989" y="495600"/>
                  </a:lnTo>
                  <a:lnTo>
                    <a:pt x="463345" y="463345"/>
                  </a:lnTo>
                  <a:lnTo>
                    <a:pt x="495600" y="431989"/>
                  </a:lnTo>
                  <a:lnTo>
                    <a:pt x="528733" y="401553"/>
                  </a:lnTo>
                  <a:lnTo>
                    <a:pt x="562723" y="372057"/>
                  </a:lnTo>
                  <a:lnTo>
                    <a:pt x="597550" y="343522"/>
                  </a:lnTo>
                  <a:lnTo>
                    <a:pt x="633193" y="315968"/>
                  </a:lnTo>
                  <a:lnTo>
                    <a:pt x="669632" y="289417"/>
                  </a:lnTo>
                  <a:lnTo>
                    <a:pt x="706846" y="263888"/>
                  </a:lnTo>
                  <a:lnTo>
                    <a:pt x="744813" y="239404"/>
                  </a:lnTo>
                  <a:lnTo>
                    <a:pt x="783514" y="215983"/>
                  </a:lnTo>
                  <a:lnTo>
                    <a:pt x="822928" y="193648"/>
                  </a:lnTo>
                  <a:lnTo>
                    <a:pt x="863034" y="172419"/>
                  </a:lnTo>
                  <a:lnTo>
                    <a:pt x="903811" y="152315"/>
                  </a:lnTo>
                  <a:lnTo>
                    <a:pt x="945238" y="133359"/>
                  </a:lnTo>
                  <a:lnTo>
                    <a:pt x="987296" y="115571"/>
                  </a:lnTo>
                  <a:lnTo>
                    <a:pt x="1029963" y="98971"/>
                  </a:lnTo>
                  <a:lnTo>
                    <a:pt x="1073219" y="83580"/>
                  </a:lnTo>
                  <a:lnTo>
                    <a:pt x="1117042" y="69419"/>
                  </a:lnTo>
                  <a:lnTo>
                    <a:pt x="1161413" y="56509"/>
                  </a:lnTo>
                  <a:lnTo>
                    <a:pt x="1206310" y="44869"/>
                  </a:lnTo>
                  <a:lnTo>
                    <a:pt x="1251713" y="34522"/>
                  </a:lnTo>
                  <a:lnTo>
                    <a:pt x="1297601" y="25487"/>
                  </a:lnTo>
                  <a:lnTo>
                    <a:pt x="1343954" y="17785"/>
                  </a:lnTo>
                  <a:lnTo>
                    <a:pt x="1390750" y="11438"/>
                  </a:lnTo>
                  <a:lnTo>
                    <a:pt x="1437970" y="6464"/>
                  </a:lnTo>
                  <a:lnTo>
                    <a:pt x="1485592" y="2887"/>
                  </a:lnTo>
                  <a:lnTo>
                    <a:pt x="1533596" y="725"/>
                  </a:lnTo>
                  <a:lnTo>
                    <a:pt x="1581961" y="0"/>
                  </a:lnTo>
                  <a:lnTo>
                    <a:pt x="1630326" y="725"/>
                  </a:lnTo>
                  <a:lnTo>
                    <a:pt x="1678330" y="2887"/>
                  </a:lnTo>
                  <a:lnTo>
                    <a:pt x="1725952" y="6464"/>
                  </a:lnTo>
                  <a:lnTo>
                    <a:pt x="1773171" y="11438"/>
                  </a:lnTo>
                  <a:lnTo>
                    <a:pt x="1819968" y="17785"/>
                  </a:lnTo>
                  <a:lnTo>
                    <a:pt x="1866321" y="25487"/>
                  </a:lnTo>
                  <a:lnTo>
                    <a:pt x="1912209" y="34522"/>
                  </a:lnTo>
                  <a:lnTo>
                    <a:pt x="1957612" y="44869"/>
                  </a:lnTo>
                  <a:lnTo>
                    <a:pt x="2002509" y="56509"/>
                  </a:lnTo>
                  <a:lnTo>
                    <a:pt x="2046880" y="69419"/>
                  </a:lnTo>
                  <a:lnTo>
                    <a:pt x="2090703" y="83580"/>
                  </a:lnTo>
                  <a:lnTo>
                    <a:pt x="2133959" y="98971"/>
                  </a:lnTo>
                  <a:lnTo>
                    <a:pt x="2176626" y="115571"/>
                  </a:lnTo>
                  <a:lnTo>
                    <a:pt x="2218683" y="133359"/>
                  </a:lnTo>
                  <a:lnTo>
                    <a:pt x="2260111" y="152315"/>
                  </a:lnTo>
                  <a:lnTo>
                    <a:pt x="2300888" y="172419"/>
                  </a:lnTo>
                  <a:lnTo>
                    <a:pt x="2340994" y="193648"/>
                  </a:lnTo>
                  <a:lnTo>
                    <a:pt x="2380408" y="215983"/>
                  </a:lnTo>
                  <a:lnTo>
                    <a:pt x="2419108" y="239404"/>
                  </a:lnTo>
                  <a:lnTo>
                    <a:pt x="2457076" y="263888"/>
                  </a:lnTo>
                  <a:lnTo>
                    <a:pt x="2494290" y="289417"/>
                  </a:lnTo>
                  <a:lnTo>
                    <a:pt x="2530728" y="315968"/>
                  </a:lnTo>
                  <a:lnTo>
                    <a:pt x="2566372" y="343522"/>
                  </a:lnTo>
                  <a:lnTo>
                    <a:pt x="2601199" y="372057"/>
                  </a:lnTo>
                  <a:lnTo>
                    <a:pt x="2635189" y="401553"/>
                  </a:lnTo>
                  <a:lnTo>
                    <a:pt x="2668322" y="431989"/>
                  </a:lnTo>
                  <a:lnTo>
                    <a:pt x="2700577" y="463345"/>
                  </a:lnTo>
                  <a:lnTo>
                    <a:pt x="2731933" y="495600"/>
                  </a:lnTo>
                  <a:lnTo>
                    <a:pt x="2762369" y="528733"/>
                  </a:lnTo>
                  <a:lnTo>
                    <a:pt x="2791865" y="562723"/>
                  </a:lnTo>
                  <a:lnTo>
                    <a:pt x="2820400" y="597550"/>
                  </a:lnTo>
                  <a:lnTo>
                    <a:pt x="2847954" y="633193"/>
                  </a:lnTo>
                  <a:lnTo>
                    <a:pt x="2874505" y="669632"/>
                  </a:lnTo>
                  <a:lnTo>
                    <a:pt x="2900033" y="706846"/>
                  </a:lnTo>
                  <a:lnTo>
                    <a:pt x="2924518" y="744813"/>
                  </a:lnTo>
                  <a:lnTo>
                    <a:pt x="2947938" y="783514"/>
                  </a:lnTo>
                  <a:lnTo>
                    <a:pt x="2970274" y="822928"/>
                  </a:lnTo>
                  <a:lnTo>
                    <a:pt x="2991503" y="863034"/>
                  </a:lnTo>
                  <a:lnTo>
                    <a:pt x="3011607" y="903811"/>
                  </a:lnTo>
                  <a:lnTo>
                    <a:pt x="3030563" y="945238"/>
                  </a:lnTo>
                  <a:lnTo>
                    <a:pt x="3048351" y="987296"/>
                  </a:lnTo>
                  <a:lnTo>
                    <a:pt x="3064951" y="1029963"/>
                  </a:lnTo>
                  <a:lnTo>
                    <a:pt x="3080342" y="1073219"/>
                  </a:lnTo>
                  <a:lnTo>
                    <a:pt x="3094503" y="1117042"/>
                  </a:lnTo>
                  <a:lnTo>
                    <a:pt x="3107413" y="1161413"/>
                  </a:lnTo>
                  <a:lnTo>
                    <a:pt x="3119053" y="1206310"/>
                  </a:lnTo>
                  <a:lnTo>
                    <a:pt x="3129400" y="1251713"/>
                  </a:lnTo>
                  <a:lnTo>
                    <a:pt x="3138435" y="1297601"/>
                  </a:lnTo>
                  <a:lnTo>
                    <a:pt x="3146137" y="1343954"/>
                  </a:lnTo>
                  <a:lnTo>
                    <a:pt x="3152484" y="1390750"/>
                  </a:lnTo>
                  <a:lnTo>
                    <a:pt x="3157457" y="1437970"/>
                  </a:lnTo>
                  <a:lnTo>
                    <a:pt x="3161035" y="1485592"/>
                  </a:lnTo>
                  <a:lnTo>
                    <a:pt x="3163197" y="1533596"/>
                  </a:lnTo>
                  <a:lnTo>
                    <a:pt x="3163922" y="1581961"/>
                  </a:lnTo>
                  <a:close/>
                </a:path>
              </a:pathLst>
            </a:custGeom>
            <a:ln w="5026">
              <a:solidFill>
                <a:srgbClr val="000066"/>
              </a:solidFill>
              <a:prstDash val="dash"/>
            </a:ln>
          </p:spPr>
          <p:txBody>
            <a:bodyPr wrap="square" lIns="0" tIns="0" rIns="0" bIns="0" rtlCol="0"/>
            <a:lstStyle/>
            <a:p>
              <a:endParaRPr sz="675"/>
            </a:p>
          </p:txBody>
        </p:sp>
        <p:sp>
          <p:nvSpPr>
            <p:cNvPr id="41" name="object 13">
              <a:extLst>
                <a:ext uri="{FF2B5EF4-FFF2-40B4-BE49-F238E27FC236}">
                  <a16:creationId xmlns:a16="http://schemas.microsoft.com/office/drawing/2014/main" id="{E9DC6518-0600-024E-AAB6-30632633F7CB}"/>
                </a:ext>
              </a:extLst>
            </p:cNvPr>
            <p:cNvSpPr/>
            <p:nvPr/>
          </p:nvSpPr>
          <p:spPr>
            <a:xfrm>
              <a:off x="19518583" y="7648000"/>
              <a:ext cx="2372995" cy="2372995"/>
            </a:xfrm>
            <a:custGeom>
              <a:avLst/>
              <a:gdLst/>
              <a:ahLst/>
              <a:cxnLst/>
              <a:rect l="l" t="t" r="r" b="b"/>
              <a:pathLst>
                <a:path w="2372994" h="2372995">
                  <a:moveTo>
                    <a:pt x="1186473" y="0"/>
                  </a:moveTo>
                  <a:lnTo>
                    <a:pt x="1138754" y="942"/>
                  </a:lnTo>
                  <a:lnTo>
                    <a:pt x="1091512" y="3744"/>
                  </a:lnTo>
                  <a:lnTo>
                    <a:pt x="1044785" y="8372"/>
                  </a:lnTo>
                  <a:lnTo>
                    <a:pt x="998607" y="14790"/>
                  </a:lnTo>
                  <a:lnTo>
                    <a:pt x="953013" y="22961"/>
                  </a:lnTo>
                  <a:lnTo>
                    <a:pt x="908040" y="32852"/>
                  </a:lnTo>
                  <a:lnTo>
                    <a:pt x="863721" y="44426"/>
                  </a:lnTo>
                  <a:lnTo>
                    <a:pt x="820094" y="57648"/>
                  </a:lnTo>
                  <a:lnTo>
                    <a:pt x="777194" y="72482"/>
                  </a:lnTo>
                  <a:lnTo>
                    <a:pt x="735055" y="88893"/>
                  </a:lnTo>
                  <a:lnTo>
                    <a:pt x="693713" y="106846"/>
                  </a:lnTo>
                  <a:lnTo>
                    <a:pt x="653204" y="126305"/>
                  </a:lnTo>
                  <a:lnTo>
                    <a:pt x="613564" y="147235"/>
                  </a:lnTo>
                  <a:lnTo>
                    <a:pt x="574827" y="169600"/>
                  </a:lnTo>
                  <a:lnTo>
                    <a:pt x="537029" y="193365"/>
                  </a:lnTo>
                  <a:lnTo>
                    <a:pt x="500205" y="218494"/>
                  </a:lnTo>
                  <a:lnTo>
                    <a:pt x="464391" y="244952"/>
                  </a:lnTo>
                  <a:lnTo>
                    <a:pt x="429623" y="272704"/>
                  </a:lnTo>
                  <a:lnTo>
                    <a:pt x="395936" y="301713"/>
                  </a:lnTo>
                  <a:lnTo>
                    <a:pt x="363365" y="331945"/>
                  </a:lnTo>
                  <a:lnTo>
                    <a:pt x="331945" y="363365"/>
                  </a:lnTo>
                  <a:lnTo>
                    <a:pt x="301713" y="395936"/>
                  </a:lnTo>
                  <a:lnTo>
                    <a:pt x="272704" y="429623"/>
                  </a:lnTo>
                  <a:lnTo>
                    <a:pt x="244952" y="464391"/>
                  </a:lnTo>
                  <a:lnTo>
                    <a:pt x="218494" y="500205"/>
                  </a:lnTo>
                  <a:lnTo>
                    <a:pt x="193365" y="537029"/>
                  </a:lnTo>
                  <a:lnTo>
                    <a:pt x="169600" y="574827"/>
                  </a:lnTo>
                  <a:lnTo>
                    <a:pt x="147235" y="613564"/>
                  </a:lnTo>
                  <a:lnTo>
                    <a:pt x="126305" y="653204"/>
                  </a:lnTo>
                  <a:lnTo>
                    <a:pt x="106846" y="693713"/>
                  </a:lnTo>
                  <a:lnTo>
                    <a:pt x="88893" y="735055"/>
                  </a:lnTo>
                  <a:lnTo>
                    <a:pt x="72482" y="777194"/>
                  </a:lnTo>
                  <a:lnTo>
                    <a:pt x="57648" y="820094"/>
                  </a:lnTo>
                  <a:lnTo>
                    <a:pt x="44426" y="863721"/>
                  </a:lnTo>
                  <a:lnTo>
                    <a:pt x="32852" y="908040"/>
                  </a:lnTo>
                  <a:lnTo>
                    <a:pt x="22961" y="953013"/>
                  </a:lnTo>
                  <a:lnTo>
                    <a:pt x="14790" y="998607"/>
                  </a:lnTo>
                  <a:lnTo>
                    <a:pt x="8372" y="1044785"/>
                  </a:lnTo>
                  <a:lnTo>
                    <a:pt x="3744" y="1091512"/>
                  </a:lnTo>
                  <a:lnTo>
                    <a:pt x="942" y="1138754"/>
                  </a:lnTo>
                  <a:lnTo>
                    <a:pt x="0" y="1186473"/>
                  </a:lnTo>
                  <a:lnTo>
                    <a:pt x="942" y="1234193"/>
                  </a:lnTo>
                  <a:lnTo>
                    <a:pt x="3744" y="1281434"/>
                  </a:lnTo>
                  <a:lnTo>
                    <a:pt x="8372" y="1328161"/>
                  </a:lnTo>
                  <a:lnTo>
                    <a:pt x="14790" y="1374339"/>
                  </a:lnTo>
                  <a:lnTo>
                    <a:pt x="22961" y="1419933"/>
                  </a:lnTo>
                  <a:lnTo>
                    <a:pt x="32852" y="1464907"/>
                  </a:lnTo>
                  <a:lnTo>
                    <a:pt x="44426" y="1509225"/>
                  </a:lnTo>
                  <a:lnTo>
                    <a:pt x="57648" y="1552852"/>
                  </a:lnTo>
                  <a:lnTo>
                    <a:pt x="72482" y="1595752"/>
                  </a:lnTo>
                  <a:lnTo>
                    <a:pt x="88893" y="1637891"/>
                  </a:lnTo>
                  <a:lnTo>
                    <a:pt x="106846" y="1679233"/>
                  </a:lnTo>
                  <a:lnTo>
                    <a:pt x="126305" y="1719742"/>
                  </a:lnTo>
                  <a:lnTo>
                    <a:pt x="147235" y="1759382"/>
                  </a:lnTo>
                  <a:lnTo>
                    <a:pt x="169600" y="1798120"/>
                  </a:lnTo>
                  <a:lnTo>
                    <a:pt x="193365" y="1835918"/>
                  </a:lnTo>
                  <a:lnTo>
                    <a:pt x="218494" y="1872741"/>
                  </a:lnTo>
                  <a:lnTo>
                    <a:pt x="244952" y="1908555"/>
                  </a:lnTo>
                  <a:lnTo>
                    <a:pt x="272704" y="1943323"/>
                  </a:lnTo>
                  <a:lnTo>
                    <a:pt x="301713" y="1977010"/>
                  </a:lnTo>
                  <a:lnTo>
                    <a:pt x="331945" y="2009581"/>
                  </a:lnTo>
                  <a:lnTo>
                    <a:pt x="363365" y="2041001"/>
                  </a:lnTo>
                  <a:lnTo>
                    <a:pt x="395936" y="2071233"/>
                  </a:lnTo>
                  <a:lnTo>
                    <a:pt x="429623" y="2100243"/>
                  </a:lnTo>
                  <a:lnTo>
                    <a:pt x="464391" y="2127994"/>
                  </a:lnTo>
                  <a:lnTo>
                    <a:pt x="500205" y="2154452"/>
                  </a:lnTo>
                  <a:lnTo>
                    <a:pt x="537029" y="2179582"/>
                  </a:lnTo>
                  <a:lnTo>
                    <a:pt x="574827" y="2203346"/>
                  </a:lnTo>
                  <a:lnTo>
                    <a:pt x="613564" y="2225711"/>
                  </a:lnTo>
                  <a:lnTo>
                    <a:pt x="653204" y="2246641"/>
                  </a:lnTo>
                  <a:lnTo>
                    <a:pt x="693713" y="2266100"/>
                  </a:lnTo>
                  <a:lnTo>
                    <a:pt x="735055" y="2284053"/>
                  </a:lnTo>
                  <a:lnTo>
                    <a:pt x="777194" y="2300464"/>
                  </a:lnTo>
                  <a:lnTo>
                    <a:pt x="820094" y="2315299"/>
                  </a:lnTo>
                  <a:lnTo>
                    <a:pt x="863721" y="2328520"/>
                  </a:lnTo>
                  <a:lnTo>
                    <a:pt x="908040" y="2340094"/>
                  </a:lnTo>
                  <a:lnTo>
                    <a:pt x="953013" y="2349985"/>
                  </a:lnTo>
                  <a:lnTo>
                    <a:pt x="998607" y="2358157"/>
                  </a:lnTo>
                  <a:lnTo>
                    <a:pt x="1044785" y="2364574"/>
                  </a:lnTo>
                  <a:lnTo>
                    <a:pt x="1091512" y="2369202"/>
                  </a:lnTo>
                  <a:lnTo>
                    <a:pt x="1138754" y="2372005"/>
                  </a:lnTo>
                  <a:lnTo>
                    <a:pt x="1186473" y="2372947"/>
                  </a:lnTo>
                  <a:lnTo>
                    <a:pt x="1234193" y="2372005"/>
                  </a:lnTo>
                  <a:lnTo>
                    <a:pt x="1281434" y="2369202"/>
                  </a:lnTo>
                  <a:lnTo>
                    <a:pt x="1328161" y="2364574"/>
                  </a:lnTo>
                  <a:lnTo>
                    <a:pt x="1374339" y="2358157"/>
                  </a:lnTo>
                  <a:lnTo>
                    <a:pt x="1419933" y="2349985"/>
                  </a:lnTo>
                  <a:lnTo>
                    <a:pt x="1464907" y="2340094"/>
                  </a:lnTo>
                  <a:lnTo>
                    <a:pt x="1509225" y="2328520"/>
                  </a:lnTo>
                  <a:lnTo>
                    <a:pt x="1552852" y="2315299"/>
                  </a:lnTo>
                  <a:lnTo>
                    <a:pt x="1595752" y="2300464"/>
                  </a:lnTo>
                  <a:lnTo>
                    <a:pt x="1637891" y="2284053"/>
                  </a:lnTo>
                  <a:lnTo>
                    <a:pt x="1679233" y="2266100"/>
                  </a:lnTo>
                  <a:lnTo>
                    <a:pt x="1719742" y="2246641"/>
                  </a:lnTo>
                  <a:lnTo>
                    <a:pt x="1759382" y="2225711"/>
                  </a:lnTo>
                  <a:lnTo>
                    <a:pt x="1798120" y="2203346"/>
                  </a:lnTo>
                  <a:lnTo>
                    <a:pt x="1835918" y="2179582"/>
                  </a:lnTo>
                  <a:lnTo>
                    <a:pt x="1872741" y="2154452"/>
                  </a:lnTo>
                  <a:lnTo>
                    <a:pt x="1908555" y="2127994"/>
                  </a:lnTo>
                  <a:lnTo>
                    <a:pt x="1943323" y="2100243"/>
                  </a:lnTo>
                  <a:lnTo>
                    <a:pt x="1977010" y="2071233"/>
                  </a:lnTo>
                  <a:lnTo>
                    <a:pt x="2009581" y="2041001"/>
                  </a:lnTo>
                  <a:lnTo>
                    <a:pt x="2041001" y="2009581"/>
                  </a:lnTo>
                  <a:lnTo>
                    <a:pt x="2071233" y="1977010"/>
                  </a:lnTo>
                  <a:lnTo>
                    <a:pt x="2100243" y="1943323"/>
                  </a:lnTo>
                  <a:lnTo>
                    <a:pt x="2127994" y="1908555"/>
                  </a:lnTo>
                  <a:lnTo>
                    <a:pt x="2154452" y="1872741"/>
                  </a:lnTo>
                  <a:lnTo>
                    <a:pt x="2179582" y="1835918"/>
                  </a:lnTo>
                  <a:lnTo>
                    <a:pt x="2203346" y="1798120"/>
                  </a:lnTo>
                  <a:lnTo>
                    <a:pt x="2225711" y="1759382"/>
                  </a:lnTo>
                  <a:lnTo>
                    <a:pt x="2246641" y="1719742"/>
                  </a:lnTo>
                  <a:lnTo>
                    <a:pt x="2266100" y="1679233"/>
                  </a:lnTo>
                  <a:lnTo>
                    <a:pt x="2284053" y="1637891"/>
                  </a:lnTo>
                  <a:lnTo>
                    <a:pt x="2300464" y="1595752"/>
                  </a:lnTo>
                  <a:lnTo>
                    <a:pt x="2315299" y="1552852"/>
                  </a:lnTo>
                  <a:lnTo>
                    <a:pt x="2328520" y="1509225"/>
                  </a:lnTo>
                  <a:lnTo>
                    <a:pt x="2340094" y="1464907"/>
                  </a:lnTo>
                  <a:lnTo>
                    <a:pt x="2349985" y="1419933"/>
                  </a:lnTo>
                  <a:lnTo>
                    <a:pt x="2358157" y="1374339"/>
                  </a:lnTo>
                  <a:lnTo>
                    <a:pt x="2364574" y="1328161"/>
                  </a:lnTo>
                  <a:lnTo>
                    <a:pt x="2369202" y="1281434"/>
                  </a:lnTo>
                  <a:lnTo>
                    <a:pt x="2372005" y="1234193"/>
                  </a:lnTo>
                  <a:lnTo>
                    <a:pt x="2372947" y="1186473"/>
                  </a:lnTo>
                  <a:lnTo>
                    <a:pt x="2372005" y="1138754"/>
                  </a:lnTo>
                  <a:lnTo>
                    <a:pt x="2369202" y="1091512"/>
                  </a:lnTo>
                  <a:lnTo>
                    <a:pt x="2364574" y="1044785"/>
                  </a:lnTo>
                  <a:lnTo>
                    <a:pt x="2358157" y="998607"/>
                  </a:lnTo>
                  <a:lnTo>
                    <a:pt x="2349985" y="953013"/>
                  </a:lnTo>
                  <a:lnTo>
                    <a:pt x="2340094" y="908040"/>
                  </a:lnTo>
                  <a:lnTo>
                    <a:pt x="2328520" y="863721"/>
                  </a:lnTo>
                  <a:lnTo>
                    <a:pt x="2315299" y="820094"/>
                  </a:lnTo>
                  <a:lnTo>
                    <a:pt x="2300464" y="777194"/>
                  </a:lnTo>
                  <a:lnTo>
                    <a:pt x="2284053" y="735055"/>
                  </a:lnTo>
                  <a:lnTo>
                    <a:pt x="2266100" y="693713"/>
                  </a:lnTo>
                  <a:lnTo>
                    <a:pt x="2246641" y="653204"/>
                  </a:lnTo>
                  <a:lnTo>
                    <a:pt x="2225711" y="613564"/>
                  </a:lnTo>
                  <a:lnTo>
                    <a:pt x="2203346" y="574827"/>
                  </a:lnTo>
                  <a:lnTo>
                    <a:pt x="2179582" y="537029"/>
                  </a:lnTo>
                  <a:lnTo>
                    <a:pt x="2154452" y="500205"/>
                  </a:lnTo>
                  <a:lnTo>
                    <a:pt x="2127994" y="464391"/>
                  </a:lnTo>
                  <a:lnTo>
                    <a:pt x="2100243" y="429623"/>
                  </a:lnTo>
                  <a:lnTo>
                    <a:pt x="2071233" y="395936"/>
                  </a:lnTo>
                  <a:lnTo>
                    <a:pt x="2041001" y="363365"/>
                  </a:lnTo>
                  <a:lnTo>
                    <a:pt x="2009581" y="331945"/>
                  </a:lnTo>
                  <a:lnTo>
                    <a:pt x="1977010" y="301713"/>
                  </a:lnTo>
                  <a:lnTo>
                    <a:pt x="1943323" y="272704"/>
                  </a:lnTo>
                  <a:lnTo>
                    <a:pt x="1908555" y="244952"/>
                  </a:lnTo>
                  <a:lnTo>
                    <a:pt x="1872741" y="218494"/>
                  </a:lnTo>
                  <a:lnTo>
                    <a:pt x="1835918" y="193365"/>
                  </a:lnTo>
                  <a:lnTo>
                    <a:pt x="1798120" y="169600"/>
                  </a:lnTo>
                  <a:lnTo>
                    <a:pt x="1759382" y="147235"/>
                  </a:lnTo>
                  <a:lnTo>
                    <a:pt x="1719742" y="126305"/>
                  </a:lnTo>
                  <a:lnTo>
                    <a:pt x="1679233" y="106846"/>
                  </a:lnTo>
                  <a:lnTo>
                    <a:pt x="1637891" y="88893"/>
                  </a:lnTo>
                  <a:lnTo>
                    <a:pt x="1595752" y="72482"/>
                  </a:lnTo>
                  <a:lnTo>
                    <a:pt x="1552852" y="57648"/>
                  </a:lnTo>
                  <a:lnTo>
                    <a:pt x="1509225" y="44426"/>
                  </a:lnTo>
                  <a:lnTo>
                    <a:pt x="1464907" y="32852"/>
                  </a:lnTo>
                  <a:lnTo>
                    <a:pt x="1419933" y="22961"/>
                  </a:lnTo>
                  <a:lnTo>
                    <a:pt x="1374339" y="14790"/>
                  </a:lnTo>
                  <a:lnTo>
                    <a:pt x="1328161" y="8372"/>
                  </a:lnTo>
                  <a:lnTo>
                    <a:pt x="1281434" y="3744"/>
                  </a:lnTo>
                  <a:lnTo>
                    <a:pt x="1234193" y="942"/>
                  </a:lnTo>
                  <a:lnTo>
                    <a:pt x="1186473" y="0"/>
                  </a:lnTo>
                  <a:close/>
                </a:path>
              </a:pathLst>
            </a:custGeom>
            <a:solidFill>
              <a:srgbClr val="0000CC"/>
            </a:solidFill>
          </p:spPr>
          <p:txBody>
            <a:bodyPr wrap="square" lIns="0" tIns="0" rIns="0" bIns="0" rtlCol="0" anchor="ctr" anchorCtr="0"/>
            <a:lstStyle/>
            <a:p>
              <a:pPr marR="1191" algn="ctr">
                <a:lnSpc>
                  <a:spcPct val="100000"/>
                </a:lnSpc>
                <a:spcBef>
                  <a:spcPts val="37"/>
                </a:spcBef>
              </a:pPr>
              <a:r>
                <a:rPr lang="en-US" sz="751" b="0" spc="113">
                  <a:solidFill>
                    <a:srgbClr val="FFFFFF"/>
                  </a:solidFill>
                  <a:latin typeface="Roboto Light" panose="02000000000000000000" pitchFamily="2" charset="0"/>
                  <a:cs typeface="Maison Neue Thin"/>
                </a:rPr>
                <a:t>DIGITAL</a:t>
              </a:r>
              <a:endParaRPr lang="en-US" sz="751" spc="113">
                <a:latin typeface="Roboto Light" panose="02000000000000000000" pitchFamily="2" charset="0"/>
                <a:cs typeface="Maison Neue Thin"/>
              </a:endParaRPr>
            </a:p>
            <a:p>
              <a:pPr algn="ctr">
                <a:lnSpc>
                  <a:spcPct val="100000"/>
                </a:lnSpc>
              </a:pPr>
              <a:r>
                <a:rPr lang="en-US" sz="751" b="0" spc="113">
                  <a:solidFill>
                    <a:srgbClr val="FFFFFF"/>
                  </a:solidFill>
                  <a:latin typeface="Roboto Light" panose="02000000000000000000" pitchFamily="2" charset="0"/>
                  <a:cs typeface="Maison Neue Thin"/>
                </a:rPr>
                <a:t>SOLUTIONS</a:t>
              </a:r>
              <a:endParaRPr lang="en-US" sz="751" spc="113">
                <a:latin typeface="Roboto Light" panose="02000000000000000000" pitchFamily="2" charset="0"/>
                <a:cs typeface="Maison Neue Thin"/>
              </a:endParaRPr>
            </a:p>
          </p:txBody>
        </p:sp>
        <p:sp>
          <p:nvSpPr>
            <p:cNvPr id="42" name="object 13">
              <a:extLst>
                <a:ext uri="{FF2B5EF4-FFF2-40B4-BE49-F238E27FC236}">
                  <a16:creationId xmlns:a16="http://schemas.microsoft.com/office/drawing/2014/main" id="{848C9ADB-8ADC-2D4F-8681-534AEDA43DA8}"/>
                </a:ext>
              </a:extLst>
            </p:cNvPr>
            <p:cNvSpPr/>
            <p:nvPr/>
          </p:nvSpPr>
          <p:spPr>
            <a:xfrm>
              <a:off x="17376420" y="4013010"/>
              <a:ext cx="2372995" cy="2372995"/>
            </a:xfrm>
            <a:custGeom>
              <a:avLst/>
              <a:gdLst/>
              <a:ahLst/>
              <a:cxnLst/>
              <a:rect l="l" t="t" r="r" b="b"/>
              <a:pathLst>
                <a:path w="2372994" h="2372995">
                  <a:moveTo>
                    <a:pt x="1186473" y="0"/>
                  </a:moveTo>
                  <a:lnTo>
                    <a:pt x="1138754" y="942"/>
                  </a:lnTo>
                  <a:lnTo>
                    <a:pt x="1091512" y="3744"/>
                  </a:lnTo>
                  <a:lnTo>
                    <a:pt x="1044785" y="8372"/>
                  </a:lnTo>
                  <a:lnTo>
                    <a:pt x="998607" y="14790"/>
                  </a:lnTo>
                  <a:lnTo>
                    <a:pt x="953013" y="22961"/>
                  </a:lnTo>
                  <a:lnTo>
                    <a:pt x="908040" y="32852"/>
                  </a:lnTo>
                  <a:lnTo>
                    <a:pt x="863721" y="44426"/>
                  </a:lnTo>
                  <a:lnTo>
                    <a:pt x="820094" y="57648"/>
                  </a:lnTo>
                  <a:lnTo>
                    <a:pt x="777194" y="72482"/>
                  </a:lnTo>
                  <a:lnTo>
                    <a:pt x="735055" y="88893"/>
                  </a:lnTo>
                  <a:lnTo>
                    <a:pt x="693713" y="106846"/>
                  </a:lnTo>
                  <a:lnTo>
                    <a:pt x="653204" y="126305"/>
                  </a:lnTo>
                  <a:lnTo>
                    <a:pt x="613564" y="147235"/>
                  </a:lnTo>
                  <a:lnTo>
                    <a:pt x="574827" y="169600"/>
                  </a:lnTo>
                  <a:lnTo>
                    <a:pt x="537029" y="193365"/>
                  </a:lnTo>
                  <a:lnTo>
                    <a:pt x="500205" y="218494"/>
                  </a:lnTo>
                  <a:lnTo>
                    <a:pt x="464391" y="244952"/>
                  </a:lnTo>
                  <a:lnTo>
                    <a:pt x="429623" y="272704"/>
                  </a:lnTo>
                  <a:lnTo>
                    <a:pt x="395936" y="301713"/>
                  </a:lnTo>
                  <a:lnTo>
                    <a:pt x="363365" y="331945"/>
                  </a:lnTo>
                  <a:lnTo>
                    <a:pt x="331945" y="363365"/>
                  </a:lnTo>
                  <a:lnTo>
                    <a:pt x="301713" y="395936"/>
                  </a:lnTo>
                  <a:lnTo>
                    <a:pt x="272704" y="429623"/>
                  </a:lnTo>
                  <a:lnTo>
                    <a:pt x="244952" y="464391"/>
                  </a:lnTo>
                  <a:lnTo>
                    <a:pt x="218494" y="500205"/>
                  </a:lnTo>
                  <a:lnTo>
                    <a:pt x="193365" y="537029"/>
                  </a:lnTo>
                  <a:lnTo>
                    <a:pt x="169600" y="574827"/>
                  </a:lnTo>
                  <a:lnTo>
                    <a:pt x="147235" y="613564"/>
                  </a:lnTo>
                  <a:lnTo>
                    <a:pt x="126305" y="653204"/>
                  </a:lnTo>
                  <a:lnTo>
                    <a:pt x="106846" y="693713"/>
                  </a:lnTo>
                  <a:lnTo>
                    <a:pt x="88893" y="735055"/>
                  </a:lnTo>
                  <a:lnTo>
                    <a:pt x="72482" y="777194"/>
                  </a:lnTo>
                  <a:lnTo>
                    <a:pt x="57648" y="820094"/>
                  </a:lnTo>
                  <a:lnTo>
                    <a:pt x="44426" y="863721"/>
                  </a:lnTo>
                  <a:lnTo>
                    <a:pt x="32852" y="908040"/>
                  </a:lnTo>
                  <a:lnTo>
                    <a:pt x="22961" y="953013"/>
                  </a:lnTo>
                  <a:lnTo>
                    <a:pt x="14790" y="998607"/>
                  </a:lnTo>
                  <a:lnTo>
                    <a:pt x="8372" y="1044785"/>
                  </a:lnTo>
                  <a:lnTo>
                    <a:pt x="3744" y="1091512"/>
                  </a:lnTo>
                  <a:lnTo>
                    <a:pt x="942" y="1138754"/>
                  </a:lnTo>
                  <a:lnTo>
                    <a:pt x="0" y="1186473"/>
                  </a:lnTo>
                  <a:lnTo>
                    <a:pt x="942" y="1234193"/>
                  </a:lnTo>
                  <a:lnTo>
                    <a:pt x="3744" y="1281434"/>
                  </a:lnTo>
                  <a:lnTo>
                    <a:pt x="8372" y="1328161"/>
                  </a:lnTo>
                  <a:lnTo>
                    <a:pt x="14790" y="1374339"/>
                  </a:lnTo>
                  <a:lnTo>
                    <a:pt x="22961" y="1419933"/>
                  </a:lnTo>
                  <a:lnTo>
                    <a:pt x="32852" y="1464907"/>
                  </a:lnTo>
                  <a:lnTo>
                    <a:pt x="44426" y="1509225"/>
                  </a:lnTo>
                  <a:lnTo>
                    <a:pt x="57648" y="1552852"/>
                  </a:lnTo>
                  <a:lnTo>
                    <a:pt x="72482" y="1595752"/>
                  </a:lnTo>
                  <a:lnTo>
                    <a:pt x="88893" y="1637891"/>
                  </a:lnTo>
                  <a:lnTo>
                    <a:pt x="106846" y="1679233"/>
                  </a:lnTo>
                  <a:lnTo>
                    <a:pt x="126305" y="1719742"/>
                  </a:lnTo>
                  <a:lnTo>
                    <a:pt x="147235" y="1759382"/>
                  </a:lnTo>
                  <a:lnTo>
                    <a:pt x="169600" y="1798120"/>
                  </a:lnTo>
                  <a:lnTo>
                    <a:pt x="193365" y="1835918"/>
                  </a:lnTo>
                  <a:lnTo>
                    <a:pt x="218494" y="1872741"/>
                  </a:lnTo>
                  <a:lnTo>
                    <a:pt x="244952" y="1908555"/>
                  </a:lnTo>
                  <a:lnTo>
                    <a:pt x="272704" y="1943323"/>
                  </a:lnTo>
                  <a:lnTo>
                    <a:pt x="301713" y="1977010"/>
                  </a:lnTo>
                  <a:lnTo>
                    <a:pt x="331945" y="2009581"/>
                  </a:lnTo>
                  <a:lnTo>
                    <a:pt x="363365" y="2041001"/>
                  </a:lnTo>
                  <a:lnTo>
                    <a:pt x="395936" y="2071233"/>
                  </a:lnTo>
                  <a:lnTo>
                    <a:pt x="429623" y="2100243"/>
                  </a:lnTo>
                  <a:lnTo>
                    <a:pt x="464391" y="2127994"/>
                  </a:lnTo>
                  <a:lnTo>
                    <a:pt x="500205" y="2154452"/>
                  </a:lnTo>
                  <a:lnTo>
                    <a:pt x="537029" y="2179582"/>
                  </a:lnTo>
                  <a:lnTo>
                    <a:pt x="574827" y="2203346"/>
                  </a:lnTo>
                  <a:lnTo>
                    <a:pt x="613564" y="2225711"/>
                  </a:lnTo>
                  <a:lnTo>
                    <a:pt x="653204" y="2246641"/>
                  </a:lnTo>
                  <a:lnTo>
                    <a:pt x="693713" y="2266100"/>
                  </a:lnTo>
                  <a:lnTo>
                    <a:pt x="735055" y="2284053"/>
                  </a:lnTo>
                  <a:lnTo>
                    <a:pt x="777194" y="2300464"/>
                  </a:lnTo>
                  <a:lnTo>
                    <a:pt x="820094" y="2315299"/>
                  </a:lnTo>
                  <a:lnTo>
                    <a:pt x="863721" y="2328520"/>
                  </a:lnTo>
                  <a:lnTo>
                    <a:pt x="908040" y="2340094"/>
                  </a:lnTo>
                  <a:lnTo>
                    <a:pt x="953013" y="2349985"/>
                  </a:lnTo>
                  <a:lnTo>
                    <a:pt x="998607" y="2358157"/>
                  </a:lnTo>
                  <a:lnTo>
                    <a:pt x="1044785" y="2364574"/>
                  </a:lnTo>
                  <a:lnTo>
                    <a:pt x="1091512" y="2369202"/>
                  </a:lnTo>
                  <a:lnTo>
                    <a:pt x="1138754" y="2372005"/>
                  </a:lnTo>
                  <a:lnTo>
                    <a:pt x="1186473" y="2372947"/>
                  </a:lnTo>
                  <a:lnTo>
                    <a:pt x="1234193" y="2372005"/>
                  </a:lnTo>
                  <a:lnTo>
                    <a:pt x="1281434" y="2369202"/>
                  </a:lnTo>
                  <a:lnTo>
                    <a:pt x="1328161" y="2364574"/>
                  </a:lnTo>
                  <a:lnTo>
                    <a:pt x="1374339" y="2358157"/>
                  </a:lnTo>
                  <a:lnTo>
                    <a:pt x="1419933" y="2349985"/>
                  </a:lnTo>
                  <a:lnTo>
                    <a:pt x="1464907" y="2340094"/>
                  </a:lnTo>
                  <a:lnTo>
                    <a:pt x="1509225" y="2328520"/>
                  </a:lnTo>
                  <a:lnTo>
                    <a:pt x="1552852" y="2315299"/>
                  </a:lnTo>
                  <a:lnTo>
                    <a:pt x="1595752" y="2300464"/>
                  </a:lnTo>
                  <a:lnTo>
                    <a:pt x="1637891" y="2284053"/>
                  </a:lnTo>
                  <a:lnTo>
                    <a:pt x="1679233" y="2266100"/>
                  </a:lnTo>
                  <a:lnTo>
                    <a:pt x="1719742" y="2246641"/>
                  </a:lnTo>
                  <a:lnTo>
                    <a:pt x="1759382" y="2225711"/>
                  </a:lnTo>
                  <a:lnTo>
                    <a:pt x="1798120" y="2203346"/>
                  </a:lnTo>
                  <a:lnTo>
                    <a:pt x="1835918" y="2179582"/>
                  </a:lnTo>
                  <a:lnTo>
                    <a:pt x="1872741" y="2154452"/>
                  </a:lnTo>
                  <a:lnTo>
                    <a:pt x="1908555" y="2127994"/>
                  </a:lnTo>
                  <a:lnTo>
                    <a:pt x="1943323" y="2100243"/>
                  </a:lnTo>
                  <a:lnTo>
                    <a:pt x="1977010" y="2071233"/>
                  </a:lnTo>
                  <a:lnTo>
                    <a:pt x="2009581" y="2041001"/>
                  </a:lnTo>
                  <a:lnTo>
                    <a:pt x="2041001" y="2009581"/>
                  </a:lnTo>
                  <a:lnTo>
                    <a:pt x="2071233" y="1977010"/>
                  </a:lnTo>
                  <a:lnTo>
                    <a:pt x="2100243" y="1943323"/>
                  </a:lnTo>
                  <a:lnTo>
                    <a:pt x="2127994" y="1908555"/>
                  </a:lnTo>
                  <a:lnTo>
                    <a:pt x="2154452" y="1872741"/>
                  </a:lnTo>
                  <a:lnTo>
                    <a:pt x="2179582" y="1835918"/>
                  </a:lnTo>
                  <a:lnTo>
                    <a:pt x="2203346" y="1798120"/>
                  </a:lnTo>
                  <a:lnTo>
                    <a:pt x="2225711" y="1759382"/>
                  </a:lnTo>
                  <a:lnTo>
                    <a:pt x="2246641" y="1719742"/>
                  </a:lnTo>
                  <a:lnTo>
                    <a:pt x="2266100" y="1679233"/>
                  </a:lnTo>
                  <a:lnTo>
                    <a:pt x="2284053" y="1637891"/>
                  </a:lnTo>
                  <a:lnTo>
                    <a:pt x="2300464" y="1595752"/>
                  </a:lnTo>
                  <a:lnTo>
                    <a:pt x="2315299" y="1552852"/>
                  </a:lnTo>
                  <a:lnTo>
                    <a:pt x="2328520" y="1509225"/>
                  </a:lnTo>
                  <a:lnTo>
                    <a:pt x="2340094" y="1464907"/>
                  </a:lnTo>
                  <a:lnTo>
                    <a:pt x="2349985" y="1419933"/>
                  </a:lnTo>
                  <a:lnTo>
                    <a:pt x="2358157" y="1374339"/>
                  </a:lnTo>
                  <a:lnTo>
                    <a:pt x="2364574" y="1328161"/>
                  </a:lnTo>
                  <a:lnTo>
                    <a:pt x="2369202" y="1281434"/>
                  </a:lnTo>
                  <a:lnTo>
                    <a:pt x="2372005" y="1234193"/>
                  </a:lnTo>
                  <a:lnTo>
                    <a:pt x="2372947" y="1186473"/>
                  </a:lnTo>
                  <a:lnTo>
                    <a:pt x="2372005" y="1138754"/>
                  </a:lnTo>
                  <a:lnTo>
                    <a:pt x="2369202" y="1091512"/>
                  </a:lnTo>
                  <a:lnTo>
                    <a:pt x="2364574" y="1044785"/>
                  </a:lnTo>
                  <a:lnTo>
                    <a:pt x="2358157" y="998607"/>
                  </a:lnTo>
                  <a:lnTo>
                    <a:pt x="2349985" y="953013"/>
                  </a:lnTo>
                  <a:lnTo>
                    <a:pt x="2340094" y="908040"/>
                  </a:lnTo>
                  <a:lnTo>
                    <a:pt x="2328520" y="863721"/>
                  </a:lnTo>
                  <a:lnTo>
                    <a:pt x="2315299" y="820094"/>
                  </a:lnTo>
                  <a:lnTo>
                    <a:pt x="2300464" y="777194"/>
                  </a:lnTo>
                  <a:lnTo>
                    <a:pt x="2284053" y="735055"/>
                  </a:lnTo>
                  <a:lnTo>
                    <a:pt x="2266100" y="693713"/>
                  </a:lnTo>
                  <a:lnTo>
                    <a:pt x="2246641" y="653204"/>
                  </a:lnTo>
                  <a:lnTo>
                    <a:pt x="2225711" y="613564"/>
                  </a:lnTo>
                  <a:lnTo>
                    <a:pt x="2203346" y="574827"/>
                  </a:lnTo>
                  <a:lnTo>
                    <a:pt x="2179582" y="537029"/>
                  </a:lnTo>
                  <a:lnTo>
                    <a:pt x="2154452" y="500205"/>
                  </a:lnTo>
                  <a:lnTo>
                    <a:pt x="2127994" y="464391"/>
                  </a:lnTo>
                  <a:lnTo>
                    <a:pt x="2100243" y="429623"/>
                  </a:lnTo>
                  <a:lnTo>
                    <a:pt x="2071233" y="395936"/>
                  </a:lnTo>
                  <a:lnTo>
                    <a:pt x="2041001" y="363365"/>
                  </a:lnTo>
                  <a:lnTo>
                    <a:pt x="2009581" y="331945"/>
                  </a:lnTo>
                  <a:lnTo>
                    <a:pt x="1977010" y="301713"/>
                  </a:lnTo>
                  <a:lnTo>
                    <a:pt x="1943323" y="272704"/>
                  </a:lnTo>
                  <a:lnTo>
                    <a:pt x="1908555" y="244952"/>
                  </a:lnTo>
                  <a:lnTo>
                    <a:pt x="1872741" y="218494"/>
                  </a:lnTo>
                  <a:lnTo>
                    <a:pt x="1835918" y="193365"/>
                  </a:lnTo>
                  <a:lnTo>
                    <a:pt x="1798120" y="169600"/>
                  </a:lnTo>
                  <a:lnTo>
                    <a:pt x="1759382" y="147235"/>
                  </a:lnTo>
                  <a:lnTo>
                    <a:pt x="1719742" y="126305"/>
                  </a:lnTo>
                  <a:lnTo>
                    <a:pt x="1679233" y="106846"/>
                  </a:lnTo>
                  <a:lnTo>
                    <a:pt x="1637891" y="88893"/>
                  </a:lnTo>
                  <a:lnTo>
                    <a:pt x="1595752" y="72482"/>
                  </a:lnTo>
                  <a:lnTo>
                    <a:pt x="1552852" y="57648"/>
                  </a:lnTo>
                  <a:lnTo>
                    <a:pt x="1509225" y="44426"/>
                  </a:lnTo>
                  <a:lnTo>
                    <a:pt x="1464907" y="32852"/>
                  </a:lnTo>
                  <a:lnTo>
                    <a:pt x="1419933" y="22961"/>
                  </a:lnTo>
                  <a:lnTo>
                    <a:pt x="1374339" y="14790"/>
                  </a:lnTo>
                  <a:lnTo>
                    <a:pt x="1328161" y="8372"/>
                  </a:lnTo>
                  <a:lnTo>
                    <a:pt x="1281434" y="3744"/>
                  </a:lnTo>
                  <a:lnTo>
                    <a:pt x="1234193" y="942"/>
                  </a:lnTo>
                  <a:lnTo>
                    <a:pt x="1186473" y="0"/>
                  </a:lnTo>
                  <a:close/>
                </a:path>
              </a:pathLst>
            </a:custGeom>
            <a:solidFill>
              <a:srgbClr val="0000CC"/>
            </a:solidFill>
          </p:spPr>
          <p:txBody>
            <a:bodyPr wrap="square" lIns="0" tIns="0" rIns="0" bIns="0" rtlCol="0" anchor="ctr" anchorCtr="0"/>
            <a:lstStyle/>
            <a:p>
              <a:pPr marL="21193" marR="1905" indent="-16669" algn="ctr">
                <a:lnSpc>
                  <a:spcPct val="100000"/>
                </a:lnSpc>
                <a:spcBef>
                  <a:spcPts val="143"/>
                </a:spcBef>
              </a:pPr>
              <a:r>
                <a:rPr lang="en-US" sz="751" b="0" spc="113">
                  <a:solidFill>
                    <a:srgbClr val="FFFFFF"/>
                  </a:solidFill>
                  <a:latin typeface="Roboto Light" panose="02000000000000000000" pitchFamily="2" charset="0"/>
                  <a:cs typeface="Maison Neue Thin"/>
                </a:rPr>
                <a:t>STRATEGIC</a:t>
              </a:r>
              <a:endParaRPr lang="ro-RO" sz="751" b="0" spc="113">
                <a:solidFill>
                  <a:srgbClr val="FFFFFF"/>
                </a:solidFill>
                <a:latin typeface="Roboto Light" panose="02000000000000000000" pitchFamily="2" charset="0"/>
                <a:cs typeface="Maison Neue Thin"/>
              </a:endParaRPr>
            </a:p>
            <a:p>
              <a:pPr marL="21193" marR="1905" indent="-16669" algn="ctr">
                <a:lnSpc>
                  <a:spcPct val="100000"/>
                </a:lnSpc>
                <a:spcBef>
                  <a:spcPts val="143"/>
                </a:spcBef>
              </a:pPr>
              <a:r>
                <a:rPr lang="en-US" sz="751" b="0" spc="113">
                  <a:solidFill>
                    <a:srgbClr val="FFFFFF"/>
                  </a:solidFill>
                  <a:latin typeface="Roboto Light" panose="02000000000000000000" pitchFamily="2" charset="0"/>
                  <a:cs typeface="Maison Neue Thin"/>
                </a:rPr>
                <a:t>ADVISORY</a:t>
              </a:r>
              <a:endParaRPr lang="en-US" sz="751" spc="113">
                <a:latin typeface="Roboto Light" panose="02000000000000000000" pitchFamily="2" charset="0"/>
                <a:cs typeface="Maison Neue Thin"/>
              </a:endParaRPr>
            </a:p>
          </p:txBody>
        </p:sp>
        <p:sp>
          <p:nvSpPr>
            <p:cNvPr id="43" name="object 13">
              <a:extLst>
                <a:ext uri="{FF2B5EF4-FFF2-40B4-BE49-F238E27FC236}">
                  <a16:creationId xmlns:a16="http://schemas.microsoft.com/office/drawing/2014/main" id="{76F353EE-5659-6E4F-9D67-B860651791D2}"/>
                </a:ext>
              </a:extLst>
            </p:cNvPr>
            <p:cNvSpPr/>
            <p:nvPr/>
          </p:nvSpPr>
          <p:spPr>
            <a:xfrm>
              <a:off x="15279925" y="7676857"/>
              <a:ext cx="2372995" cy="2372995"/>
            </a:xfrm>
            <a:custGeom>
              <a:avLst/>
              <a:gdLst/>
              <a:ahLst/>
              <a:cxnLst/>
              <a:rect l="l" t="t" r="r" b="b"/>
              <a:pathLst>
                <a:path w="2372994" h="2372995">
                  <a:moveTo>
                    <a:pt x="1186473" y="0"/>
                  </a:moveTo>
                  <a:lnTo>
                    <a:pt x="1138754" y="942"/>
                  </a:lnTo>
                  <a:lnTo>
                    <a:pt x="1091512" y="3744"/>
                  </a:lnTo>
                  <a:lnTo>
                    <a:pt x="1044785" y="8372"/>
                  </a:lnTo>
                  <a:lnTo>
                    <a:pt x="998607" y="14790"/>
                  </a:lnTo>
                  <a:lnTo>
                    <a:pt x="953013" y="22961"/>
                  </a:lnTo>
                  <a:lnTo>
                    <a:pt x="908040" y="32852"/>
                  </a:lnTo>
                  <a:lnTo>
                    <a:pt x="863721" y="44426"/>
                  </a:lnTo>
                  <a:lnTo>
                    <a:pt x="820094" y="57648"/>
                  </a:lnTo>
                  <a:lnTo>
                    <a:pt x="777194" y="72482"/>
                  </a:lnTo>
                  <a:lnTo>
                    <a:pt x="735055" y="88893"/>
                  </a:lnTo>
                  <a:lnTo>
                    <a:pt x="693713" y="106846"/>
                  </a:lnTo>
                  <a:lnTo>
                    <a:pt x="653204" y="126305"/>
                  </a:lnTo>
                  <a:lnTo>
                    <a:pt x="613564" y="147235"/>
                  </a:lnTo>
                  <a:lnTo>
                    <a:pt x="574827" y="169600"/>
                  </a:lnTo>
                  <a:lnTo>
                    <a:pt x="537029" y="193365"/>
                  </a:lnTo>
                  <a:lnTo>
                    <a:pt x="500205" y="218494"/>
                  </a:lnTo>
                  <a:lnTo>
                    <a:pt x="464391" y="244952"/>
                  </a:lnTo>
                  <a:lnTo>
                    <a:pt x="429623" y="272704"/>
                  </a:lnTo>
                  <a:lnTo>
                    <a:pt x="395936" y="301713"/>
                  </a:lnTo>
                  <a:lnTo>
                    <a:pt x="363365" y="331945"/>
                  </a:lnTo>
                  <a:lnTo>
                    <a:pt x="331945" y="363365"/>
                  </a:lnTo>
                  <a:lnTo>
                    <a:pt x="301713" y="395936"/>
                  </a:lnTo>
                  <a:lnTo>
                    <a:pt x="272704" y="429623"/>
                  </a:lnTo>
                  <a:lnTo>
                    <a:pt x="244952" y="464391"/>
                  </a:lnTo>
                  <a:lnTo>
                    <a:pt x="218494" y="500205"/>
                  </a:lnTo>
                  <a:lnTo>
                    <a:pt x="193365" y="537029"/>
                  </a:lnTo>
                  <a:lnTo>
                    <a:pt x="169600" y="574827"/>
                  </a:lnTo>
                  <a:lnTo>
                    <a:pt x="147235" y="613564"/>
                  </a:lnTo>
                  <a:lnTo>
                    <a:pt x="126305" y="653204"/>
                  </a:lnTo>
                  <a:lnTo>
                    <a:pt x="106846" y="693713"/>
                  </a:lnTo>
                  <a:lnTo>
                    <a:pt x="88893" y="735055"/>
                  </a:lnTo>
                  <a:lnTo>
                    <a:pt x="72482" y="777194"/>
                  </a:lnTo>
                  <a:lnTo>
                    <a:pt x="57648" y="820094"/>
                  </a:lnTo>
                  <a:lnTo>
                    <a:pt x="44426" y="863721"/>
                  </a:lnTo>
                  <a:lnTo>
                    <a:pt x="32852" y="908040"/>
                  </a:lnTo>
                  <a:lnTo>
                    <a:pt x="22961" y="953013"/>
                  </a:lnTo>
                  <a:lnTo>
                    <a:pt x="14790" y="998607"/>
                  </a:lnTo>
                  <a:lnTo>
                    <a:pt x="8372" y="1044785"/>
                  </a:lnTo>
                  <a:lnTo>
                    <a:pt x="3744" y="1091512"/>
                  </a:lnTo>
                  <a:lnTo>
                    <a:pt x="942" y="1138754"/>
                  </a:lnTo>
                  <a:lnTo>
                    <a:pt x="0" y="1186473"/>
                  </a:lnTo>
                  <a:lnTo>
                    <a:pt x="942" y="1234193"/>
                  </a:lnTo>
                  <a:lnTo>
                    <a:pt x="3744" y="1281434"/>
                  </a:lnTo>
                  <a:lnTo>
                    <a:pt x="8372" y="1328161"/>
                  </a:lnTo>
                  <a:lnTo>
                    <a:pt x="14790" y="1374339"/>
                  </a:lnTo>
                  <a:lnTo>
                    <a:pt x="22961" y="1419933"/>
                  </a:lnTo>
                  <a:lnTo>
                    <a:pt x="32852" y="1464907"/>
                  </a:lnTo>
                  <a:lnTo>
                    <a:pt x="44426" y="1509225"/>
                  </a:lnTo>
                  <a:lnTo>
                    <a:pt x="57648" y="1552852"/>
                  </a:lnTo>
                  <a:lnTo>
                    <a:pt x="72482" y="1595752"/>
                  </a:lnTo>
                  <a:lnTo>
                    <a:pt x="88893" y="1637891"/>
                  </a:lnTo>
                  <a:lnTo>
                    <a:pt x="106846" y="1679233"/>
                  </a:lnTo>
                  <a:lnTo>
                    <a:pt x="126305" y="1719742"/>
                  </a:lnTo>
                  <a:lnTo>
                    <a:pt x="147235" y="1759382"/>
                  </a:lnTo>
                  <a:lnTo>
                    <a:pt x="169600" y="1798120"/>
                  </a:lnTo>
                  <a:lnTo>
                    <a:pt x="193365" y="1835918"/>
                  </a:lnTo>
                  <a:lnTo>
                    <a:pt x="218494" y="1872741"/>
                  </a:lnTo>
                  <a:lnTo>
                    <a:pt x="244952" y="1908555"/>
                  </a:lnTo>
                  <a:lnTo>
                    <a:pt x="272704" y="1943323"/>
                  </a:lnTo>
                  <a:lnTo>
                    <a:pt x="301713" y="1977010"/>
                  </a:lnTo>
                  <a:lnTo>
                    <a:pt x="331945" y="2009581"/>
                  </a:lnTo>
                  <a:lnTo>
                    <a:pt x="363365" y="2041001"/>
                  </a:lnTo>
                  <a:lnTo>
                    <a:pt x="395936" y="2071233"/>
                  </a:lnTo>
                  <a:lnTo>
                    <a:pt x="429623" y="2100243"/>
                  </a:lnTo>
                  <a:lnTo>
                    <a:pt x="464391" y="2127994"/>
                  </a:lnTo>
                  <a:lnTo>
                    <a:pt x="500205" y="2154452"/>
                  </a:lnTo>
                  <a:lnTo>
                    <a:pt x="537029" y="2179582"/>
                  </a:lnTo>
                  <a:lnTo>
                    <a:pt x="574827" y="2203346"/>
                  </a:lnTo>
                  <a:lnTo>
                    <a:pt x="613564" y="2225711"/>
                  </a:lnTo>
                  <a:lnTo>
                    <a:pt x="653204" y="2246641"/>
                  </a:lnTo>
                  <a:lnTo>
                    <a:pt x="693713" y="2266100"/>
                  </a:lnTo>
                  <a:lnTo>
                    <a:pt x="735055" y="2284053"/>
                  </a:lnTo>
                  <a:lnTo>
                    <a:pt x="777194" y="2300464"/>
                  </a:lnTo>
                  <a:lnTo>
                    <a:pt x="820094" y="2315299"/>
                  </a:lnTo>
                  <a:lnTo>
                    <a:pt x="863721" y="2328520"/>
                  </a:lnTo>
                  <a:lnTo>
                    <a:pt x="908040" y="2340094"/>
                  </a:lnTo>
                  <a:lnTo>
                    <a:pt x="953013" y="2349985"/>
                  </a:lnTo>
                  <a:lnTo>
                    <a:pt x="998607" y="2358157"/>
                  </a:lnTo>
                  <a:lnTo>
                    <a:pt x="1044785" y="2364574"/>
                  </a:lnTo>
                  <a:lnTo>
                    <a:pt x="1091512" y="2369202"/>
                  </a:lnTo>
                  <a:lnTo>
                    <a:pt x="1138754" y="2372005"/>
                  </a:lnTo>
                  <a:lnTo>
                    <a:pt x="1186473" y="2372947"/>
                  </a:lnTo>
                  <a:lnTo>
                    <a:pt x="1234193" y="2372005"/>
                  </a:lnTo>
                  <a:lnTo>
                    <a:pt x="1281434" y="2369202"/>
                  </a:lnTo>
                  <a:lnTo>
                    <a:pt x="1328161" y="2364574"/>
                  </a:lnTo>
                  <a:lnTo>
                    <a:pt x="1374339" y="2358157"/>
                  </a:lnTo>
                  <a:lnTo>
                    <a:pt x="1419933" y="2349985"/>
                  </a:lnTo>
                  <a:lnTo>
                    <a:pt x="1464907" y="2340094"/>
                  </a:lnTo>
                  <a:lnTo>
                    <a:pt x="1509225" y="2328520"/>
                  </a:lnTo>
                  <a:lnTo>
                    <a:pt x="1552852" y="2315299"/>
                  </a:lnTo>
                  <a:lnTo>
                    <a:pt x="1595752" y="2300464"/>
                  </a:lnTo>
                  <a:lnTo>
                    <a:pt x="1637891" y="2284053"/>
                  </a:lnTo>
                  <a:lnTo>
                    <a:pt x="1679233" y="2266100"/>
                  </a:lnTo>
                  <a:lnTo>
                    <a:pt x="1719742" y="2246641"/>
                  </a:lnTo>
                  <a:lnTo>
                    <a:pt x="1759382" y="2225711"/>
                  </a:lnTo>
                  <a:lnTo>
                    <a:pt x="1798120" y="2203346"/>
                  </a:lnTo>
                  <a:lnTo>
                    <a:pt x="1835918" y="2179582"/>
                  </a:lnTo>
                  <a:lnTo>
                    <a:pt x="1872741" y="2154452"/>
                  </a:lnTo>
                  <a:lnTo>
                    <a:pt x="1908555" y="2127994"/>
                  </a:lnTo>
                  <a:lnTo>
                    <a:pt x="1943323" y="2100243"/>
                  </a:lnTo>
                  <a:lnTo>
                    <a:pt x="1977010" y="2071233"/>
                  </a:lnTo>
                  <a:lnTo>
                    <a:pt x="2009581" y="2041001"/>
                  </a:lnTo>
                  <a:lnTo>
                    <a:pt x="2041001" y="2009581"/>
                  </a:lnTo>
                  <a:lnTo>
                    <a:pt x="2071233" y="1977010"/>
                  </a:lnTo>
                  <a:lnTo>
                    <a:pt x="2100243" y="1943323"/>
                  </a:lnTo>
                  <a:lnTo>
                    <a:pt x="2127994" y="1908555"/>
                  </a:lnTo>
                  <a:lnTo>
                    <a:pt x="2154452" y="1872741"/>
                  </a:lnTo>
                  <a:lnTo>
                    <a:pt x="2179582" y="1835918"/>
                  </a:lnTo>
                  <a:lnTo>
                    <a:pt x="2203346" y="1798120"/>
                  </a:lnTo>
                  <a:lnTo>
                    <a:pt x="2225711" y="1759382"/>
                  </a:lnTo>
                  <a:lnTo>
                    <a:pt x="2246641" y="1719742"/>
                  </a:lnTo>
                  <a:lnTo>
                    <a:pt x="2266100" y="1679233"/>
                  </a:lnTo>
                  <a:lnTo>
                    <a:pt x="2284053" y="1637891"/>
                  </a:lnTo>
                  <a:lnTo>
                    <a:pt x="2300464" y="1595752"/>
                  </a:lnTo>
                  <a:lnTo>
                    <a:pt x="2315299" y="1552852"/>
                  </a:lnTo>
                  <a:lnTo>
                    <a:pt x="2328520" y="1509225"/>
                  </a:lnTo>
                  <a:lnTo>
                    <a:pt x="2340094" y="1464907"/>
                  </a:lnTo>
                  <a:lnTo>
                    <a:pt x="2349985" y="1419933"/>
                  </a:lnTo>
                  <a:lnTo>
                    <a:pt x="2358157" y="1374339"/>
                  </a:lnTo>
                  <a:lnTo>
                    <a:pt x="2364574" y="1328161"/>
                  </a:lnTo>
                  <a:lnTo>
                    <a:pt x="2369202" y="1281434"/>
                  </a:lnTo>
                  <a:lnTo>
                    <a:pt x="2372005" y="1234193"/>
                  </a:lnTo>
                  <a:lnTo>
                    <a:pt x="2372947" y="1186473"/>
                  </a:lnTo>
                  <a:lnTo>
                    <a:pt x="2372005" y="1138754"/>
                  </a:lnTo>
                  <a:lnTo>
                    <a:pt x="2369202" y="1091512"/>
                  </a:lnTo>
                  <a:lnTo>
                    <a:pt x="2364574" y="1044785"/>
                  </a:lnTo>
                  <a:lnTo>
                    <a:pt x="2358157" y="998607"/>
                  </a:lnTo>
                  <a:lnTo>
                    <a:pt x="2349985" y="953013"/>
                  </a:lnTo>
                  <a:lnTo>
                    <a:pt x="2340094" y="908040"/>
                  </a:lnTo>
                  <a:lnTo>
                    <a:pt x="2328520" y="863721"/>
                  </a:lnTo>
                  <a:lnTo>
                    <a:pt x="2315299" y="820094"/>
                  </a:lnTo>
                  <a:lnTo>
                    <a:pt x="2300464" y="777194"/>
                  </a:lnTo>
                  <a:lnTo>
                    <a:pt x="2284053" y="735055"/>
                  </a:lnTo>
                  <a:lnTo>
                    <a:pt x="2266100" y="693713"/>
                  </a:lnTo>
                  <a:lnTo>
                    <a:pt x="2246641" y="653204"/>
                  </a:lnTo>
                  <a:lnTo>
                    <a:pt x="2225711" y="613564"/>
                  </a:lnTo>
                  <a:lnTo>
                    <a:pt x="2203346" y="574827"/>
                  </a:lnTo>
                  <a:lnTo>
                    <a:pt x="2179582" y="537029"/>
                  </a:lnTo>
                  <a:lnTo>
                    <a:pt x="2154452" y="500205"/>
                  </a:lnTo>
                  <a:lnTo>
                    <a:pt x="2127994" y="464391"/>
                  </a:lnTo>
                  <a:lnTo>
                    <a:pt x="2100243" y="429623"/>
                  </a:lnTo>
                  <a:lnTo>
                    <a:pt x="2071233" y="395936"/>
                  </a:lnTo>
                  <a:lnTo>
                    <a:pt x="2041001" y="363365"/>
                  </a:lnTo>
                  <a:lnTo>
                    <a:pt x="2009581" y="331945"/>
                  </a:lnTo>
                  <a:lnTo>
                    <a:pt x="1977010" y="301713"/>
                  </a:lnTo>
                  <a:lnTo>
                    <a:pt x="1943323" y="272704"/>
                  </a:lnTo>
                  <a:lnTo>
                    <a:pt x="1908555" y="244952"/>
                  </a:lnTo>
                  <a:lnTo>
                    <a:pt x="1872741" y="218494"/>
                  </a:lnTo>
                  <a:lnTo>
                    <a:pt x="1835918" y="193365"/>
                  </a:lnTo>
                  <a:lnTo>
                    <a:pt x="1798120" y="169600"/>
                  </a:lnTo>
                  <a:lnTo>
                    <a:pt x="1759382" y="147235"/>
                  </a:lnTo>
                  <a:lnTo>
                    <a:pt x="1719742" y="126305"/>
                  </a:lnTo>
                  <a:lnTo>
                    <a:pt x="1679233" y="106846"/>
                  </a:lnTo>
                  <a:lnTo>
                    <a:pt x="1637891" y="88893"/>
                  </a:lnTo>
                  <a:lnTo>
                    <a:pt x="1595752" y="72482"/>
                  </a:lnTo>
                  <a:lnTo>
                    <a:pt x="1552852" y="57648"/>
                  </a:lnTo>
                  <a:lnTo>
                    <a:pt x="1509225" y="44426"/>
                  </a:lnTo>
                  <a:lnTo>
                    <a:pt x="1464907" y="32852"/>
                  </a:lnTo>
                  <a:lnTo>
                    <a:pt x="1419933" y="22961"/>
                  </a:lnTo>
                  <a:lnTo>
                    <a:pt x="1374339" y="14790"/>
                  </a:lnTo>
                  <a:lnTo>
                    <a:pt x="1328161" y="8372"/>
                  </a:lnTo>
                  <a:lnTo>
                    <a:pt x="1281434" y="3744"/>
                  </a:lnTo>
                  <a:lnTo>
                    <a:pt x="1234193" y="942"/>
                  </a:lnTo>
                  <a:lnTo>
                    <a:pt x="1186473" y="0"/>
                  </a:lnTo>
                  <a:close/>
                </a:path>
              </a:pathLst>
            </a:custGeom>
            <a:solidFill>
              <a:srgbClr val="0000CC"/>
            </a:solidFill>
          </p:spPr>
          <p:txBody>
            <a:bodyPr wrap="square" lIns="0" tIns="0" rIns="0" bIns="0" rtlCol="0" anchor="ctr" anchorCtr="0"/>
            <a:lstStyle/>
            <a:p>
              <a:pPr marL="27383" marR="1905" indent="-22859" algn="ctr">
                <a:lnSpc>
                  <a:spcPct val="100000"/>
                </a:lnSpc>
                <a:spcBef>
                  <a:spcPts val="143"/>
                </a:spcBef>
              </a:pPr>
              <a:r>
                <a:rPr lang="en-US" sz="751" b="0" spc="113">
                  <a:solidFill>
                    <a:srgbClr val="FFFFFF"/>
                  </a:solidFill>
                  <a:latin typeface="Roboto Light" panose="02000000000000000000" pitchFamily="2" charset="0"/>
                  <a:cs typeface="Maison Neue Thin"/>
                </a:rPr>
                <a:t>MANAGEMENT</a:t>
              </a:r>
              <a:endParaRPr lang="ro-RO" sz="751" b="0" spc="113">
                <a:solidFill>
                  <a:srgbClr val="FFFFFF"/>
                </a:solidFill>
                <a:latin typeface="Roboto Light" panose="02000000000000000000" pitchFamily="2" charset="0"/>
                <a:cs typeface="Maison Neue Thin"/>
              </a:endParaRPr>
            </a:p>
            <a:p>
              <a:pPr marL="27383" marR="1905" indent="-22859" algn="ctr">
                <a:lnSpc>
                  <a:spcPct val="100000"/>
                </a:lnSpc>
                <a:spcBef>
                  <a:spcPts val="143"/>
                </a:spcBef>
              </a:pPr>
              <a:r>
                <a:rPr lang="en-US" sz="751" b="0" spc="113">
                  <a:solidFill>
                    <a:srgbClr val="FFFFFF"/>
                  </a:solidFill>
                  <a:latin typeface="Roboto Light" panose="02000000000000000000" pitchFamily="2" charset="0"/>
                  <a:cs typeface="Maison Neue Thin"/>
                </a:rPr>
                <a:t>CONSULTING</a:t>
              </a:r>
              <a:endParaRPr lang="en-US" sz="751" spc="113">
                <a:latin typeface="Roboto Light" panose="02000000000000000000" pitchFamily="2" charset="0"/>
                <a:cs typeface="Maison Neue Thin"/>
              </a:endParaRPr>
            </a:p>
          </p:txBody>
        </p:sp>
      </p:grpSp>
      <p:pic>
        <p:nvPicPr>
          <p:cNvPr id="29" name="Graphic 28">
            <a:extLst>
              <a:ext uri="{FF2B5EF4-FFF2-40B4-BE49-F238E27FC236}">
                <a16:creationId xmlns:a16="http://schemas.microsoft.com/office/drawing/2014/main" id="{A9A7CE4A-C685-BB4C-8DD5-29CD20B9B65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23697" y="2829206"/>
            <a:ext cx="312243" cy="302760"/>
          </a:xfrm>
          <a:prstGeom prst="rect">
            <a:avLst/>
          </a:prstGeom>
        </p:spPr>
      </p:pic>
      <p:sp>
        <p:nvSpPr>
          <p:cNvPr id="21" name="Date Placeholder 2">
            <a:extLst>
              <a:ext uri="{FF2B5EF4-FFF2-40B4-BE49-F238E27FC236}">
                <a16:creationId xmlns:a16="http://schemas.microsoft.com/office/drawing/2014/main" id="{A5B7DC72-AC07-F04E-A773-A9E70288F8E5}"/>
              </a:ext>
            </a:extLst>
          </p:cNvPr>
          <p:cNvSpPr>
            <a:spLocks noGrp="1"/>
          </p:cNvSpPr>
          <p:nvPr>
            <p:ph type="dt" sz="half" idx="10"/>
          </p:nvPr>
        </p:nvSpPr>
        <p:spPr>
          <a:xfrm>
            <a:off x="324002" y="4972079"/>
            <a:ext cx="494319" cy="92455"/>
          </a:xfrm>
        </p:spPr>
        <p:txBody>
          <a:bodyPr/>
          <a:lstStyle/>
          <a:p>
            <a:fld id="{D40DE481-CAFC-4638-9259-6B1CC2EFCA74}" type="datetime1">
              <a:rPr lang="de-DE" smtClean="0"/>
              <a:t>24.01.2024</a:t>
            </a:fld>
            <a:endParaRPr lang="en-US"/>
          </a:p>
        </p:txBody>
      </p:sp>
      <p:pic>
        <p:nvPicPr>
          <p:cNvPr id="46" name="Graphic 45">
            <a:extLst>
              <a:ext uri="{FF2B5EF4-FFF2-40B4-BE49-F238E27FC236}">
                <a16:creationId xmlns:a16="http://schemas.microsoft.com/office/drawing/2014/main" id="{23D0D7AC-251E-4350-A406-98DEF21509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3697" y="2829206"/>
            <a:ext cx="312243" cy="302760"/>
          </a:xfrm>
          <a:prstGeom prst="rect">
            <a:avLst/>
          </a:prstGeom>
        </p:spPr>
      </p:pic>
      <p:sp>
        <p:nvSpPr>
          <p:cNvPr id="33" name="Text Placeholder 4">
            <a:extLst>
              <a:ext uri="{FF2B5EF4-FFF2-40B4-BE49-F238E27FC236}">
                <a16:creationId xmlns:a16="http://schemas.microsoft.com/office/drawing/2014/main" id="{023F7B08-00F6-8845-BEE0-BC2159A38DB7}"/>
              </a:ext>
            </a:extLst>
          </p:cNvPr>
          <p:cNvSpPr>
            <a:spLocks noGrp="1"/>
          </p:cNvSpPr>
          <p:nvPr>
            <p:ph type="body" sz="quarter" idx="79" hasCustomPrompt="1"/>
          </p:nvPr>
        </p:nvSpPr>
        <p:spPr>
          <a:xfrm>
            <a:off x="324001" y="1299267"/>
            <a:ext cx="3913483" cy="248786"/>
          </a:xfrm>
          <a:prstGeom prst="rect">
            <a:avLst/>
          </a:prstGeom>
        </p:spPr>
        <p:txBody>
          <a:bodyPr wrap="square" lIns="0" tIns="0" rIns="0" bIns="0">
            <a:spAutoFit/>
          </a:bodyPr>
          <a:lstStyle>
            <a:lvl1pPr marL="0" indent="0">
              <a:lnSpc>
                <a:spcPct val="80000"/>
              </a:lnSpc>
              <a:spcBef>
                <a:spcPts val="0"/>
              </a:spcBef>
              <a:buFontTx/>
              <a:buNone/>
              <a:defRPr lang="en-US" sz="2000" kern="1200" spc="-151" baseline="0" dirty="0">
                <a:solidFill>
                  <a:schemeClr val="accent1"/>
                </a:solidFill>
                <a:latin typeface="+mn-lt"/>
                <a:ea typeface="+mn-ea"/>
                <a:cs typeface="+mn-cs"/>
              </a:defRPr>
            </a:lvl1pPr>
          </a:lstStyle>
          <a:p>
            <a:pPr lvl="0"/>
            <a:r>
              <a:rPr lang="en-US"/>
              <a:t>Lorem ipsum</a:t>
            </a:r>
          </a:p>
        </p:txBody>
      </p:sp>
      <p:sp>
        <p:nvSpPr>
          <p:cNvPr id="6" name="Text Placeholder 5">
            <a:extLst>
              <a:ext uri="{FF2B5EF4-FFF2-40B4-BE49-F238E27FC236}">
                <a16:creationId xmlns:a16="http://schemas.microsoft.com/office/drawing/2014/main" id="{4BDD2A89-7917-0B4B-B30C-B92C65C03A71}"/>
              </a:ext>
            </a:extLst>
          </p:cNvPr>
          <p:cNvSpPr>
            <a:spLocks noGrp="1"/>
          </p:cNvSpPr>
          <p:nvPr>
            <p:ph type="body" sz="quarter" idx="81" hasCustomPrompt="1"/>
          </p:nvPr>
        </p:nvSpPr>
        <p:spPr>
          <a:xfrm>
            <a:off x="324001" y="1555751"/>
            <a:ext cx="3913187" cy="720000"/>
          </a:xfrm>
        </p:spPr>
        <p:txBody>
          <a:bodyPr>
            <a:noAutofit/>
          </a:bodyPr>
          <a:lstStyle>
            <a:lvl1pPr marL="0" indent="0">
              <a:lnSpc>
                <a:spcPct val="100000"/>
              </a:lnSpc>
              <a:spcBef>
                <a:spcPts val="0"/>
              </a:spcBef>
              <a:buNone/>
              <a:defRPr lang="en-GB" sz="900" b="0" i="0" smtClean="0">
                <a:effectLst/>
              </a:defRPr>
            </a:lvl1pPr>
            <a:lvl2pPr>
              <a:defRPr sz="900"/>
            </a:lvl2pPr>
            <a:lvl3pPr>
              <a:defRPr sz="900"/>
            </a:lvl3pPr>
            <a:lvl4pPr>
              <a:defRPr sz="900"/>
            </a:lvl4pPr>
            <a:lvl5pPr>
              <a:defRPr sz="900"/>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r>
              <a:rPr lang="en-GB" err="1"/>
              <a:t>Aliquam</a:t>
            </a:r>
            <a:r>
              <a:rPr lang="en-GB"/>
              <a:t> </a:t>
            </a:r>
            <a:r>
              <a:rPr lang="en-GB" err="1"/>
              <a:t>sem</a:t>
            </a:r>
            <a:r>
              <a:rPr lang="en-GB"/>
              <a:t> et </a:t>
            </a:r>
            <a:r>
              <a:rPr lang="en-GB" err="1"/>
              <a:t>tortor</a:t>
            </a:r>
            <a:r>
              <a:rPr lang="en-GB"/>
              <a:t> </a:t>
            </a:r>
            <a:r>
              <a:rPr lang="en-GB" err="1"/>
              <a:t>consequat</a:t>
            </a:r>
            <a:r>
              <a:rPr lang="en-GB"/>
              <a:t> id porta </a:t>
            </a:r>
            <a:r>
              <a:rPr lang="en-GB" err="1"/>
              <a:t>nibh</a:t>
            </a:r>
            <a:r>
              <a:rPr lang="en-GB"/>
              <a:t>. Id </a:t>
            </a:r>
            <a:r>
              <a:rPr lang="en-GB" err="1"/>
              <a:t>volutpat</a:t>
            </a:r>
            <a:r>
              <a:rPr lang="en-GB"/>
              <a:t> </a:t>
            </a:r>
            <a:r>
              <a:rPr lang="en-GB" err="1"/>
              <a:t>lacus</a:t>
            </a:r>
            <a:r>
              <a:rPr lang="en-GB"/>
              <a:t> </a:t>
            </a:r>
            <a:r>
              <a:rPr lang="en-GB" err="1"/>
              <a:t>laoreet</a:t>
            </a:r>
            <a:r>
              <a:rPr lang="en-GB"/>
              <a:t> non </a:t>
            </a:r>
            <a:r>
              <a:rPr lang="en-GB" err="1"/>
              <a:t>curabitur</a:t>
            </a:r>
            <a:r>
              <a:rPr lang="en-GB"/>
              <a:t> gravida </a:t>
            </a:r>
            <a:r>
              <a:rPr lang="en-GB" err="1"/>
              <a:t>arcu</a:t>
            </a:r>
            <a:r>
              <a:rPr lang="en-GB"/>
              <a:t> ac </a:t>
            </a:r>
            <a:r>
              <a:rPr lang="en-GB" err="1"/>
              <a:t>tortor</a:t>
            </a:r>
            <a:r>
              <a:rPr lang="en-GB"/>
              <a:t>. </a:t>
            </a:r>
          </a:p>
        </p:txBody>
      </p:sp>
      <p:sp>
        <p:nvSpPr>
          <p:cNvPr id="35" name="Text Placeholder 4">
            <a:extLst>
              <a:ext uri="{FF2B5EF4-FFF2-40B4-BE49-F238E27FC236}">
                <a16:creationId xmlns:a16="http://schemas.microsoft.com/office/drawing/2014/main" id="{FD16761B-6D7A-3044-B3AD-8B9639F5C665}"/>
              </a:ext>
            </a:extLst>
          </p:cNvPr>
          <p:cNvSpPr>
            <a:spLocks noGrp="1"/>
          </p:cNvSpPr>
          <p:nvPr>
            <p:ph type="body" sz="quarter" idx="82" hasCustomPrompt="1"/>
          </p:nvPr>
        </p:nvSpPr>
        <p:spPr>
          <a:xfrm>
            <a:off x="324001" y="2380655"/>
            <a:ext cx="3913483" cy="248786"/>
          </a:xfrm>
          <a:prstGeom prst="rect">
            <a:avLst/>
          </a:prstGeom>
        </p:spPr>
        <p:txBody>
          <a:bodyPr wrap="square" lIns="0" tIns="0" rIns="0" bIns="0">
            <a:spAutoFit/>
          </a:bodyPr>
          <a:lstStyle>
            <a:lvl1pPr marL="0" indent="0">
              <a:lnSpc>
                <a:spcPct val="80000"/>
              </a:lnSpc>
              <a:spcBef>
                <a:spcPts val="0"/>
              </a:spcBef>
              <a:buFontTx/>
              <a:buNone/>
              <a:defRPr lang="en-US" sz="2000" kern="1200" spc="-151" baseline="0" dirty="0">
                <a:solidFill>
                  <a:schemeClr val="accent1"/>
                </a:solidFill>
                <a:latin typeface="+mn-lt"/>
                <a:ea typeface="+mn-ea"/>
                <a:cs typeface="+mn-cs"/>
              </a:defRPr>
            </a:lvl1pPr>
          </a:lstStyle>
          <a:p>
            <a:pPr marL="0" lvl="0" indent="0" algn="l" defTabSz="685758" rtl="0" eaLnBrk="1" latinLnBrk="0" hangingPunct="1">
              <a:lnSpc>
                <a:spcPct val="80000"/>
              </a:lnSpc>
              <a:spcBef>
                <a:spcPts val="0"/>
              </a:spcBef>
              <a:buClr>
                <a:schemeClr val="accent1"/>
              </a:buClr>
              <a:buFontTx/>
              <a:buNone/>
            </a:pPr>
            <a:r>
              <a:rPr lang="en-US"/>
              <a:t>Lorem ipsum</a:t>
            </a:r>
          </a:p>
        </p:txBody>
      </p:sp>
      <p:sp>
        <p:nvSpPr>
          <p:cNvPr id="36" name="Text Placeholder 5">
            <a:extLst>
              <a:ext uri="{FF2B5EF4-FFF2-40B4-BE49-F238E27FC236}">
                <a16:creationId xmlns:a16="http://schemas.microsoft.com/office/drawing/2014/main" id="{BF571AF9-B96A-414A-9B75-96EC7E38B78A}"/>
              </a:ext>
            </a:extLst>
          </p:cNvPr>
          <p:cNvSpPr>
            <a:spLocks noGrp="1"/>
          </p:cNvSpPr>
          <p:nvPr>
            <p:ph type="body" sz="quarter" idx="83" hasCustomPrompt="1"/>
          </p:nvPr>
        </p:nvSpPr>
        <p:spPr>
          <a:xfrm>
            <a:off x="324001" y="2637137"/>
            <a:ext cx="3913187" cy="720000"/>
          </a:xfrm>
        </p:spPr>
        <p:txBody>
          <a:bodyPr>
            <a:noAutofit/>
          </a:bodyPr>
          <a:lstStyle>
            <a:lvl1pPr marL="0" indent="0">
              <a:lnSpc>
                <a:spcPct val="100000"/>
              </a:lnSpc>
              <a:spcBef>
                <a:spcPts val="0"/>
              </a:spcBef>
              <a:buNone/>
              <a:defRPr lang="en-GB" sz="900" b="0" i="0" smtClean="0">
                <a:effectLst/>
              </a:defRPr>
            </a:lvl1pPr>
            <a:lvl2pPr>
              <a:defRPr sz="900"/>
            </a:lvl2pPr>
            <a:lvl3pPr>
              <a:defRPr sz="900"/>
            </a:lvl3pPr>
            <a:lvl4pPr>
              <a:defRPr sz="900"/>
            </a:lvl4pPr>
            <a:lvl5pPr>
              <a:defRPr sz="900"/>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r>
              <a:rPr lang="en-GB" err="1"/>
              <a:t>Aliquam</a:t>
            </a:r>
            <a:r>
              <a:rPr lang="en-GB"/>
              <a:t> </a:t>
            </a:r>
            <a:r>
              <a:rPr lang="en-GB" err="1"/>
              <a:t>sem</a:t>
            </a:r>
            <a:r>
              <a:rPr lang="en-GB"/>
              <a:t> et </a:t>
            </a:r>
            <a:r>
              <a:rPr lang="en-GB" err="1"/>
              <a:t>tortor</a:t>
            </a:r>
            <a:r>
              <a:rPr lang="en-GB"/>
              <a:t> </a:t>
            </a:r>
            <a:r>
              <a:rPr lang="en-GB" err="1"/>
              <a:t>consequat</a:t>
            </a:r>
            <a:r>
              <a:rPr lang="en-GB"/>
              <a:t> id porta </a:t>
            </a:r>
            <a:r>
              <a:rPr lang="en-GB" err="1"/>
              <a:t>nibh</a:t>
            </a:r>
            <a:r>
              <a:rPr lang="en-GB"/>
              <a:t>. Id </a:t>
            </a:r>
            <a:r>
              <a:rPr lang="en-GB" err="1"/>
              <a:t>volutpat</a:t>
            </a:r>
            <a:r>
              <a:rPr lang="en-GB"/>
              <a:t> </a:t>
            </a:r>
            <a:r>
              <a:rPr lang="en-GB" err="1"/>
              <a:t>lacus</a:t>
            </a:r>
            <a:r>
              <a:rPr lang="en-GB"/>
              <a:t> </a:t>
            </a:r>
            <a:r>
              <a:rPr lang="en-GB" err="1"/>
              <a:t>laoreet</a:t>
            </a:r>
            <a:r>
              <a:rPr lang="en-GB"/>
              <a:t> non </a:t>
            </a:r>
            <a:r>
              <a:rPr lang="en-GB" err="1"/>
              <a:t>curabitur</a:t>
            </a:r>
            <a:r>
              <a:rPr lang="en-GB"/>
              <a:t> gravida </a:t>
            </a:r>
            <a:r>
              <a:rPr lang="en-GB" err="1"/>
              <a:t>arcu</a:t>
            </a:r>
            <a:r>
              <a:rPr lang="en-GB"/>
              <a:t> ac </a:t>
            </a:r>
            <a:r>
              <a:rPr lang="en-GB" err="1"/>
              <a:t>tortor</a:t>
            </a:r>
            <a:r>
              <a:rPr lang="en-GB"/>
              <a:t>. </a:t>
            </a:r>
          </a:p>
        </p:txBody>
      </p:sp>
      <p:sp>
        <p:nvSpPr>
          <p:cNvPr id="47" name="Text Placeholder 4">
            <a:extLst>
              <a:ext uri="{FF2B5EF4-FFF2-40B4-BE49-F238E27FC236}">
                <a16:creationId xmlns:a16="http://schemas.microsoft.com/office/drawing/2014/main" id="{E21AEF62-E2C3-854F-9097-02ABF7ECB967}"/>
              </a:ext>
            </a:extLst>
          </p:cNvPr>
          <p:cNvSpPr>
            <a:spLocks noGrp="1"/>
          </p:cNvSpPr>
          <p:nvPr>
            <p:ph type="body" sz="quarter" idx="84" hasCustomPrompt="1"/>
          </p:nvPr>
        </p:nvSpPr>
        <p:spPr>
          <a:xfrm>
            <a:off x="324001" y="3457424"/>
            <a:ext cx="3913483" cy="248786"/>
          </a:xfrm>
          <a:prstGeom prst="rect">
            <a:avLst/>
          </a:prstGeom>
        </p:spPr>
        <p:txBody>
          <a:bodyPr wrap="square" lIns="0" tIns="0" rIns="0" bIns="0">
            <a:spAutoFit/>
          </a:bodyPr>
          <a:lstStyle>
            <a:lvl1pPr marL="0" indent="0">
              <a:lnSpc>
                <a:spcPct val="80000"/>
              </a:lnSpc>
              <a:spcBef>
                <a:spcPts val="0"/>
              </a:spcBef>
              <a:buFontTx/>
              <a:buNone/>
              <a:defRPr lang="en-US" sz="2000" kern="1200" spc="-151" baseline="0" dirty="0">
                <a:solidFill>
                  <a:schemeClr val="accent1"/>
                </a:solidFill>
                <a:latin typeface="+mn-lt"/>
                <a:ea typeface="+mn-ea"/>
                <a:cs typeface="+mn-cs"/>
              </a:defRPr>
            </a:lvl1pPr>
          </a:lstStyle>
          <a:p>
            <a:pPr marL="0" lvl="0" indent="0" algn="l" defTabSz="685758" rtl="0" eaLnBrk="1" latinLnBrk="0" hangingPunct="1">
              <a:lnSpc>
                <a:spcPct val="80000"/>
              </a:lnSpc>
              <a:spcBef>
                <a:spcPts val="0"/>
              </a:spcBef>
              <a:buClr>
                <a:schemeClr val="accent1"/>
              </a:buClr>
              <a:buFontTx/>
              <a:buNone/>
            </a:pPr>
            <a:r>
              <a:rPr lang="en-US"/>
              <a:t>Lorem ipsum</a:t>
            </a:r>
          </a:p>
        </p:txBody>
      </p:sp>
      <p:sp>
        <p:nvSpPr>
          <p:cNvPr id="48" name="Text Placeholder 5">
            <a:extLst>
              <a:ext uri="{FF2B5EF4-FFF2-40B4-BE49-F238E27FC236}">
                <a16:creationId xmlns:a16="http://schemas.microsoft.com/office/drawing/2014/main" id="{ED0DAA96-B960-2F4C-A0AD-B7D6A72FA097}"/>
              </a:ext>
            </a:extLst>
          </p:cNvPr>
          <p:cNvSpPr>
            <a:spLocks noGrp="1"/>
          </p:cNvSpPr>
          <p:nvPr>
            <p:ph type="body" sz="quarter" idx="85" hasCustomPrompt="1"/>
          </p:nvPr>
        </p:nvSpPr>
        <p:spPr>
          <a:xfrm>
            <a:off x="324001" y="3713907"/>
            <a:ext cx="3913187" cy="720000"/>
          </a:xfrm>
        </p:spPr>
        <p:txBody>
          <a:bodyPr>
            <a:noAutofit/>
          </a:bodyPr>
          <a:lstStyle>
            <a:lvl1pPr marL="0" indent="0">
              <a:lnSpc>
                <a:spcPct val="100000"/>
              </a:lnSpc>
              <a:spcBef>
                <a:spcPts val="0"/>
              </a:spcBef>
              <a:buNone/>
              <a:defRPr lang="en-GB" sz="900" b="0" i="0" smtClean="0">
                <a:effectLst/>
              </a:defRPr>
            </a:lvl1pPr>
            <a:lvl2pPr>
              <a:defRPr sz="900"/>
            </a:lvl2pPr>
            <a:lvl3pPr>
              <a:defRPr sz="900"/>
            </a:lvl3pPr>
            <a:lvl4pPr>
              <a:defRPr sz="900"/>
            </a:lvl4pPr>
            <a:lvl5pPr>
              <a:defRPr sz="900"/>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r>
              <a:rPr lang="en-GB" err="1"/>
              <a:t>Aliquam</a:t>
            </a:r>
            <a:r>
              <a:rPr lang="en-GB"/>
              <a:t> </a:t>
            </a:r>
            <a:r>
              <a:rPr lang="en-GB" err="1"/>
              <a:t>sem</a:t>
            </a:r>
            <a:r>
              <a:rPr lang="en-GB"/>
              <a:t> et </a:t>
            </a:r>
            <a:r>
              <a:rPr lang="en-GB" err="1"/>
              <a:t>tortor</a:t>
            </a:r>
            <a:r>
              <a:rPr lang="en-GB"/>
              <a:t> </a:t>
            </a:r>
            <a:r>
              <a:rPr lang="en-GB" err="1"/>
              <a:t>consequat</a:t>
            </a:r>
            <a:r>
              <a:rPr lang="en-GB"/>
              <a:t> id porta </a:t>
            </a:r>
            <a:r>
              <a:rPr lang="en-GB" err="1"/>
              <a:t>nibh</a:t>
            </a:r>
            <a:r>
              <a:rPr lang="en-GB"/>
              <a:t>. Id </a:t>
            </a:r>
            <a:r>
              <a:rPr lang="en-GB" err="1"/>
              <a:t>volutpat</a:t>
            </a:r>
            <a:r>
              <a:rPr lang="en-GB"/>
              <a:t> </a:t>
            </a:r>
            <a:r>
              <a:rPr lang="en-GB" err="1"/>
              <a:t>lacus</a:t>
            </a:r>
            <a:r>
              <a:rPr lang="en-GB"/>
              <a:t> </a:t>
            </a:r>
            <a:r>
              <a:rPr lang="en-GB" err="1"/>
              <a:t>laoreet</a:t>
            </a:r>
            <a:r>
              <a:rPr lang="en-GB"/>
              <a:t> non </a:t>
            </a:r>
            <a:r>
              <a:rPr lang="en-GB" err="1"/>
              <a:t>curabitur</a:t>
            </a:r>
            <a:r>
              <a:rPr lang="en-GB"/>
              <a:t> gravida </a:t>
            </a:r>
            <a:r>
              <a:rPr lang="en-GB" err="1"/>
              <a:t>arcu</a:t>
            </a:r>
            <a:r>
              <a:rPr lang="en-GB"/>
              <a:t> ac </a:t>
            </a:r>
            <a:r>
              <a:rPr lang="en-GB" err="1"/>
              <a:t>tortor</a:t>
            </a:r>
            <a:r>
              <a:rPr lang="en-GB"/>
              <a:t>. </a:t>
            </a:r>
          </a:p>
        </p:txBody>
      </p:sp>
      <p:sp>
        <p:nvSpPr>
          <p:cNvPr id="24" name="Footer Placeholder 2">
            <a:extLst>
              <a:ext uri="{FF2B5EF4-FFF2-40B4-BE49-F238E27FC236}">
                <a16:creationId xmlns:a16="http://schemas.microsoft.com/office/drawing/2014/main" id="{E32D963E-1C3C-8A42-A538-DAEF9AE7846D}"/>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5" name="Graphic 24">
            <a:extLst>
              <a:ext uri="{FF2B5EF4-FFF2-40B4-BE49-F238E27FC236}">
                <a16:creationId xmlns:a16="http://schemas.microsoft.com/office/drawing/2014/main" id="{A7709B7F-E46F-5F44-B782-911809B066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7" name="Slide Number Placeholder 3">
            <a:extLst>
              <a:ext uri="{FF2B5EF4-FFF2-40B4-BE49-F238E27FC236}">
                <a16:creationId xmlns:a16="http://schemas.microsoft.com/office/drawing/2014/main" id="{744DFB4A-4ACD-D24A-B7E4-2615CAA5D6F5}"/>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4197228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 green with photo">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3F41E55-45C6-A04C-81A9-467605465BF3}"/>
              </a:ext>
            </a:extLst>
          </p:cNvPr>
          <p:cNvSpPr>
            <a:spLocks noGrp="1"/>
          </p:cNvSpPr>
          <p:nvPr>
            <p:ph type="pic" sz="quarter" idx="44"/>
          </p:nvPr>
        </p:nvSpPr>
        <p:spPr>
          <a:xfrm>
            <a:off x="4572000" y="0"/>
            <a:ext cx="4572000"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9" name="Text Placeholder 4">
            <a:extLst>
              <a:ext uri="{FF2B5EF4-FFF2-40B4-BE49-F238E27FC236}">
                <a16:creationId xmlns:a16="http://schemas.microsoft.com/office/drawing/2014/main" id="{C7005402-EAF2-514A-B38B-68125E005F6A}"/>
              </a:ext>
            </a:extLst>
          </p:cNvPr>
          <p:cNvSpPr>
            <a:spLocks noGrp="1"/>
          </p:cNvSpPr>
          <p:nvPr>
            <p:ph type="body" sz="quarter" idx="78" hasCustomPrompt="1"/>
          </p:nvPr>
        </p:nvSpPr>
        <p:spPr>
          <a:xfrm>
            <a:off x="324001" y="170007"/>
            <a:ext cx="3488087" cy="997196"/>
          </a:xfrm>
          <a:prstGeom prst="rect">
            <a:avLst/>
          </a:prstGeom>
        </p:spPr>
        <p:txBody>
          <a:bodyPr wrap="square" lIns="0" tIns="0" rIns="0" bIns="0">
            <a:spAutoFit/>
          </a:bodyPr>
          <a:lstStyle>
            <a:lvl1pPr marL="0" indent="0">
              <a:lnSpc>
                <a:spcPct val="90000"/>
              </a:lnSpc>
              <a:spcBef>
                <a:spcPts val="0"/>
              </a:spcBef>
              <a:buFont typeface="Arial" panose="020B0604020202020204" pitchFamily="34" charset="0"/>
              <a:buNone/>
              <a:defRPr sz="3600" spc="-151" baseline="0">
                <a:solidFill>
                  <a:srgbClr val="FFFFFF"/>
                </a:solidFill>
                <a:latin typeface="+mn-lt"/>
              </a:defRPr>
            </a:lvl1pPr>
          </a:lstStyle>
          <a:p>
            <a:pPr lvl="0"/>
            <a:r>
              <a:rPr lang="en-US"/>
              <a:t>Electric  </a:t>
            </a:r>
            <a:br>
              <a:rPr lang="en-US"/>
            </a:br>
            <a:r>
              <a:rPr lang="en-US"/>
              <a:t>mobility</a:t>
            </a:r>
          </a:p>
        </p:txBody>
      </p:sp>
      <p:sp>
        <p:nvSpPr>
          <p:cNvPr id="8" name="Date Placeholder 2">
            <a:extLst>
              <a:ext uri="{FF2B5EF4-FFF2-40B4-BE49-F238E27FC236}">
                <a16:creationId xmlns:a16="http://schemas.microsoft.com/office/drawing/2014/main" id="{8329AEEC-1E23-AD45-98D7-6A4483104018}"/>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882601E1-BFFB-4EAB-8CEC-F15E1D1340D4}" type="datetime1">
              <a:rPr lang="de-DE" smtClean="0"/>
              <a:t>24.01.2024</a:t>
            </a:fld>
            <a:endParaRPr lang="en-US"/>
          </a:p>
        </p:txBody>
      </p:sp>
      <p:sp>
        <p:nvSpPr>
          <p:cNvPr id="10" name="Footer Placeholder 3">
            <a:extLst>
              <a:ext uri="{FF2B5EF4-FFF2-40B4-BE49-F238E27FC236}">
                <a16:creationId xmlns:a16="http://schemas.microsoft.com/office/drawing/2014/main" id="{DC00AB42-2E28-7648-8A63-83302D5B1876}"/>
              </a:ext>
            </a:extLst>
          </p:cNvPr>
          <p:cNvSpPr>
            <a:spLocks noGrp="1"/>
          </p:cNvSpPr>
          <p:nvPr>
            <p:ph type="ftr" sz="quarter" idx="80"/>
          </p:nvPr>
        </p:nvSpPr>
        <p:spPr>
          <a:xfrm>
            <a:off x="3853450" y="4972079"/>
            <a:ext cx="1437101"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sp>
        <p:nvSpPr>
          <p:cNvPr id="13" name="Slide Number Placeholder 3">
            <a:extLst>
              <a:ext uri="{FF2B5EF4-FFF2-40B4-BE49-F238E27FC236}">
                <a16:creationId xmlns:a16="http://schemas.microsoft.com/office/drawing/2014/main" id="{EA5DF452-8078-B64F-806E-210DA1433C27}"/>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pic>
        <p:nvPicPr>
          <p:cNvPr id="15" name="Graphic 14">
            <a:extLst>
              <a:ext uri="{FF2B5EF4-FFF2-40B4-BE49-F238E27FC236}">
                <a16:creationId xmlns:a16="http://schemas.microsoft.com/office/drawing/2014/main" id="{845F2D9B-2C3F-7D48-AF78-CD304E4A7F5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1427235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blue with photo">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3F41E55-45C6-A04C-81A9-467605465BF3}"/>
              </a:ext>
            </a:extLst>
          </p:cNvPr>
          <p:cNvSpPr>
            <a:spLocks noGrp="1"/>
          </p:cNvSpPr>
          <p:nvPr>
            <p:ph type="pic" sz="quarter" idx="44"/>
          </p:nvPr>
        </p:nvSpPr>
        <p:spPr>
          <a:xfrm>
            <a:off x="4572000" y="0"/>
            <a:ext cx="4572000"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9" name="Text Placeholder 4">
            <a:extLst>
              <a:ext uri="{FF2B5EF4-FFF2-40B4-BE49-F238E27FC236}">
                <a16:creationId xmlns:a16="http://schemas.microsoft.com/office/drawing/2014/main" id="{C7005402-EAF2-514A-B38B-68125E005F6A}"/>
              </a:ext>
            </a:extLst>
          </p:cNvPr>
          <p:cNvSpPr>
            <a:spLocks noGrp="1"/>
          </p:cNvSpPr>
          <p:nvPr>
            <p:ph type="body" sz="quarter" idx="78" hasCustomPrompt="1"/>
          </p:nvPr>
        </p:nvSpPr>
        <p:spPr>
          <a:xfrm>
            <a:off x="324001" y="170007"/>
            <a:ext cx="3488087" cy="997196"/>
          </a:xfrm>
          <a:prstGeom prst="rect">
            <a:avLst/>
          </a:prstGeom>
        </p:spPr>
        <p:txBody>
          <a:bodyPr vert="horz" wrap="square" lIns="0" tIns="0" rIns="0" bIns="0" rtlCol="0">
            <a:spAutoFit/>
          </a:bodyPr>
          <a:lstStyle>
            <a:lvl1pPr marL="0" indent="0">
              <a:buNone/>
              <a:defRPr lang="en-US" sz="3600" spc="-151" baseline="0" dirty="0">
                <a:solidFill>
                  <a:srgbClr val="FFFFFF"/>
                </a:solidFill>
              </a:defRPr>
            </a:lvl1pPr>
          </a:lstStyle>
          <a:p>
            <a:pPr marL="67498" lvl="0" indent="-67498">
              <a:spcBef>
                <a:spcPts val="0"/>
              </a:spcBef>
            </a:pPr>
            <a:r>
              <a:rPr lang="en-US"/>
              <a:t>Connected  services</a:t>
            </a:r>
          </a:p>
        </p:txBody>
      </p:sp>
      <p:sp>
        <p:nvSpPr>
          <p:cNvPr id="8" name="Date Placeholder 2">
            <a:extLst>
              <a:ext uri="{FF2B5EF4-FFF2-40B4-BE49-F238E27FC236}">
                <a16:creationId xmlns:a16="http://schemas.microsoft.com/office/drawing/2014/main" id="{1D32114B-A3CF-8B46-8691-17C64D5027D3}"/>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446DF0E2-20C4-4A80-A68D-F62E7AF3ECDD}" type="datetime1">
              <a:rPr lang="de-DE" smtClean="0"/>
              <a:t>24.01.2024</a:t>
            </a:fld>
            <a:endParaRPr lang="en-US"/>
          </a:p>
        </p:txBody>
      </p:sp>
      <p:sp>
        <p:nvSpPr>
          <p:cNvPr id="10" name="Footer Placeholder 3">
            <a:extLst>
              <a:ext uri="{FF2B5EF4-FFF2-40B4-BE49-F238E27FC236}">
                <a16:creationId xmlns:a16="http://schemas.microsoft.com/office/drawing/2014/main" id="{365E4798-370B-7547-BC85-09F8897ED19F}"/>
              </a:ext>
            </a:extLst>
          </p:cNvPr>
          <p:cNvSpPr>
            <a:spLocks noGrp="1"/>
          </p:cNvSpPr>
          <p:nvPr>
            <p:ph type="ftr" sz="quarter" idx="80"/>
          </p:nvPr>
        </p:nvSpPr>
        <p:spPr>
          <a:xfrm>
            <a:off x="3853450" y="4972079"/>
            <a:ext cx="1437101"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sp>
        <p:nvSpPr>
          <p:cNvPr id="14" name="Slide Number Placeholder 3">
            <a:extLst>
              <a:ext uri="{FF2B5EF4-FFF2-40B4-BE49-F238E27FC236}">
                <a16:creationId xmlns:a16="http://schemas.microsoft.com/office/drawing/2014/main" id="{C6B75845-6FA1-BC4D-91F5-A5BFB9327AAE}"/>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pic>
        <p:nvPicPr>
          <p:cNvPr id="15" name="Graphic 14">
            <a:extLst>
              <a:ext uri="{FF2B5EF4-FFF2-40B4-BE49-F238E27FC236}">
                <a16:creationId xmlns:a16="http://schemas.microsoft.com/office/drawing/2014/main" id="{9E594A77-614D-0342-895C-7A8FF465E86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15421833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red with photo">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43F41E55-45C6-A04C-81A9-467605465BF3}"/>
              </a:ext>
            </a:extLst>
          </p:cNvPr>
          <p:cNvSpPr>
            <a:spLocks noGrp="1"/>
          </p:cNvSpPr>
          <p:nvPr>
            <p:ph type="pic" sz="quarter" idx="44"/>
          </p:nvPr>
        </p:nvSpPr>
        <p:spPr>
          <a:xfrm>
            <a:off x="4572000" y="0"/>
            <a:ext cx="4572000"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9" name="Text Placeholder 4">
            <a:extLst>
              <a:ext uri="{FF2B5EF4-FFF2-40B4-BE49-F238E27FC236}">
                <a16:creationId xmlns:a16="http://schemas.microsoft.com/office/drawing/2014/main" id="{C7005402-EAF2-514A-B38B-68125E005F6A}"/>
              </a:ext>
            </a:extLst>
          </p:cNvPr>
          <p:cNvSpPr>
            <a:spLocks noGrp="1"/>
          </p:cNvSpPr>
          <p:nvPr>
            <p:ph type="body" sz="quarter" idx="78" hasCustomPrompt="1"/>
          </p:nvPr>
        </p:nvSpPr>
        <p:spPr>
          <a:xfrm>
            <a:off x="324001" y="170007"/>
            <a:ext cx="3488087" cy="997196"/>
          </a:xfrm>
          <a:prstGeom prst="rect">
            <a:avLst/>
          </a:prstGeom>
        </p:spPr>
        <p:txBody>
          <a:bodyPr vert="horz" wrap="square" lIns="0" tIns="0" rIns="0" bIns="0" rtlCol="0">
            <a:spAutoFit/>
          </a:bodyPr>
          <a:lstStyle>
            <a:lvl1pPr marL="0" indent="0">
              <a:buNone/>
              <a:defRPr lang="en-US" sz="3600" spc="-151" baseline="0" dirty="0">
                <a:solidFill>
                  <a:srgbClr val="FFFFFF"/>
                </a:solidFill>
              </a:defRPr>
            </a:lvl1pPr>
          </a:lstStyle>
          <a:p>
            <a:pPr marL="67498" lvl="0" indent="-67498">
              <a:spcBef>
                <a:spcPts val="0"/>
              </a:spcBef>
            </a:pPr>
            <a:r>
              <a:rPr lang="en-US"/>
              <a:t>Connected  services</a:t>
            </a:r>
          </a:p>
        </p:txBody>
      </p:sp>
      <p:sp>
        <p:nvSpPr>
          <p:cNvPr id="8" name="Date Placeholder 2">
            <a:extLst>
              <a:ext uri="{FF2B5EF4-FFF2-40B4-BE49-F238E27FC236}">
                <a16:creationId xmlns:a16="http://schemas.microsoft.com/office/drawing/2014/main" id="{E95AC976-CAC2-C04B-BF9A-93036240D074}"/>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58AEF7EC-E78E-40D0-8550-1429475DBFC7}" type="datetime1">
              <a:rPr lang="de-DE" smtClean="0"/>
              <a:t>24.01.2024</a:t>
            </a:fld>
            <a:endParaRPr lang="en-US"/>
          </a:p>
        </p:txBody>
      </p:sp>
      <p:sp>
        <p:nvSpPr>
          <p:cNvPr id="10" name="Footer Placeholder 3">
            <a:extLst>
              <a:ext uri="{FF2B5EF4-FFF2-40B4-BE49-F238E27FC236}">
                <a16:creationId xmlns:a16="http://schemas.microsoft.com/office/drawing/2014/main" id="{9700ECC2-F279-8343-BE2E-ECAE37280F43}"/>
              </a:ext>
            </a:extLst>
          </p:cNvPr>
          <p:cNvSpPr>
            <a:spLocks noGrp="1"/>
          </p:cNvSpPr>
          <p:nvPr>
            <p:ph type="ftr" sz="quarter" idx="80"/>
          </p:nvPr>
        </p:nvSpPr>
        <p:spPr>
          <a:xfrm>
            <a:off x="3853450" y="4972079"/>
            <a:ext cx="1437101"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sp>
        <p:nvSpPr>
          <p:cNvPr id="12" name="Slide Number Placeholder 3">
            <a:extLst>
              <a:ext uri="{FF2B5EF4-FFF2-40B4-BE49-F238E27FC236}">
                <a16:creationId xmlns:a16="http://schemas.microsoft.com/office/drawing/2014/main" id="{73DA4228-1711-0546-9198-E5EFE76BE864}"/>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pic>
        <p:nvPicPr>
          <p:cNvPr id="13" name="Graphic 12">
            <a:extLst>
              <a:ext uri="{FF2B5EF4-FFF2-40B4-BE49-F238E27FC236}">
                <a16:creationId xmlns:a16="http://schemas.microsoft.com/office/drawing/2014/main" id="{6E3C76D2-683C-8247-A929-24496CFA850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19934195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elcome Page 2">
    <p:spTree>
      <p:nvGrpSpPr>
        <p:cNvPr id="1" name=""/>
        <p:cNvGrpSpPr/>
        <p:nvPr/>
      </p:nvGrpSpPr>
      <p:grpSpPr>
        <a:xfrm>
          <a:off x="0" y="0"/>
          <a:ext cx="0" cy="0"/>
          <a:chOff x="0" y="0"/>
          <a:chExt cx="0" cy="0"/>
        </a:xfrm>
      </p:grpSpPr>
      <p:sp>
        <p:nvSpPr>
          <p:cNvPr id="26" name="Rectangle 17">
            <a:extLst>
              <a:ext uri="{FF2B5EF4-FFF2-40B4-BE49-F238E27FC236}">
                <a16:creationId xmlns:a16="http://schemas.microsoft.com/office/drawing/2014/main" id="{FFC5A91F-EE4C-694F-B088-C59563FCEE3F}"/>
              </a:ext>
            </a:extLst>
          </p:cNvPr>
          <p:cNvSpPr/>
          <p:nvPr userDrawn="1"/>
        </p:nvSpPr>
        <p:spPr>
          <a:xfrm>
            <a:off x="1" y="0"/>
            <a:ext cx="9144000" cy="5143500"/>
          </a:xfrm>
          <a:prstGeom prst="rect">
            <a:avLst/>
          </a:prstGeom>
          <a:gradFill flip="none" rotWithShape="1">
            <a:gsLst>
              <a:gs pos="0">
                <a:schemeClr val="accent2"/>
              </a:gs>
              <a:gs pos="75000">
                <a:schemeClr val="tx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pic>
        <p:nvPicPr>
          <p:cNvPr id="25" name="Picture Placeholder 27">
            <a:extLst>
              <a:ext uri="{FF2B5EF4-FFF2-40B4-BE49-F238E27FC236}">
                <a16:creationId xmlns:a16="http://schemas.microsoft.com/office/drawing/2014/main" id="{5C43A76D-DBFC-124E-AFBD-A2804E9C2053}"/>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rcRect t="7914" b="7914"/>
          <a:stretch/>
        </p:blipFill>
        <p:spPr>
          <a:xfrm>
            <a:off x="299" y="0"/>
            <a:ext cx="9143405" cy="5143500"/>
          </a:xfrm>
          <a:prstGeom prst="rect">
            <a:avLst/>
          </a:prstGeom>
        </p:spPr>
      </p:pic>
      <p:sp>
        <p:nvSpPr>
          <p:cNvPr id="5" name="Text Placeholder 4"/>
          <p:cNvSpPr>
            <a:spLocks noGrp="1"/>
          </p:cNvSpPr>
          <p:nvPr>
            <p:ph type="body" sz="quarter" idx="11" hasCustomPrompt="1"/>
          </p:nvPr>
        </p:nvSpPr>
        <p:spPr>
          <a:xfrm>
            <a:off x="878748" y="1201772"/>
            <a:ext cx="4509475" cy="1412694"/>
          </a:xfrm>
          <a:prstGeom prst="rect">
            <a:avLst/>
          </a:prstGeom>
        </p:spPr>
        <p:txBody>
          <a:bodyPr wrap="square" lIns="0" tIns="0" rIns="0" bIns="0">
            <a:spAutoFit/>
          </a:bodyPr>
          <a:lstStyle>
            <a:lvl1pPr marL="0" indent="0">
              <a:lnSpc>
                <a:spcPct val="90000"/>
              </a:lnSpc>
              <a:spcBef>
                <a:spcPts val="0"/>
              </a:spcBef>
              <a:buFont typeface="Arial" panose="020B0604020202020204" pitchFamily="34" charset="0"/>
              <a:buNone/>
              <a:defRPr sz="5100" spc="-151" baseline="0">
                <a:solidFill>
                  <a:schemeClr val="bg1"/>
                </a:solidFill>
                <a:latin typeface="+mn-lt"/>
              </a:defRPr>
            </a:lvl1pPr>
          </a:lstStyle>
          <a:p>
            <a:pPr lvl="0"/>
            <a:r>
              <a:rPr lang="de-DE" err="1"/>
              <a:t>Presentation</a:t>
            </a:r>
            <a:r>
              <a:rPr lang="de-DE"/>
              <a:t> title </a:t>
            </a:r>
            <a:r>
              <a:rPr lang="de-DE" err="1"/>
              <a:t>goes</a:t>
            </a:r>
            <a:r>
              <a:rPr lang="de-DE"/>
              <a:t> </a:t>
            </a:r>
            <a:r>
              <a:rPr lang="de-DE" err="1"/>
              <a:t>here</a:t>
            </a:r>
            <a:endParaRPr lang="en-US"/>
          </a:p>
        </p:txBody>
      </p:sp>
      <p:sp>
        <p:nvSpPr>
          <p:cNvPr id="8" name="Text Placeholder 4"/>
          <p:cNvSpPr>
            <a:spLocks noGrp="1"/>
          </p:cNvSpPr>
          <p:nvPr>
            <p:ph type="body" sz="quarter" idx="12" hasCustomPrompt="1"/>
          </p:nvPr>
        </p:nvSpPr>
        <p:spPr>
          <a:xfrm>
            <a:off x="878748" y="2646867"/>
            <a:ext cx="3510787" cy="255839"/>
          </a:xfrm>
          <a:prstGeom prst="rect">
            <a:avLst/>
          </a:prstGeom>
        </p:spPr>
        <p:txBody>
          <a:bodyPr lIns="0" tIns="0" rIns="0" bIns="0">
            <a:spAutoFit/>
          </a:bodyPr>
          <a:lstStyle>
            <a:lvl1pPr marL="0" indent="0">
              <a:lnSpc>
                <a:spcPct val="120000"/>
              </a:lnSpc>
              <a:spcBef>
                <a:spcPts val="0"/>
              </a:spcBef>
              <a:buFontTx/>
              <a:buNone/>
              <a:defRPr sz="1500">
                <a:solidFill>
                  <a:schemeClr val="bg1"/>
                </a:solidFill>
                <a:latin typeface="+mn-lt"/>
              </a:defRPr>
            </a:lvl1pPr>
          </a:lstStyle>
          <a:p>
            <a:pPr lvl="0"/>
            <a:r>
              <a:rPr lang="en-US"/>
              <a:t>Description or subtitle goes here</a:t>
            </a:r>
          </a:p>
        </p:txBody>
      </p:sp>
      <p:pic>
        <p:nvPicPr>
          <p:cNvPr id="16" name="Graphic 15">
            <a:extLst>
              <a:ext uri="{FF2B5EF4-FFF2-40B4-BE49-F238E27FC236}">
                <a16:creationId xmlns:a16="http://schemas.microsoft.com/office/drawing/2014/main" id="{E9D52F2D-157E-4E49-822F-FCDA9B4DD1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908" y="202500"/>
            <a:ext cx="312243" cy="302760"/>
          </a:xfrm>
          <a:prstGeom prst="rect">
            <a:avLst/>
          </a:prstGeom>
        </p:spPr>
      </p:pic>
      <p:sp>
        <p:nvSpPr>
          <p:cNvPr id="11" name="Text Placeholder 4">
            <a:extLst>
              <a:ext uri="{FF2B5EF4-FFF2-40B4-BE49-F238E27FC236}">
                <a16:creationId xmlns:a16="http://schemas.microsoft.com/office/drawing/2014/main" id="{31FEAD03-F5D4-C040-983B-0F6CB3311B3D}"/>
              </a:ext>
            </a:extLst>
          </p:cNvPr>
          <p:cNvSpPr>
            <a:spLocks noGrp="1"/>
          </p:cNvSpPr>
          <p:nvPr>
            <p:ph type="body" sz="quarter" idx="44" hasCustomPrompt="1"/>
          </p:nvPr>
        </p:nvSpPr>
        <p:spPr>
          <a:xfrm>
            <a:off x="878748" y="3595855"/>
            <a:ext cx="3510787" cy="153504"/>
          </a:xfrm>
          <a:prstGeom prst="rect">
            <a:avLst/>
          </a:prstGeom>
        </p:spPr>
        <p:txBody>
          <a:bodyPr lIns="0" tIns="0" rIns="0" bIns="0">
            <a:spAutoFit/>
          </a:bodyPr>
          <a:lstStyle>
            <a:lvl1pPr marL="0" indent="0">
              <a:lnSpc>
                <a:spcPct val="120000"/>
              </a:lnSpc>
              <a:spcBef>
                <a:spcPts val="0"/>
              </a:spcBef>
              <a:buFontTx/>
              <a:buNone/>
              <a:defRPr sz="900">
                <a:solidFill>
                  <a:schemeClr val="bg1"/>
                </a:solidFill>
                <a:latin typeface="+mn-lt"/>
              </a:defRPr>
            </a:lvl1pPr>
          </a:lstStyle>
          <a:p>
            <a:pPr lvl="0"/>
            <a:r>
              <a:rPr lang="en-US"/>
              <a:t>Customer name</a:t>
            </a:r>
          </a:p>
        </p:txBody>
      </p:sp>
      <p:sp>
        <p:nvSpPr>
          <p:cNvPr id="17" name="Text Placeholder 3">
            <a:extLst>
              <a:ext uri="{FF2B5EF4-FFF2-40B4-BE49-F238E27FC236}">
                <a16:creationId xmlns:a16="http://schemas.microsoft.com/office/drawing/2014/main" id="{5AFF4A4D-54F5-B148-AE6E-A74DD1D70EFF}"/>
              </a:ext>
            </a:extLst>
          </p:cNvPr>
          <p:cNvSpPr>
            <a:spLocks noGrp="1"/>
          </p:cNvSpPr>
          <p:nvPr>
            <p:ph type="body" sz="quarter" idx="46" hasCustomPrompt="1"/>
          </p:nvPr>
        </p:nvSpPr>
        <p:spPr>
          <a:xfrm>
            <a:off x="878889" y="3491244"/>
            <a:ext cx="1421699" cy="104610"/>
          </a:xfrm>
          <a:prstGeom prst="rect">
            <a:avLst/>
          </a:prstGeom>
        </p:spPr>
        <p:txBody>
          <a:bodyPr lIns="18000" anchor="ctr">
            <a:noAutofit/>
          </a:bodyPr>
          <a:lstStyle>
            <a:lvl1pPr marL="0" indent="0">
              <a:buNone/>
              <a:defRPr sz="600" cap="all" spc="113" baseline="0">
                <a:solidFill>
                  <a:schemeClr val="bg1">
                    <a:lumMod val="85000"/>
                  </a:schemeClr>
                </a:solidFill>
              </a:defRPr>
            </a:lvl1pPr>
          </a:lstStyle>
          <a:p>
            <a:pPr lvl="0"/>
            <a:r>
              <a:rPr lang="en-GB"/>
              <a:t>PREPARED FOR</a:t>
            </a:r>
            <a:endParaRPr lang="en-RO"/>
          </a:p>
        </p:txBody>
      </p:sp>
      <p:sp>
        <p:nvSpPr>
          <p:cNvPr id="18" name="Text Placeholder 3">
            <a:extLst>
              <a:ext uri="{FF2B5EF4-FFF2-40B4-BE49-F238E27FC236}">
                <a16:creationId xmlns:a16="http://schemas.microsoft.com/office/drawing/2014/main" id="{00F6AA06-41FE-FF4B-BAC3-47727E194B86}"/>
              </a:ext>
            </a:extLst>
          </p:cNvPr>
          <p:cNvSpPr>
            <a:spLocks noGrp="1"/>
          </p:cNvSpPr>
          <p:nvPr>
            <p:ph type="body" sz="quarter" idx="48" hasCustomPrompt="1"/>
          </p:nvPr>
        </p:nvSpPr>
        <p:spPr>
          <a:xfrm>
            <a:off x="878889" y="4003424"/>
            <a:ext cx="1421699" cy="104610"/>
          </a:xfrm>
          <a:prstGeom prst="rect">
            <a:avLst/>
          </a:prstGeom>
        </p:spPr>
        <p:txBody>
          <a:bodyPr lIns="18000" anchor="ctr">
            <a:noAutofit/>
          </a:bodyPr>
          <a:lstStyle>
            <a:lvl1pPr marL="0" indent="0">
              <a:buNone/>
              <a:defRPr sz="600" cap="all" spc="113" baseline="0">
                <a:solidFill>
                  <a:schemeClr val="bg1">
                    <a:lumMod val="85000"/>
                  </a:schemeClr>
                </a:solidFill>
              </a:defRPr>
            </a:lvl1pPr>
          </a:lstStyle>
          <a:p>
            <a:pPr lvl="0"/>
            <a:r>
              <a:rPr lang="en-GB"/>
              <a:t>PREPARED by</a:t>
            </a:r>
            <a:endParaRPr lang="en-RO"/>
          </a:p>
        </p:txBody>
      </p:sp>
      <p:sp>
        <p:nvSpPr>
          <p:cNvPr id="19" name="Text Placeholder 4">
            <a:extLst>
              <a:ext uri="{FF2B5EF4-FFF2-40B4-BE49-F238E27FC236}">
                <a16:creationId xmlns:a16="http://schemas.microsoft.com/office/drawing/2014/main" id="{0662FD1D-D9F2-994D-BF42-F8D9F84C70CE}"/>
              </a:ext>
            </a:extLst>
          </p:cNvPr>
          <p:cNvSpPr>
            <a:spLocks noGrp="1"/>
          </p:cNvSpPr>
          <p:nvPr>
            <p:ph type="body" sz="quarter" idx="45" hasCustomPrompt="1"/>
          </p:nvPr>
        </p:nvSpPr>
        <p:spPr>
          <a:xfrm>
            <a:off x="878748" y="4108035"/>
            <a:ext cx="3510787" cy="153504"/>
          </a:xfrm>
          <a:prstGeom prst="rect">
            <a:avLst/>
          </a:prstGeom>
        </p:spPr>
        <p:txBody>
          <a:bodyPr lIns="0" tIns="0" rIns="0" bIns="0">
            <a:spAutoFit/>
          </a:bodyPr>
          <a:lstStyle>
            <a:lvl1pPr marL="0" indent="0" algn="l">
              <a:lnSpc>
                <a:spcPct val="120000"/>
              </a:lnSpc>
              <a:spcBef>
                <a:spcPts val="0"/>
              </a:spcBef>
              <a:buFontTx/>
              <a:buNone/>
              <a:defRPr sz="900">
                <a:solidFill>
                  <a:schemeClr val="bg1"/>
                </a:solidFill>
                <a:latin typeface="+mn-lt"/>
              </a:defRPr>
            </a:lvl1pPr>
          </a:lstStyle>
          <a:p>
            <a:pPr lvl="0"/>
            <a:r>
              <a:rPr lang="en-US"/>
              <a:t>Expert name</a:t>
            </a:r>
          </a:p>
        </p:txBody>
      </p:sp>
    </p:spTree>
    <p:extLst>
      <p:ext uri="{BB962C8B-B14F-4D97-AF65-F5344CB8AC3E}">
        <p14:creationId xmlns:p14="http://schemas.microsoft.com/office/powerpoint/2010/main" val="1988745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een background - 3 columns">
    <p:spTree>
      <p:nvGrpSpPr>
        <p:cNvPr id="1" name=""/>
        <p:cNvGrpSpPr/>
        <p:nvPr/>
      </p:nvGrpSpPr>
      <p:grpSpPr>
        <a:xfrm>
          <a:off x="0" y="0"/>
          <a:ext cx="0" cy="0"/>
          <a:chOff x="0" y="0"/>
          <a:chExt cx="0" cy="0"/>
        </a:xfrm>
      </p:grpSpPr>
      <p:sp>
        <p:nvSpPr>
          <p:cNvPr id="15" name="object 3">
            <a:extLst>
              <a:ext uri="{FF2B5EF4-FFF2-40B4-BE49-F238E27FC236}">
                <a16:creationId xmlns:a16="http://schemas.microsoft.com/office/drawing/2014/main" id="{B869FD86-0753-B542-9A7B-C3055EAEC6C5}"/>
              </a:ext>
            </a:extLst>
          </p:cNvPr>
          <p:cNvSpPr/>
          <p:nvPr/>
        </p:nvSpPr>
        <p:spPr>
          <a:xfrm>
            <a:off x="-3966" y="0"/>
            <a:ext cx="305239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rgbClr val="009900"/>
          </a:solidFill>
        </p:spPr>
        <p:txBody>
          <a:bodyPr wrap="square" lIns="0" tIns="0" rIns="0" bIns="0" rtlCol="0"/>
          <a:lstStyle/>
          <a:p>
            <a:endParaRPr sz="675"/>
          </a:p>
        </p:txBody>
      </p:sp>
      <p:sp>
        <p:nvSpPr>
          <p:cNvPr id="16" name="object 4">
            <a:extLst>
              <a:ext uri="{FF2B5EF4-FFF2-40B4-BE49-F238E27FC236}">
                <a16:creationId xmlns:a16="http://schemas.microsoft.com/office/drawing/2014/main" id="{7E485DF3-9C1C-6B40-B61B-2AEC1BB6DF01}"/>
              </a:ext>
            </a:extLst>
          </p:cNvPr>
          <p:cNvSpPr/>
          <p:nvPr/>
        </p:nvSpPr>
        <p:spPr>
          <a:xfrm>
            <a:off x="3047149"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00B200"/>
          </a:solidFill>
        </p:spPr>
        <p:txBody>
          <a:bodyPr wrap="square" lIns="0" tIns="0" rIns="0" bIns="0" rtlCol="0"/>
          <a:lstStyle/>
          <a:p>
            <a:endParaRPr sz="675"/>
          </a:p>
        </p:txBody>
      </p:sp>
      <p:sp>
        <p:nvSpPr>
          <p:cNvPr id="17" name="object 5">
            <a:extLst>
              <a:ext uri="{FF2B5EF4-FFF2-40B4-BE49-F238E27FC236}">
                <a16:creationId xmlns:a16="http://schemas.microsoft.com/office/drawing/2014/main" id="{5F3B19B7-00F5-4A40-A8AA-2456D9CDFE0D}"/>
              </a:ext>
            </a:extLst>
          </p:cNvPr>
          <p:cNvSpPr/>
          <p:nvPr/>
        </p:nvSpPr>
        <p:spPr>
          <a:xfrm>
            <a:off x="6096852" y="0"/>
            <a:ext cx="3047149" cy="5143500"/>
          </a:xfrm>
          <a:custGeom>
            <a:avLst/>
            <a:gdLst/>
            <a:ahLst/>
            <a:cxnLst/>
            <a:rect l="l" t="t" r="r" b="b"/>
            <a:pathLst>
              <a:path w="7008494" h="11057255">
                <a:moveTo>
                  <a:pt x="7007957" y="0"/>
                </a:moveTo>
                <a:lnTo>
                  <a:pt x="0" y="0"/>
                </a:lnTo>
                <a:lnTo>
                  <a:pt x="0" y="11057254"/>
                </a:lnTo>
                <a:lnTo>
                  <a:pt x="7007957" y="11057254"/>
                </a:lnTo>
                <a:lnTo>
                  <a:pt x="7007957" y="0"/>
                </a:lnTo>
                <a:close/>
              </a:path>
            </a:pathLst>
          </a:custGeom>
          <a:solidFill>
            <a:srgbClr val="00CC00"/>
          </a:solidFill>
        </p:spPr>
        <p:txBody>
          <a:bodyPr wrap="square" lIns="0" tIns="0" rIns="0" bIns="0" rtlCol="0"/>
          <a:lstStyle/>
          <a:p>
            <a:endParaRPr sz="675"/>
          </a:p>
        </p:txBody>
      </p:sp>
      <p:sp>
        <p:nvSpPr>
          <p:cNvPr id="23" name="object 3">
            <a:extLst>
              <a:ext uri="{FF2B5EF4-FFF2-40B4-BE49-F238E27FC236}">
                <a16:creationId xmlns:a16="http://schemas.microsoft.com/office/drawing/2014/main" id="{7986CE74-060F-42DE-AD11-51AAD15AEFE0}"/>
              </a:ext>
            </a:extLst>
          </p:cNvPr>
          <p:cNvSpPr/>
          <p:nvPr userDrawn="1"/>
        </p:nvSpPr>
        <p:spPr>
          <a:xfrm>
            <a:off x="-3966" y="0"/>
            <a:ext cx="305239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rgbClr val="009900"/>
          </a:solidFill>
        </p:spPr>
        <p:txBody>
          <a:bodyPr wrap="square" lIns="0" tIns="0" rIns="0" bIns="0" rtlCol="0"/>
          <a:lstStyle/>
          <a:p>
            <a:endParaRPr sz="253"/>
          </a:p>
        </p:txBody>
      </p:sp>
      <p:sp>
        <p:nvSpPr>
          <p:cNvPr id="24" name="object 4">
            <a:extLst>
              <a:ext uri="{FF2B5EF4-FFF2-40B4-BE49-F238E27FC236}">
                <a16:creationId xmlns:a16="http://schemas.microsoft.com/office/drawing/2014/main" id="{A424129B-24DE-455E-9E41-C61330B5BA20}"/>
              </a:ext>
            </a:extLst>
          </p:cNvPr>
          <p:cNvSpPr/>
          <p:nvPr userDrawn="1"/>
        </p:nvSpPr>
        <p:spPr>
          <a:xfrm>
            <a:off x="3047149"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00A400"/>
          </a:solidFill>
        </p:spPr>
        <p:txBody>
          <a:bodyPr wrap="square" lIns="0" tIns="0" rIns="0" bIns="0" rtlCol="0"/>
          <a:lstStyle/>
          <a:p>
            <a:endParaRPr sz="253"/>
          </a:p>
        </p:txBody>
      </p:sp>
      <p:sp>
        <p:nvSpPr>
          <p:cNvPr id="25" name="object 5">
            <a:extLst>
              <a:ext uri="{FF2B5EF4-FFF2-40B4-BE49-F238E27FC236}">
                <a16:creationId xmlns:a16="http://schemas.microsoft.com/office/drawing/2014/main" id="{0F29B88F-1EF8-466C-B1F1-62889A87237F}"/>
              </a:ext>
            </a:extLst>
          </p:cNvPr>
          <p:cNvSpPr/>
          <p:nvPr userDrawn="1"/>
        </p:nvSpPr>
        <p:spPr>
          <a:xfrm>
            <a:off x="6096852" y="0"/>
            <a:ext cx="3047149" cy="5143500"/>
          </a:xfrm>
          <a:custGeom>
            <a:avLst/>
            <a:gdLst/>
            <a:ahLst/>
            <a:cxnLst/>
            <a:rect l="l" t="t" r="r" b="b"/>
            <a:pathLst>
              <a:path w="7008494" h="11057255">
                <a:moveTo>
                  <a:pt x="7007957" y="0"/>
                </a:moveTo>
                <a:lnTo>
                  <a:pt x="0" y="0"/>
                </a:lnTo>
                <a:lnTo>
                  <a:pt x="0" y="11057254"/>
                </a:lnTo>
                <a:lnTo>
                  <a:pt x="7007957" y="11057254"/>
                </a:lnTo>
                <a:lnTo>
                  <a:pt x="7007957" y="0"/>
                </a:lnTo>
                <a:close/>
              </a:path>
            </a:pathLst>
          </a:custGeom>
          <a:solidFill>
            <a:srgbClr val="00B000"/>
          </a:solidFill>
        </p:spPr>
        <p:txBody>
          <a:bodyPr wrap="square" lIns="0" tIns="0" rIns="0" bIns="0" rtlCol="0"/>
          <a:lstStyle/>
          <a:p>
            <a:endParaRPr sz="253"/>
          </a:p>
        </p:txBody>
      </p:sp>
      <p:sp>
        <p:nvSpPr>
          <p:cNvPr id="27" name="object 4">
            <a:extLst>
              <a:ext uri="{FF2B5EF4-FFF2-40B4-BE49-F238E27FC236}">
                <a16:creationId xmlns:a16="http://schemas.microsoft.com/office/drawing/2014/main" id="{ECD80740-053C-0F45-B0E0-64CCF36B9361}"/>
              </a:ext>
            </a:extLst>
          </p:cNvPr>
          <p:cNvSpPr/>
          <p:nvPr userDrawn="1"/>
        </p:nvSpPr>
        <p:spPr>
          <a:xfrm>
            <a:off x="-3968" y="0"/>
            <a:ext cx="9147967" cy="847182"/>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00BB00"/>
          </a:solidFill>
        </p:spPr>
        <p:txBody>
          <a:bodyPr wrap="square" lIns="0" tIns="0" rIns="0" bIns="0" rtlCol="0"/>
          <a:lstStyle/>
          <a:p>
            <a:endParaRPr sz="675"/>
          </a:p>
        </p:txBody>
      </p:sp>
      <p:sp>
        <p:nvSpPr>
          <p:cNvPr id="10" name="Text Placeholder 4">
            <a:extLst>
              <a:ext uri="{FF2B5EF4-FFF2-40B4-BE49-F238E27FC236}">
                <a16:creationId xmlns:a16="http://schemas.microsoft.com/office/drawing/2014/main" id="{22582A4A-8131-8B42-838D-83CB74B735B5}"/>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Electric Mobility</a:t>
            </a:r>
          </a:p>
        </p:txBody>
      </p:sp>
      <p:sp>
        <p:nvSpPr>
          <p:cNvPr id="12" name="Text Placeholder 4">
            <a:extLst>
              <a:ext uri="{FF2B5EF4-FFF2-40B4-BE49-F238E27FC236}">
                <a16:creationId xmlns:a16="http://schemas.microsoft.com/office/drawing/2014/main" id="{6BB5FF94-24B7-3745-8AE3-2DC16A65FD1E}"/>
              </a:ext>
            </a:extLst>
          </p:cNvPr>
          <p:cNvSpPr>
            <a:spLocks noGrp="1"/>
          </p:cNvSpPr>
          <p:nvPr>
            <p:ph type="body" sz="quarter" idx="78" hasCustomPrompt="1"/>
          </p:nvPr>
        </p:nvSpPr>
        <p:spPr>
          <a:xfrm>
            <a:off x="324001" y="170008"/>
            <a:ext cx="7103775" cy="373949"/>
          </a:xfrm>
          <a:prstGeom prst="rect">
            <a:avLst/>
          </a:prstGeom>
        </p:spPr>
        <p:txBody>
          <a:bodyPr wrap="square" lIns="0" tIns="0" rIns="0" bIns="0">
            <a:spAutoFit/>
          </a:bodyPr>
          <a:lstStyle>
            <a:lvl1pPr marL="0" indent="0">
              <a:lnSpc>
                <a:spcPct val="90000"/>
              </a:lnSpc>
              <a:spcBef>
                <a:spcPts val="0"/>
              </a:spcBef>
              <a:buFont typeface="Arial" panose="020B0604020202020204" pitchFamily="34" charset="0"/>
              <a:buNone/>
              <a:defRPr sz="2700" spc="-151" baseline="0">
                <a:solidFill>
                  <a:srgbClr val="FFFFFF"/>
                </a:solidFill>
                <a:latin typeface="+mn-lt"/>
              </a:defRPr>
            </a:lvl1pPr>
          </a:lstStyle>
          <a:p>
            <a:pPr lvl="0"/>
            <a:r>
              <a:rPr lang="en-US"/>
              <a:t>Focus Area &amp; Capabilities</a:t>
            </a:r>
          </a:p>
        </p:txBody>
      </p:sp>
      <p:sp>
        <p:nvSpPr>
          <p:cNvPr id="6" name="Table Placeholder 5">
            <a:extLst>
              <a:ext uri="{FF2B5EF4-FFF2-40B4-BE49-F238E27FC236}">
                <a16:creationId xmlns:a16="http://schemas.microsoft.com/office/drawing/2014/main" id="{38B4945C-2A41-EF4D-B1AD-AA76584AF5FC}"/>
              </a:ext>
            </a:extLst>
          </p:cNvPr>
          <p:cNvSpPr>
            <a:spLocks noGrp="1"/>
          </p:cNvSpPr>
          <p:nvPr>
            <p:ph type="tbl" sz="quarter" idx="82"/>
          </p:nvPr>
        </p:nvSpPr>
        <p:spPr>
          <a:xfrm>
            <a:off x="3385948"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19" name="Table Placeholder 5">
            <a:extLst>
              <a:ext uri="{FF2B5EF4-FFF2-40B4-BE49-F238E27FC236}">
                <a16:creationId xmlns:a16="http://schemas.microsoft.com/office/drawing/2014/main" id="{3ED2DD28-397A-B840-BF6E-A903F63601AF}"/>
              </a:ext>
            </a:extLst>
          </p:cNvPr>
          <p:cNvSpPr>
            <a:spLocks noGrp="1"/>
          </p:cNvSpPr>
          <p:nvPr>
            <p:ph type="tbl" sz="quarter" idx="83"/>
          </p:nvPr>
        </p:nvSpPr>
        <p:spPr>
          <a:xfrm>
            <a:off x="324000"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20" name="Table Placeholder 5">
            <a:extLst>
              <a:ext uri="{FF2B5EF4-FFF2-40B4-BE49-F238E27FC236}">
                <a16:creationId xmlns:a16="http://schemas.microsoft.com/office/drawing/2014/main" id="{C80DB332-A88C-9142-85CA-F1FE8061E6BB}"/>
              </a:ext>
            </a:extLst>
          </p:cNvPr>
          <p:cNvSpPr>
            <a:spLocks noGrp="1"/>
          </p:cNvSpPr>
          <p:nvPr>
            <p:ph type="tbl" sz="quarter" idx="84"/>
          </p:nvPr>
        </p:nvSpPr>
        <p:spPr>
          <a:xfrm>
            <a:off x="6448047"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14" name="Date Placeholder 2">
            <a:extLst>
              <a:ext uri="{FF2B5EF4-FFF2-40B4-BE49-F238E27FC236}">
                <a16:creationId xmlns:a16="http://schemas.microsoft.com/office/drawing/2014/main" id="{9F9CB8A0-63FA-224B-9D7B-13ED2074C231}"/>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E1236EF0-1BDA-4793-A224-195ABC703AA6}" type="datetime1">
              <a:rPr lang="de-DE" smtClean="0"/>
              <a:t>24.01.2024</a:t>
            </a:fld>
            <a:endParaRPr lang="en-US"/>
          </a:p>
        </p:txBody>
      </p:sp>
      <p:sp>
        <p:nvSpPr>
          <p:cNvPr id="28" name="Footer Placeholder 3">
            <a:extLst>
              <a:ext uri="{FF2B5EF4-FFF2-40B4-BE49-F238E27FC236}">
                <a16:creationId xmlns:a16="http://schemas.microsoft.com/office/drawing/2014/main" id="{EAC493E8-60F4-C248-A81F-765A3D9F3165}"/>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30" name="Graphic 29">
            <a:extLst>
              <a:ext uri="{FF2B5EF4-FFF2-40B4-BE49-F238E27FC236}">
                <a16:creationId xmlns:a16="http://schemas.microsoft.com/office/drawing/2014/main" id="{2522E286-8CA0-B144-8CF9-814174CE117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2" name="Slide Number Placeholder 4">
            <a:extLst>
              <a:ext uri="{FF2B5EF4-FFF2-40B4-BE49-F238E27FC236}">
                <a16:creationId xmlns:a16="http://schemas.microsoft.com/office/drawing/2014/main" id="{D8E8C8C2-7CEC-0146-9EDD-FA1F82AA02BF}"/>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40525010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ue background - 3 columns">
    <p:spTree>
      <p:nvGrpSpPr>
        <p:cNvPr id="1" name=""/>
        <p:cNvGrpSpPr/>
        <p:nvPr/>
      </p:nvGrpSpPr>
      <p:grpSpPr>
        <a:xfrm>
          <a:off x="0" y="0"/>
          <a:ext cx="0" cy="0"/>
          <a:chOff x="0" y="0"/>
          <a:chExt cx="0" cy="0"/>
        </a:xfrm>
      </p:grpSpPr>
      <p:sp>
        <p:nvSpPr>
          <p:cNvPr id="15" name="object 3">
            <a:extLst>
              <a:ext uri="{FF2B5EF4-FFF2-40B4-BE49-F238E27FC236}">
                <a16:creationId xmlns:a16="http://schemas.microsoft.com/office/drawing/2014/main" id="{B869FD86-0753-B542-9A7B-C3055EAEC6C5}"/>
              </a:ext>
            </a:extLst>
          </p:cNvPr>
          <p:cNvSpPr/>
          <p:nvPr/>
        </p:nvSpPr>
        <p:spPr>
          <a:xfrm>
            <a:off x="-3967" y="0"/>
            <a:ext cx="305104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chemeClr val="tx1"/>
          </a:solidFill>
        </p:spPr>
        <p:txBody>
          <a:bodyPr wrap="square" lIns="0" tIns="0" rIns="0" bIns="0" rtlCol="0"/>
          <a:lstStyle/>
          <a:p>
            <a:endParaRPr sz="675"/>
          </a:p>
        </p:txBody>
      </p:sp>
      <p:sp>
        <p:nvSpPr>
          <p:cNvPr id="16" name="object 4">
            <a:extLst>
              <a:ext uri="{FF2B5EF4-FFF2-40B4-BE49-F238E27FC236}">
                <a16:creationId xmlns:a16="http://schemas.microsoft.com/office/drawing/2014/main" id="{7E485DF3-9C1C-6B40-B61B-2AEC1BB6DF01}"/>
              </a:ext>
            </a:extLst>
          </p:cNvPr>
          <p:cNvSpPr/>
          <p:nvPr/>
        </p:nvSpPr>
        <p:spPr>
          <a:xfrm>
            <a:off x="3047076"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000099"/>
          </a:solidFill>
        </p:spPr>
        <p:txBody>
          <a:bodyPr wrap="square" lIns="0" tIns="0" rIns="0" bIns="0" rtlCol="0"/>
          <a:lstStyle/>
          <a:p>
            <a:endParaRPr sz="675"/>
          </a:p>
        </p:txBody>
      </p:sp>
      <p:sp>
        <p:nvSpPr>
          <p:cNvPr id="17" name="object 5">
            <a:extLst>
              <a:ext uri="{FF2B5EF4-FFF2-40B4-BE49-F238E27FC236}">
                <a16:creationId xmlns:a16="http://schemas.microsoft.com/office/drawing/2014/main" id="{5F3B19B7-00F5-4A40-A8AA-2456D9CDFE0D}"/>
              </a:ext>
            </a:extLst>
          </p:cNvPr>
          <p:cNvSpPr/>
          <p:nvPr/>
        </p:nvSpPr>
        <p:spPr>
          <a:xfrm>
            <a:off x="6096925" y="0"/>
            <a:ext cx="3047076" cy="5143500"/>
          </a:xfrm>
          <a:custGeom>
            <a:avLst/>
            <a:gdLst/>
            <a:ahLst/>
            <a:cxnLst/>
            <a:rect l="l" t="t" r="r" b="b"/>
            <a:pathLst>
              <a:path w="7008494" h="11057255">
                <a:moveTo>
                  <a:pt x="7007957" y="0"/>
                </a:moveTo>
                <a:lnTo>
                  <a:pt x="0" y="0"/>
                </a:lnTo>
                <a:lnTo>
                  <a:pt x="0" y="11057254"/>
                </a:lnTo>
                <a:lnTo>
                  <a:pt x="7007957" y="11057254"/>
                </a:lnTo>
                <a:lnTo>
                  <a:pt x="7007957" y="0"/>
                </a:lnTo>
                <a:close/>
              </a:path>
            </a:pathLst>
          </a:custGeom>
          <a:solidFill>
            <a:srgbClr val="0000CC"/>
          </a:solidFill>
        </p:spPr>
        <p:txBody>
          <a:bodyPr wrap="square" lIns="0" tIns="0" rIns="0" bIns="0" rtlCol="0"/>
          <a:lstStyle/>
          <a:p>
            <a:endParaRPr sz="675"/>
          </a:p>
        </p:txBody>
      </p:sp>
      <p:sp>
        <p:nvSpPr>
          <p:cNvPr id="19" name="object 3">
            <a:extLst>
              <a:ext uri="{FF2B5EF4-FFF2-40B4-BE49-F238E27FC236}">
                <a16:creationId xmlns:a16="http://schemas.microsoft.com/office/drawing/2014/main" id="{5711D99A-3B87-4C58-8132-839F09C04B05}"/>
              </a:ext>
            </a:extLst>
          </p:cNvPr>
          <p:cNvSpPr/>
          <p:nvPr userDrawn="1"/>
        </p:nvSpPr>
        <p:spPr>
          <a:xfrm>
            <a:off x="-3967" y="0"/>
            <a:ext cx="305104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chemeClr val="tx1"/>
          </a:solidFill>
        </p:spPr>
        <p:txBody>
          <a:bodyPr wrap="square" lIns="0" tIns="0" rIns="0" bIns="0" rtlCol="0"/>
          <a:lstStyle/>
          <a:p>
            <a:endParaRPr sz="253"/>
          </a:p>
        </p:txBody>
      </p:sp>
      <p:sp>
        <p:nvSpPr>
          <p:cNvPr id="20" name="object 4">
            <a:extLst>
              <a:ext uri="{FF2B5EF4-FFF2-40B4-BE49-F238E27FC236}">
                <a16:creationId xmlns:a16="http://schemas.microsoft.com/office/drawing/2014/main" id="{FF68D7A1-AD60-4A27-A847-50F24FBB3CD9}"/>
              </a:ext>
            </a:extLst>
          </p:cNvPr>
          <p:cNvSpPr/>
          <p:nvPr userDrawn="1"/>
        </p:nvSpPr>
        <p:spPr>
          <a:xfrm>
            <a:off x="3047076"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00008E"/>
          </a:solidFill>
        </p:spPr>
        <p:txBody>
          <a:bodyPr wrap="square" lIns="0" tIns="0" rIns="0" bIns="0" rtlCol="0"/>
          <a:lstStyle/>
          <a:p>
            <a:endParaRPr sz="253"/>
          </a:p>
        </p:txBody>
      </p:sp>
      <p:sp>
        <p:nvSpPr>
          <p:cNvPr id="22" name="object 5">
            <a:extLst>
              <a:ext uri="{FF2B5EF4-FFF2-40B4-BE49-F238E27FC236}">
                <a16:creationId xmlns:a16="http://schemas.microsoft.com/office/drawing/2014/main" id="{D723F149-E109-43C1-8FC2-7BECC63D9FC5}"/>
              </a:ext>
            </a:extLst>
          </p:cNvPr>
          <p:cNvSpPr/>
          <p:nvPr userDrawn="1"/>
        </p:nvSpPr>
        <p:spPr>
          <a:xfrm>
            <a:off x="6096925" y="0"/>
            <a:ext cx="3047076" cy="5143500"/>
          </a:xfrm>
          <a:custGeom>
            <a:avLst/>
            <a:gdLst/>
            <a:ahLst/>
            <a:cxnLst/>
            <a:rect l="l" t="t" r="r" b="b"/>
            <a:pathLst>
              <a:path w="7008494" h="11057255">
                <a:moveTo>
                  <a:pt x="7007957" y="0"/>
                </a:moveTo>
                <a:lnTo>
                  <a:pt x="0" y="0"/>
                </a:lnTo>
                <a:lnTo>
                  <a:pt x="0" y="11057254"/>
                </a:lnTo>
                <a:lnTo>
                  <a:pt x="7007957" y="11057254"/>
                </a:lnTo>
                <a:lnTo>
                  <a:pt x="7007957" y="0"/>
                </a:lnTo>
                <a:close/>
              </a:path>
            </a:pathLst>
          </a:custGeom>
          <a:solidFill>
            <a:srgbClr val="0000B8"/>
          </a:solidFill>
        </p:spPr>
        <p:txBody>
          <a:bodyPr wrap="square" lIns="0" tIns="0" rIns="0" bIns="0" rtlCol="0"/>
          <a:lstStyle/>
          <a:p>
            <a:endParaRPr sz="253"/>
          </a:p>
        </p:txBody>
      </p:sp>
      <p:sp>
        <p:nvSpPr>
          <p:cNvPr id="24" name="object 4">
            <a:extLst>
              <a:ext uri="{FF2B5EF4-FFF2-40B4-BE49-F238E27FC236}">
                <a16:creationId xmlns:a16="http://schemas.microsoft.com/office/drawing/2014/main" id="{2A25B123-AE6C-A44F-AD0C-4DCFEDCEAC06}"/>
              </a:ext>
            </a:extLst>
          </p:cNvPr>
          <p:cNvSpPr/>
          <p:nvPr userDrawn="1"/>
        </p:nvSpPr>
        <p:spPr>
          <a:xfrm>
            <a:off x="-3968" y="0"/>
            <a:ext cx="9147967" cy="847182"/>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chemeClr val="accent1"/>
          </a:solidFill>
        </p:spPr>
        <p:txBody>
          <a:bodyPr wrap="square" lIns="0" tIns="0" rIns="0" bIns="0" rtlCol="0"/>
          <a:lstStyle/>
          <a:p>
            <a:endParaRPr sz="675"/>
          </a:p>
        </p:txBody>
      </p:sp>
      <p:sp>
        <p:nvSpPr>
          <p:cNvPr id="10" name="Text Placeholder 4">
            <a:extLst>
              <a:ext uri="{FF2B5EF4-FFF2-40B4-BE49-F238E27FC236}">
                <a16:creationId xmlns:a16="http://schemas.microsoft.com/office/drawing/2014/main" id="{22582A4A-8131-8B42-838D-83CB74B735B5}"/>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Electric Mobility</a:t>
            </a:r>
          </a:p>
        </p:txBody>
      </p:sp>
      <p:sp>
        <p:nvSpPr>
          <p:cNvPr id="12" name="Text Placeholder 4">
            <a:extLst>
              <a:ext uri="{FF2B5EF4-FFF2-40B4-BE49-F238E27FC236}">
                <a16:creationId xmlns:a16="http://schemas.microsoft.com/office/drawing/2014/main" id="{6BB5FF94-24B7-3745-8AE3-2DC16A65FD1E}"/>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Focus Area &amp; Capabilities</a:t>
            </a:r>
          </a:p>
        </p:txBody>
      </p:sp>
      <p:sp>
        <p:nvSpPr>
          <p:cNvPr id="14" name="Date Placeholder 2">
            <a:extLst>
              <a:ext uri="{FF2B5EF4-FFF2-40B4-BE49-F238E27FC236}">
                <a16:creationId xmlns:a16="http://schemas.microsoft.com/office/drawing/2014/main" id="{7DEF4F13-1829-0248-A963-13C386379623}"/>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57AEEA0C-6DEC-4CAD-B0A8-C78B877526E6}" type="datetime1">
              <a:rPr lang="de-DE" smtClean="0"/>
              <a:t>24.01.2024</a:t>
            </a:fld>
            <a:endParaRPr lang="en-US"/>
          </a:p>
        </p:txBody>
      </p:sp>
      <p:sp>
        <p:nvSpPr>
          <p:cNvPr id="27" name="Table Placeholder 5">
            <a:extLst>
              <a:ext uri="{FF2B5EF4-FFF2-40B4-BE49-F238E27FC236}">
                <a16:creationId xmlns:a16="http://schemas.microsoft.com/office/drawing/2014/main" id="{09C494E3-809F-9D47-AC33-A1BD27B3D61A}"/>
              </a:ext>
            </a:extLst>
          </p:cNvPr>
          <p:cNvSpPr>
            <a:spLocks noGrp="1"/>
          </p:cNvSpPr>
          <p:nvPr>
            <p:ph type="tbl" sz="quarter" idx="82"/>
          </p:nvPr>
        </p:nvSpPr>
        <p:spPr>
          <a:xfrm>
            <a:off x="3385948"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28" name="Table Placeholder 5">
            <a:extLst>
              <a:ext uri="{FF2B5EF4-FFF2-40B4-BE49-F238E27FC236}">
                <a16:creationId xmlns:a16="http://schemas.microsoft.com/office/drawing/2014/main" id="{7B386C01-88BE-0D40-9AB3-E3A5D81DA4C3}"/>
              </a:ext>
            </a:extLst>
          </p:cNvPr>
          <p:cNvSpPr>
            <a:spLocks noGrp="1"/>
          </p:cNvSpPr>
          <p:nvPr>
            <p:ph type="tbl" sz="quarter" idx="83"/>
          </p:nvPr>
        </p:nvSpPr>
        <p:spPr>
          <a:xfrm>
            <a:off x="324000"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29" name="Table Placeholder 5">
            <a:extLst>
              <a:ext uri="{FF2B5EF4-FFF2-40B4-BE49-F238E27FC236}">
                <a16:creationId xmlns:a16="http://schemas.microsoft.com/office/drawing/2014/main" id="{F76FAC86-378A-3742-BE0B-E841BF0FCF29}"/>
              </a:ext>
            </a:extLst>
          </p:cNvPr>
          <p:cNvSpPr>
            <a:spLocks noGrp="1"/>
          </p:cNvSpPr>
          <p:nvPr>
            <p:ph type="tbl" sz="quarter" idx="84"/>
          </p:nvPr>
        </p:nvSpPr>
        <p:spPr>
          <a:xfrm>
            <a:off x="6448047"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25" name="Footer Placeholder 3">
            <a:extLst>
              <a:ext uri="{FF2B5EF4-FFF2-40B4-BE49-F238E27FC236}">
                <a16:creationId xmlns:a16="http://schemas.microsoft.com/office/drawing/2014/main" id="{23DE0A01-A589-6F4D-BEA9-14356282ED74}"/>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31" name="Graphic 30">
            <a:extLst>
              <a:ext uri="{FF2B5EF4-FFF2-40B4-BE49-F238E27FC236}">
                <a16:creationId xmlns:a16="http://schemas.microsoft.com/office/drawing/2014/main" id="{3058F016-C890-4448-AB16-F5A793FDA3C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2" name="Slide Number Placeholder 4">
            <a:extLst>
              <a:ext uri="{FF2B5EF4-FFF2-40B4-BE49-F238E27FC236}">
                <a16:creationId xmlns:a16="http://schemas.microsoft.com/office/drawing/2014/main" id="{27598866-ECF4-B548-B7FC-30AE968C2BAE}"/>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4959419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tart with the why_2">
    <p:spTree>
      <p:nvGrpSpPr>
        <p:cNvPr id="1" name=""/>
        <p:cNvGrpSpPr/>
        <p:nvPr/>
      </p:nvGrpSpPr>
      <p:grpSpPr>
        <a:xfrm>
          <a:off x="0" y="0"/>
          <a:ext cx="0" cy="0"/>
          <a:chOff x="0" y="0"/>
          <a:chExt cx="0" cy="0"/>
        </a:xfrm>
      </p:grpSpPr>
      <p:sp>
        <p:nvSpPr>
          <p:cNvPr id="36" name="object 5">
            <a:extLst>
              <a:ext uri="{FF2B5EF4-FFF2-40B4-BE49-F238E27FC236}">
                <a16:creationId xmlns:a16="http://schemas.microsoft.com/office/drawing/2014/main" id="{FC6B29A2-B309-4946-8DC2-E98ED96B9CED}"/>
              </a:ext>
            </a:extLst>
          </p:cNvPr>
          <p:cNvSpPr/>
          <p:nvPr userDrawn="1"/>
        </p:nvSpPr>
        <p:spPr>
          <a:xfrm>
            <a:off x="6096925" y="0"/>
            <a:ext cx="3047076" cy="5143500"/>
          </a:xfrm>
          <a:custGeom>
            <a:avLst/>
            <a:gdLst/>
            <a:ahLst/>
            <a:cxnLst/>
            <a:rect l="l" t="t" r="r" b="b"/>
            <a:pathLst>
              <a:path w="7008494" h="11057255">
                <a:moveTo>
                  <a:pt x="7007957" y="0"/>
                </a:moveTo>
                <a:lnTo>
                  <a:pt x="0" y="0"/>
                </a:lnTo>
                <a:lnTo>
                  <a:pt x="0" y="11057254"/>
                </a:lnTo>
                <a:lnTo>
                  <a:pt x="7007957" y="11057254"/>
                </a:lnTo>
                <a:lnTo>
                  <a:pt x="7007957" y="0"/>
                </a:lnTo>
                <a:close/>
              </a:path>
            </a:pathLst>
          </a:custGeom>
          <a:solidFill>
            <a:srgbClr val="0000B8"/>
          </a:solidFill>
        </p:spPr>
        <p:txBody>
          <a:bodyPr wrap="square" lIns="0" tIns="0" rIns="0" bIns="0" rtlCol="0"/>
          <a:lstStyle/>
          <a:p>
            <a:endParaRPr sz="253"/>
          </a:p>
        </p:txBody>
      </p:sp>
      <p:sp>
        <p:nvSpPr>
          <p:cNvPr id="25" name="object 3">
            <a:extLst>
              <a:ext uri="{FF2B5EF4-FFF2-40B4-BE49-F238E27FC236}">
                <a16:creationId xmlns:a16="http://schemas.microsoft.com/office/drawing/2014/main" id="{4E31EEF8-D2AB-4F46-A0CA-65A0F1C3C0B1}"/>
              </a:ext>
            </a:extLst>
          </p:cNvPr>
          <p:cNvSpPr/>
          <p:nvPr/>
        </p:nvSpPr>
        <p:spPr>
          <a:xfrm>
            <a:off x="-3967" y="0"/>
            <a:ext cx="305104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chemeClr val="tx1"/>
          </a:solidFill>
        </p:spPr>
        <p:txBody>
          <a:bodyPr wrap="square" lIns="0" tIns="0" rIns="0" bIns="0" rtlCol="0"/>
          <a:lstStyle/>
          <a:p>
            <a:endParaRPr sz="675"/>
          </a:p>
        </p:txBody>
      </p:sp>
      <p:sp>
        <p:nvSpPr>
          <p:cNvPr id="27" name="object 4">
            <a:extLst>
              <a:ext uri="{FF2B5EF4-FFF2-40B4-BE49-F238E27FC236}">
                <a16:creationId xmlns:a16="http://schemas.microsoft.com/office/drawing/2014/main" id="{55D6CBD0-C3E3-454F-A8C6-47B4894FA7E6}"/>
              </a:ext>
            </a:extLst>
          </p:cNvPr>
          <p:cNvSpPr/>
          <p:nvPr/>
        </p:nvSpPr>
        <p:spPr>
          <a:xfrm>
            <a:off x="3047076"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000099"/>
          </a:solidFill>
        </p:spPr>
        <p:txBody>
          <a:bodyPr wrap="square" lIns="0" tIns="0" rIns="0" bIns="0" rtlCol="0"/>
          <a:lstStyle/>
          <a:p>
            <a:endParaRPr sz="675"/>
          </a:p>
        </p:txBody>
      </p:sp>
      <p:sp>
        <p:nvSpPr>
          <p:cNvPr id="29" name="object 3">
            <a:extLst>
              <a:ext uri="{FF2B5EF4-FFF2-40B4-BE49-F238E27FC236}">
                <a16:creationId xmlns:a16="http://schemas.microsoft.com/office/drawing/2014/main" id="{6350CEFB-7B8C-4AF3-AC79-184DF8876242}"/>
              </a:ext>
            </a:extLst>
          </p:cNvPr>
          <p:cNvSpPr/>
          <p:nvPr userDrawn="1"/>
        </p:nvSpPr>
        <p:spPr>
          <a:xfrm>
            <a:off x="-3967" y="0"/>
            <a:ext cx="305104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chemeClr val="tx1"/>
          </a:solidFill>
        </p:spPr>
        <p:txBody>
          <a:bodyPr wrap="square" lIns="0" tIns="0" rIns="0" bIns="0" rtlCol="0"/>
          <a:lstStyle/>
          <a:p>
            <a:endParaRPr sz="253"/>
          </a:p>
        </p:txBody>
      </p:sp>
      <p:sp>
        <p:nvSpPr>
          <p:cNvPr id="30" name="object 4">
            <a:extLst>
              <a:ext uri="{FF2B5EF4-FFF2-40B4-BE49-F238E27FC236}">
                <a16:creationId xmlns:a16="http://schemas.microsoft.com/office/drawing/2014/main" id="{0ED23F61-DC80-4EFF-A3B8-3F79B6138E91}"/>
              </a:ext>
            </a:extLst>
          </p:cNvPr>
          <p:cNvSpPr/>
          <p:nvPr userDrawn="1"/>
        </p:nvSpPr>
        <p:spPr>
          <a:xfrm>
            <a:off x="3047076"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000099"/>
          </a:solidFill>
        </p:spPr>
        <p:txBody>
          <a:bodyPr wrap="square" lIns="0" tIns="0" rIns="0" bIns="0" rtlCol="0"/>
          <a:lstStyle/>
          <a:p>
            <a:endParaRPr sz="253"/>
          </a:p>
        </p:txBody>
      </p:sp>
      <p:sp>
        <p:nvSpPr>
          <p:cNvPr id="33" name="object 4">
            <a:extLst>
              <a:ext uri="{FF2B5EF4-FFF2-40B4-BE49-F238E27FC236}">
                <a16:creationId xmlns:a16="http://schemas.microsoft.com/office/drawing/2014/main" id="{7E94BAD7-DD84-9349-8DF1-AC577AD6DCF8}"/>
              </a:ext>
            </a:extLst>
          </p:cNvPr>
          <p:cNvSpPr/>
          <p:nvPr userDrawn="1"/>
        </p:nvSpPr>
        <p:spPr>
          <a:xfrm>
            <a:off x="-3968" y="0"/>
            <a:ext cx="9147967" cy="847182"/>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chemeClr val="accent1"/>
          </a:solidFill>
        </p:spPr>
        <p:txBody>
          <a:bodyPr wrap="square" lIns="0" tIns="0" rIns="0" bIns="0" rtlCol="0"/>
          <a:lstStyle/>
          <a:p>
            <a:endParaRPr sz="675"/>
          </a:p>
        </p:txBody>
      </p:sp>
      <p:sp>
        <p:nvSpPr>
          <p:cNvPr id="10" name="Text Placeholder 4"/>
          <p:cNvSpPr>
            <a:spLocks noGrp="1"/>
          </p:cNvSpPr>
          <p:nvPr>
            <p:ph type="body" sz="quarter" idx="72" hasCustomPrompt="1"/>
          </p:nvPr>
        </p:nvSpPr>
        <p:spPr>
          <a:xfrm>
            <a:off x="324000" y="1098402"/>
            <a:ext cx="2372104" cy="430887"/>
          </a:xfrm>
          <a:prstGeom prst="rect">
            <a:avLst/>
          </a:prstGeom>
        </p:spPr>
        <p:txBody>
          <a:bodyPr wrap="square" lIns="0" tIns="0" rIns="0" bIns="0" anchor="t">
            <a:spAutoFit/>
          </a:bodyPr>
          <a:lstStyle>
            <a:lvl1pPr marL="0" indent="0" algn="l">
              <a:lnSpc>
                <a:spcPct val="100000"/>
              </a:lnSpc>
              <a:spcBef>
                <a:spcPts val="0"/>
              </a:spcBef>
              <a:buFontTx/>
              <a:buNone/>
              <a:defRPr sz="1400" spc="-56">
                <a:solidFill>
                  <a:schemeClr val="bg1"/>
                </a:solidFill>
                <a:latin typeface="+mn-lt"/>
              </a:defRPr>
            </a:lvl1pPr>
          </a:lstStyle>
          <a:p>
            <a:pPr lvl="0"/>
            <a:r>
              <a:rPr lang="en-US"/>
              <a:t>Why RG needs </a:t>
            </a:r>
            <a:br>
              <a:rPr lang="uk-UA"/>
            </a:br>
            <a:r>
              <a:rPr lang="en-US"/>
              <a:t>a holistic SW-QMS</a:t>
            </a:r>
          </a:p>
        </p:txBody>
      </p:sp>
      <p:sp>
        <p:nvSpPr>
          <p:cNvPr id="18" name="Text Placeholder 4"/>
          <p:cNvSpPr>
            <a:spLocks noGrp="1"/>
          </p:cNvSpPr>
          <p:nvPr>
            <p:ph type="body" sz="quarter" idx="75" hasCustomPrompt="1"/>
          </p:nvPr>
        </p:nvSpPr>
        <p:spPr>
          <a:xfrm>
            <a:off x="324000" y="1768690"/>
            <a:ext cx="2372104" cy="2737288"/>
          </a:xfrm>
          <a:prstGeom prst="rect">
            <a:avLst/>
          </a:prstGeom>
        </p:spPr>
        <p:txBody>
          <a:bodyPr wrap="square" lIns="0" tIns="0" rIns="0" bIns="0">
            <a:spAutoFit/>
          </a:bodyPr>
          <a:lstStyle>
            <a:lvl1pPr marL="0" indent="0">
              <a:lnSpc>
                <a:spcPct val="120000"/>
              </a:lnSpc>
              <a:spcBef>
                <a:spcPts val="0"/>
              </a:spcBef>
              <a:spcAft>
                <a:spcPts val="1125"/>
              </a:spcAft>
              <a:buFont typeface="Arial" panose="020B0604020202020204" pitchFamily="34" charset="0"/>
              <a:buNone/>
              <a:defRPr sz="900">
                <a:solidFill>
                  <a:schemeClr val="bg1"/>
                </a:solidFill>
                <a:latin typeface="+mn-lt"/>
              </a:defRPr>
            </a:lvl1pPr>
          </a:lstStyle>
          <a:p>
            <a:pPr lvl="0"/>
            <a:r>
              <a:rPr lang="en-US"/>
              <a:t>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 </a:t>
            </a:r>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 </a:t>
            </a:r>
          </a:p>
          <a:p>
            <a:pPr lvl="0"/>
            <a:endParaRPr lang="en-US"/>
          </a:p>
        </p:txBody>
      </p:sp>
      <p:sp>
        <p:nvSpPr>
          <p:cNvPr id="17" name="Text Placeholder 4"/>
          <p:cNvSpPr>
            <a:spLocks noGrp="1"/>
          </p:cNvSpPr>
          <p:nvPr>
            <p:ph type="body" sz="quarter" idx="76" hasCustomPrompt="1"/>
          </p:nvPr>
        </p:nvSpPr>
        <p:spPr>
          <a:xfrm>
            <a:off x="3385948" y="1098402"/>
            <a:ext cx="2372104" cy="430887"/>
          </a:xfrm>
          <a:prstGeom prst="rect">
            <a:avLst/>
          </a:prstGeom>
        </p:spPr>
        <p:txBody>
          <a:bodyPr wrap="square" lIns="0" tIns="0" rIns="0" bIns="0" anchor="t">
            <a:spAutoFit/>
          </a:bodyPr>
          <a:lstStyle>
            <a:lvl1pPr marL="0" indent="0" algn="l">
              <a:lnSpc>
                <a:spcPct val="100000"/>
              </a:lnSpc>
              <a:spcBef>
                <a:spcPts val="0"/>
              </a:spcBef>
              <a:buFontTx/>
              <a:buNone/>
              <a:defRPr sz="1400" spc="-56">
                <a:solidFill>
                  <a:schemeClr val="bg1"/>
                </a:solidFill>
                <a:latin typeface="+mn-lt"/>
              </a:defRPr>
            </a:lvl1pPr>
          </a:lstStyle>
          <a:p>
            <a:pPr lvl="0"/>
            <a:r>
              <a:rPr lang="en-US"/>
              <a:t>How we propose</a:t>
            </a:r>
            <a:br>
              <a:rPr lang="uk-UA"/>
            </a:br>
            <a:r>
              <a:rPr lang="en-US"/>
              <a:t>to implement it</a:t>
            </a:r>
          </a:p>
        </p:txBody>
      </p:sp>
      <p:sp>
        <p:nvSpPr>
          <p:cNvPr id="19" name="Text Placeholder 4"/>
          <p:cNvSpPr>
            <a:spLocks noGrp="1"/>
          </p:cNvSpPr>
          <p:nvPr>
            <p:ph type="body" sz="quarter" idx="77" hasCustomPrompt="1"/>
          </p:nvPr>
        </p:nvSpPr>
        <p:spPr>
          <a:xfrm>
            <a:off x="3391803" y="1768690"/>
            <a:ext cx="2367600" cy="2712153"/>
          </a:xfrm>
          <a:prstGeom prst="rect">
            <a:avLst/>
          </a:prstGeom>
        </p:spPr>
        <p:txBody>
          <a:bodyPr wrap="square" lIns="0" tIns="0" rIns="0" bIns="0">
            <a:spAutoFit/>
          </a:bodyPr>
          <a:lstStyle>
            <a:lvl1pPr marL="0" indent="0">
              <a:lnSpc>
                <a:spcPct val="120000"/>
              </a:lnSpc>
              <a:spcBef>
                <a:spcPts val="0"/>
              </a:spcBef>
              <a:spcAft>
                <a:spcPts val="1125"/>
              </a:spcAft>
              <a:buFont typeface="Arial" panose="020B0604020202020204" pitchFamily="34" charset="0"/>
              <a:buNone/>
              <a:defRPr sz="900">
                <a:solidFill>
                  <a:schemeClr val="bg1"/>
                </a:solidFill>
                <a:latin typeface="+mn-lt"/>
              </a:defRPr>
            </a:lvl1pPr>
          </a:lstStyle>
          <a:p>
            <a:pPr lvl="0"/>
            <a:r>
              <a:rPr lang="en-US"/>
              <a:t>Value driven Implementation of a unified Renault Software Quality Model (organization, processes and tools) encompassing all relevant frameworks, such as ASPICE, </a:t>
            </a:r>
            <a:r>
              <a:rPr lang="en-US" err="1"/>
              <a:t>SAFe</a:t>
            </a:r>
            <a:r>
              <a:rPr lang="en-US"/>
              <a:t>, ITIL, DevOps, etc.</a:t>
            </a:r>
          </a:p>
          <a:p>
            <a:pPr lvl="0"/>
            <a:r>
              <a:rPr lang="en-US"/>
              <a:t>Stakeholder engagement including continuous opportunities and risk management</a:t>
            </a:r>
          </a:p>
          <a:p>
            <a:pPr lvl="0"/>
            <a:r>
              <a:rPr lang="en-US"/>
              <a:t>Communication of goals and benefits for all stakeholders, services, métiers, and suppliers</a:t>
            </a:r>
          </a:p>
          <a:p>
            <a:pPr lvl="0"/>
            <a:r>
              <a:rPr lang="en-US"/>
              <a:t>Cross stakeholder governance of the implementation team</a:t>
            </a:r>
          </a:p>
          <a:p>
            <a:pPr lvl="0"/>
            <a:r>
              <a:rPr lang="en-US"/>
              <a:t>Sustainable cultural change towards a value driven technology organization</a:t>
            </a:r>
          </a:p>
        </p:txBody>
      </p:sp>
      <p:sp>
        <p:nvSpPr>
          <p:cNvPr id="20" name="Text Placeholder 4"/>
          <p:cNvSpPr>
            <a:spLocks noGrp="1"/>
          </p:cNvSpPr>
          <p:nvPr>
            <p:ph type="body" sz="quarter" idx="78" hasCustomPrompt="1"/>
          </p:nvPr>
        </p:nvSpPr>
        <p:spPr>
          <a:xfrm>
            <a:off x="6448047" y="1099421"/>
            <a:ext cx="2372104" cy="430887"/>
          </a:xfrm>
          <a:prstGeom prst="rect">
            <a:avLst/>
          </a:prstGeom>
        </p:spPr>
        <p:txBody>
          <a:bodyPr wrap="square" lIns="0" tIns="0" rIns="0" bIns="0" anchor="t">
            <a:spAutoFit/>
          </a:bodyPr>
          <a:lstStyle>
            <a:lvl1pPr marL="0" indent="0" algn="l">
              <a:lnSpc>
                <a:spcPct val="100000"/>
              </a:lnSpc>
              <a:spcBef>
                <a:spcPts val="0"/>
              </a:spcBef>
              <a:buFontTx/>
              <a:buNone/>
              <a:defRPr sz="1400" spc="-56">
                <a:solidFill>
                  <a:schemeClr val="bg1"/>
                </a:solidFill>
                <a:latin typeface="+mn-lt"/>
              </a:defRPr>
            </a:lvl1pPr>
          </a:lstStyle>
          <a:p>
            <a:pPr lvl="0"/>
            <a:r>
              <a:rPr lang="en-US"/>
              <a:t>What we are </a:t>
            </a:r>
            <a:br>
              <a:rPr lang="en-US"/>
            </a:br>
            <a:r>
              <a:rPr lang="en-US"/>
              <a:t>going to do</a:t>
            </a:r>
          </a:p>
        </p:txBody>
      </p:sp>
      <p:sp>
        <p:nvSpPr>
          <p:cNvPr id="21" name="Text Placeholder 4"/>
          <p:cNvSpPr>
            <a:spLocks noGrp="1"/>
          </p:cNvSpPr>
          <p:nvPr>
            <p:ph type="body" sz="quarter" idx="79" hasCustomPrompt="1"/>
          </p:nvPr>
        </p:nvSpPr>
        <p:spPr>
          <a:xfrm>
            <a:off x="6448047" y="1769709"/>
            <a:ext cx="2372104" cy="1765227"/>
          </a:xfrm>
          <a:prstGeom prst="rect">
            <a:avLst/>
          </a:prstGeom>
        </p:spPr>
        <p:txBody>
          <a:bodyPr wrap="square" lIns="0" tIns="0" rIns="0" bIns="0">
            <a:spAutoFit/>
          </a:bodyPr>
          <a:lstStyle>
            <a:lvl1pPr marL="0" indent="0">
              <a:lnSpc>
                <a:spcPct val="120000"/>
              </a:lnSpc>
              <a:spcBef>
                <a:spcPts val="0"/>
              </a:spcBef>
              <a:spcAft>
                <a:spcPts val="1125"/>
              </a:spcAft>
              <a:buFont typeface="Arial" panose="020B0604020202020204" pitchFamily="34" charset="0"/>
              <a:buNone/>
              <a:defRPr sz="900">
                <a:solidFill>
                  <a:schemeClr val="bg1"/>
                </a:solidFill>
                <a:latin typeface="+mn-lt"/>
              </a:defRPr>
            </a:lvl1pPr>
          </a:lstStyle>
          <a:p>
            <a:pPr lvl="0"/>
            <a:r>
              <a:rPr lang="en-US"/>
              <a:t>Organization: definition of roles and responsibilities, organizational interfaces,</a:t>
            </a:r>
            <a:br>
              <a:rPr lang="en-US"/>
            </a:br>
            <a:r>
              <a:rPr lang="en-US"/>
              <a:t>and communication and decision-making structure</a:t>
            </a:r>
          </a:p>
          <a:p>
            <a:pPr lvl="0"/>
            <a:r>
              <a:rPr lang="en-US"/>
              <a:t>Process and tools: definition and rework of processes, KPI based tracking of improvements</a:t>
            </a:r>
          </a:p>
          <a:p>
            <a:pPr lvl="0"/>
            <a:r>
              <a:rPr lang="en-US"/>
              <a:t>Enablement of people through communication, engagement, coaching and training</a:t>
            </a:r>
          </a:p>
        </p:txBody>
      </p:sp>
      <p:sp>
        <p:nvSpPr>
          <p:cNvPr id="34" name="Text Placeholder 4">
            <a:extLst>
              <a:ext uri="{FF2B5EF4-FFF2-40B4-BE49-F238E27FC236}">
                <a16:creationId xmlns:a16="http://schemas.microsoft.com/office/drawing/2014/main" id="{8B402192-577E-314C-8D16-94CE6CDAC92F}"/>
              </a:ext>
            </a:extLst>
          </p:cNvPr>
          <p:cNvSpPr>
            <a:spLocks noGrp="1"/>
          </p:cNvSpPr>
          <p:nvPr>
            <p:ph type="body" sz="quarter" idx="83" hasCustomPrompt="1"/>
          </p:nvPr>
        </p:nvSpPr>
        <p:spPr>
          <a:xfrm>
            <a:off x="324001" y="569829"/>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Our approach to inspire actions</a:t>
            </a:r>
          </a:p>
        </p:txBody>
      </p:sp>
      <p:sp>
        <p:nvSpPr>
          <p:cNvPr id="35" name="Text Placeholder 4">
            <a:extLst>
              <a:ext uri="{FF2B5EF4-FFF2-40B4-BE49-F238E27FC236}">
                <a16:creationId xmlns:a16="http://schemas.microsoft.com/office/drawing/2014/main" id="{CCA68E53-F57C-F944-9941-F7ED4A29A9CA}"/>
              </a:ext>
            </a:extLst>
          </p:cNvPr>
          <p:cNvSpPr>
            <a:spLocks noGrp="1"/>
          </p:cNvSpPr>
          <p:nvPr>
            <p:ph type="body" sz="quarter" idx="84"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Start with the why</a:t>
            </a:r>
          </a:p>
        </p:txBody>
      </p:sp>
      <p:sp>
        <p:nvSpPr>
          <p:cNvPr id="22" name="Date Placeholder 2">
            <a:extLst>
              <a:ext uri="{FF2B5EF4-FFF2-40B4-BE49-F238E27FC236}">
                <a16:creationId xmlns:a16="http://schemas.microsoft.com/office/drawing/2014/main" id="{93460164-7911-D94F-A14D-9EADF8E82A1D}"/>
              </a:ext>
            </a:extLst>
          </p:cNvPr>
          <p:cNvSpPr>
            <a:spLocks noGrp="1"/>
          </p:cNvSpPr>
          <p:nvPr>
            <p:ph type="dt" sz="half" idx="85"/>
          </p:nvPr>
        </p:nvSpPr>
        <p:spPr>
          <a:xfrm>
            <a:off x="324002" y="4972079"/>
            <a:ext cx="494319" cy="92455"/>
          </a:xfrm>
        </p:spPr>
        <p:txBody>
          <a:bodyPr/>
          <a:lstStyle>
            <a:lvl1pPr>
              <a:defRPr>
                <a:solidFill>
                  <a:schemeClr val="bg1">
                    <a:alpha val="50000"/>
                  </a:schemeClr>
                </a:solidFill>
              </a:defRPr>
            </a:lvl1pPr>
          </a:lstStyle>
          <a:p>
            <a:fld id="{8B8D0E6B-7B77-4ED9-ACF5-0DC4CC304687}" type="datetime1">
              <a:rPr lang="de-DE" smtClean="0"/>
              <a:t>24.01.2024</a:t>
            </a:fld>
            <a:endParaRPr lang="en-US"/>
          </a:p>
        </p:txBody>
      </p:sp>
      <p:sp>
        <p:nvSpPr>
          <p:cNvPr id="28" name="Footer Placeholder 3">
            <a:extLst>
              <a:ext uri="{FF2B5EF4-FFF2-40B4-BE49-F238E27FC236}">
                <a16:creationId xmlns:a16="http://schemas.microsoft.com/office/drawing/2014/main" id="{F0077DA0-949A-EB43-9407-01A9C90787C8}"/>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31" name="Graphic 30">
            <a:extLst>
              <a:ext uri="{FF2B5EF4-FFF2-40B4-BE49-F238E27FC236}">
                <a16:creationId xmlns:a16="http://schemas.microsoft.com/office/drawing/2014/main" id="{508CC85E-B88C-AD45-A7C4-3001B408000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7" name="Slide Number Placeholder 4">
            <a:extLst>
              <a:ext uri="{FF2B5EF4-FFF2-40B4-BE49-F238E27FC236}">
                <a16:creationId xmlns:a16="http://schemas.microsoft.com/office/drawing/2014/main" id="{267277B3-F169-2F45-870A-76D4C9AFF1DD}"/>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1098912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Red background - 3 columns">
    <p:spTree>
      <p:nvGrpSpPr>
        <p:cNvPr id="1" name=""/>
        <p:cNvGrpSpPr/>
        <p:nvPr/>
      </p:nvGrpSpPr>
      <p:grpSpPr>
        <a:xfrm>
          <a:off x="0" y="0"/>
          <a:ext cx="0" cy="0"/>
          <a:chOff x="0" y="0"/>
          <a:chExt cx="0" cy="0"/>
        </a:xfrm>
      </p:grpSpPr>
      <p:sp>
        <p:nvSpPr>
          <p:cNvPr id="15" name="object 3">
            <a:extLst>
              <a:ext uri="{FF2B5EF4-FFF2-40B4-BE49-F238E27FC236}">
                <a16:creationId xmlns:a16="http://schemas.microsoft.com/office/drawing/2014/main" id="{B869FD86-0753-B542-9A7B-C3055EAEC6C5}"/>
              </a:ext>
            </a:extLst>
          </p:cNvPr>
          <p:cNvSpPr/>
          <p:nvPr/>
        </p:nvSpPr>
        <p:spPr>
          <a:xfrm>
            <a:off x="-3967" y="0"/>
            <a:ext cx="305104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rgbClr val="9A0102"/>
          </a:solidFill>
        </p:spPr>
        <p:txBody>
          <a:bodyPr wrap="square" lIns="0" tIns="0" rIns="0" bIns="0" rtlCol="0"/>
          <a:lstStyle/>
          <a:p>
            <a:endParaRPr sz="675"/>
          </a:p>
        </p:txBody>
      </p:sp>
      <p:sp>
        <p:nvSpPr>
          <p:cNvPr id="16" name="object 4">
            <a:extLst>
              <a:ext uri="{FF2B5EF4-FFF2-40B4-BE49-F238E27FC236}">
                <a16:creationId xmlns:a16="http://schemas.microsoft.com/office/drawing/2014/main" id="{7E485DF3-9C1C-6B40-B61B-2AEC1BB6DF01}"/>
              </a:ext>
            </a:extLst>
          </p:cNvPr>
          <p:cNvSpPr/>
          <p:nvPr/>
        </p:nvSpPr>
        <p:spPr>
          <a:xfrm>
            <a:off x="3047076"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B40103"/>
          </a:solidFill>
        </p:spPr>
        <p:txBody>
          <a:bodyPr wrap="square" lIns="0" tIns="0" rIns="0" bIns="0" rtlCol="0"/>
          <a:lstStyle/>
          <a:p>
            <a:endParaRPr sz="675"/>
          </a:p>
        </p:txBody>
      </p:sp>
      <p:sp>
        <p:nvSpPr>
          <p:cNvPr id="17" name="object 5">
            <a:extLst>
              <a:ext uri="{FF2B5EF4-FFF2-40B4-BE49-F238E27FC236}">
                <a16:creationId xmlns:a16="http://schemas.microsoft.com/office/drawing/2014/main" id="{5F3B19B7-00F5-4A40-A8AA-2456D9CDFE0D}"/>
              </a:ext>
            </a:extLst>
          </p:cNvPr>
          <p:cNvSpPr/>
          <p:nvPr/>
        </p:nvSpPr>
        <p:spPr>
          <a:xfrm>
            <a:off x="6096924" y="0"/>
            <a:ext cx="3047077" cy="5143500"/>
          </a:xfrm>
          <a:custGeom>
            <a:avLst/>
            <a:gdLst/>
            <a:ahLst/>
            <a:cxnLst/>
            <a:rect l="l" t="t" r="r" b="b"/>
            <a:pathLst>
              <a:path w="7008494" h="11057255">
                <a:moveTo>
                  <a:pt x="7007957" y="0"/>
                </a:moveTo>
                <a:lnTo>
                  <a:pt x="0" y="0"/>
                </a:lnTo>
                <a:lnTo>
                  <a:pt x="0" y="11057254"/>
                </a:lnTo>
                <a:lnTo>
                  <a:pt x="7007957" y="11057254"/>
                </a:lnTo>
                <a:lnTo>
                  <a:pt x="7007957" y="0"/>
                </a:lnTo>
                <a:close/>
              </a:path>
            </a:pathLst>
          </a:custGeom>
          <a:solidFill>
            <a:srgbClr val="C60103"/>
          </a:solidFill>
        </p:spPr>
        <p:txBody>
          <a:bodyPr wrap="square" lIns="0" tIns="0" rIns="0" bIns="0" rtlCol="0"/>
          <a:lstStyle/>
          <a:p>
            <a:endParaRPr sz="675"/>
          </a:p>
        </p:txBody>
      </p:sp>
      <p:sp>
        <p:nvSpPr>
          <p:cNvPr id="19" name="object 3">
            <a:extLst>
              <a:ext uri="{FF2B5EF4-FFF2-40B4-BE49-F238E27FC236}">
                <a16:creationId xmlns:a16="http://schemas.microsoft.com/office/drawing/2014/main" id="{36B88A47-1A90-4C33-B5BB-E8F8A2BCFFA9}"/>
              </a:ext>
            </a:extLst>
          </p:cNvPr>
          <p:cNvSpPr/>
          <p:nvPr userDrawn="1"/>
        </p:nvSpPr>
        <p:spPr>
          <a:xfrm>
            <a:off x="-3967" y="0"/>
            <a:ext cx="3051043" cy="5143500"/>
          </a:xfrm>
          <a:custGeom>
            <a:avLst/>
            <a:gdLst/>
            <a:ahLst/>
            <a:cxnLst/>
            <a:rect l="l" t="t" r="r" b="b"/>
            <a:pathLst>
              <a:path w="7036434" h="11057255">
                <a:moveTo>
                  <a:pt x="7036434" y="0"/>
                </a:moveTo>
                <a:lnTo>
                  <a:pt x="0" y="0"/>
                </a:lnTo>
                <a:lnTo>
                  <a:pt x="0" y="11057254"/>
                </a:lnTo>
                <a:lnTo>
                  <a:pt x="7036434" y="11057254"/>
                </a:lnTo>
                <a:lnTo>
                  <a:pt x="7036434" y="0"/>
                </a:lnTo>
                <a:close/>
              </a:path>
            </a:pathLst>
          </a:custGeom>
          <a:solidFill>
            <a:srgbClr val="9A0102"/>
          </a:solidFill>
        </p:spPr>
        <p:txBody>
          <a:bodyPr wrap="square" lIns="0" tIns="0" rIns="0" bIns="0" rtlCol="0"/>
          <a:lstStyle/>
          <a:p>
            <a:endParaRPr sz="253"/>
          </a:p>
        </p:txBody>
      </p:sp>
      <p:sp>
        <p:nvSpPr>
          <p:cNvPr id="20" name="object 4">
            <a:extLst>
              <a:ext uri="{FF2B5EF4-FFF2-40B4-BE49-F238E27FC236}">
                <a16:creationId xmlns:a16="http://schemas.microsoft.com/office/drawing/2014/main" id="{15652C45-9695-432A-A100-87D42613D04C}"/>
              </a:ext>
            </a:extLst>
          </p:cNvPr>
          <p:cNvSpPr/>
          <p:nvPr userDrawn="1"/>
        </p:nvSpPr>
        <p:spPr>
          <a:xfrm>
            <a:off x="3047076" y="0"/>
            <a:ext cx="3049848" cy="5143500"/>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B40103"/>
          </a:solidFill>
        </p:spPr>
        <p:txBody>
          <a:bodyPr wrap="square" lIns="0" tIns="0" rIns="0" bIns="0" rtlCol="0"/>
          <a:lstStyle/>
          <a:p>
            <a:endParaRPr sz="253"/>
          </a:p>
        </p:txBody>
      </p:sp>
      <p:sp>
        <p:nvSpPr>
          <p:cNvPr id="22" name="object 5">
            <a:extLst>
              <a:ext uri="{FF2B5EF4-FFF2-40B4-BE49-F238E27FC236}">
                <a16:creationId xmlns:a16="http://schemas.microsoft.com/office/drawing/2014/main" id="{3864B008-0AE2-49F7-B572-A793936F44D8}"/>
              </a:ext>
            </a:extLst>
          </p:cNvPr>
          <p:cNvSpPr/>
          <p:nvPr userDrawn="1"/>
        </p:nvSpPr>
        <p:spPr>
          <a:xfrm>
            <a:off x="6096924" y="0"/>
            <a:ext cx="3047077" cy="5143500"/>
          </a:xfrm>
          <a:custGeom>
            <a:avLst/>
            <a:gdLst/>
            <a:ahLst/>
            <a:cxnLst/>
            <a:rect l="l" t="t" r="r" b="b"/>
            <a:pathLst>
              <a:path w="7008494" h="11057255">
                <a:moveTo>
                  <a:pt x="7007957" y="0"/>
                </a:moveTo>
                <a:lnTo>
                  <a:pt x="0" y="0"/>
                </a:lnTo>
                <a:lnTo>
                  <a:pt x="0" y="11057254"/>
                </a:lnTo>
                <a:lnTo>
                  <a:pt x="7007957" y="11057254"/>
                </a:lnTo>
                <a:lnTo>
                  <a:pt x="7007957" y="0"/>
                </a:lnTo>
                <a:close/>
              </a:path>
            </a:pathLst>
          </a:custGeom>
          <a:solidFill>
            <a:srgbClr val="C60103"/>
          </a:solidFill>
        </p:spPr>
        <p:txBody>
          <a:bodyPr wrap="square" lIns="0" tIns="0" rIns="0" bIns="0" rtlCol="0"/>
          <a:lstStyle/>
          <a:p>
            <a:endParaRPr sz="253"/>
          </a:p>
        </p:txBody>
      </p:sp>
      <p:sp>
        <p:nvSpPr>
          <p:cNvPr id="24" name="object 4">
            <a:extLst>
              <a:ext uri="{FF2B5EF4-FFF2-40B4-BE49-F238E27FC236}">
                <a16:creationId xmlns:a16="http://schemas.microsoft.com/office/drawing/2014/main" id="{59C1CFE4-D091-1240-9F9C-DD9A49E65DF4}"/>
              </a:ext>
            </a:extLst>
          </p:cNvPr>
          <p:cNvSpPr/>
          <p:nvPr userDrawn="1"/>
        </p:nvSpPr>
        <p:spPr>
          <a:xfrm>
            <a:off x="-3968" y="0"/>
            <a:ext cx="9147967" cy="847182"/>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rgbClr val="C00000"/>
          </a:solidFill>
        </p:spPr>
        <p:txBody>
          <a:bodyPr wrap="square" lIns="0" tIns="0" rIns="0" bIns="0" rtlCol="0"/>
          <a:lstStyle/>
          <a:p>
            <a:endParaRPr sz="675"/>
          </a:p>
        </p:txBody>
      </p:sp>
      <p:sp>
        <p:nvSpPr>
          <p:cNvPr id="10" name="Text Placeholder 4">
            <a:extLst>
              <a:ext uri="{FF2B5EF4-FFF2-40B4-BE49-F238E27FC236}">
                <a16:creationId xmlns:a16="http://schemas.microsoft.com/office/drawing/2014/main" id="{22582A4A-8131-8B42-838D-83CB74B735B5}"/>
              </a:ext>
            </a:extLst>
          </p:cNvPr>
          <p:cNvSpPr>
            <a:spLocks noGrp="1"/>
          </p:cNvSpPr>
          <p:nvPr>
            <p:ph type="body" sz="quarter" idx="77" hasCustomPrompt="1"/>
          </p:nvPr>
        </p:nvSpPr>
        <p:spPr>
          <a:xfrm>
            <a:off x="324001" y="569700"/>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Electric Mobility</a:t>
            </a:r>
          </a:p>
        </p:txBody>
      </p:sp>
      <p:sp>
        <p:nvSpPr>
          <p:cNvPr id="12" name="Text Placeholder 4">
            <a:extLst>
              <a:ext uri="{FF2B5EF4-FFF2-40B4-BE49-F238E27FC236}">
                <a16:creationId xmlns:a16="http://schemas.microsoft.com/office/drawing/2014/main" id="{6BB5FF94-24B7-3745-8AE3-2DC16A65FD1E}"/>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Focus Area &amp; Capabilities</a:t>
            </a:r>
          </a:p>
        </p:txBody>
      </p:sp>
      <p:sp>
        <p:nvSpPr>
          <p:cNvPr id="14" name="Date Placeholder 2">
            <a:extLst>
              <a:ext uri="{FF2B5EF4-FFF2-40B4-BE49-F238E27FC236}">
                <a16:creationId xmlns:a16="http://schemas.microsoft.com/office/drawing/2014/main" id="{38A2C15A-BB19-E94D-BC34-890D5C3B1B75}"/>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D58EEAFB-A82F-4D65-8CF0-FA49AAF0B7D4}" type="datetime1">
              <a:rPr lang="de-DE" smtClean="0"/>
              <a:t>24.01.2024</a:t>
            </a:fld>
            <a:endParaRPr lang="en-US"/>
          </a:p>
        </p:txBody>
      </p:sp>
      <p:sp>
        <p:nvSpPr>
          <p:cNvPr id="27" name="Table Placeholder 5">
            <a:extLst>
              <a:ext uri="{FF2B5EF4-FFF2-40B4-BE49-F238E27FC236}">
                <a16:creationId xmlns:a16="http://schemas.microsoft.com/office/drawing/2014/main" id="{6085AEA9-2B08-DC4B-8107-CB0DD7BF5424}"/>
              </a:ext>
            </a:extLst>
          </p:cNvPr>
          <p:cNvSpPr>
            <a:spLocks noGrp="1"/>
          </p:cNvSpPr>
          <p:nvPr>
            <p:ph type="tbl" sz="quarter" idx="82"/>
          </p:nvPr>
        </p:nvSpPr>
        <p:spPr>
          <a:xfrm>
            <a:off x="3385948"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28" name="Table Placeholder 5">
            <a:extLst>
              <a:ext uri="{FF2B5EF4-FFF2-40B4-BE49-F238E27FC236}">
                <a16:creationId xmlns:a16="http://schemas.microsoft.com/office/drawing/2014/main" id="{A6B31474-639D-FB4A-A034-CBD50C4A248B}"/>
              </a:ext>
            </a:extLst>
          </p:cNvPr>
          <p:cNvSpPr>
            <a:spLocks noGrp="1"/>
          </p:cNvSpPr>
          <p:nvPr>
            <p:ph type="tbl" sz="quarter" idx="83"/>
          </p:nvPr>
        </p:nvSpPr>
        <p:spPr>
          <a:xfrm>
            <a:off x="324000"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29" name="Table Placeholder 5">
            <a:extLst>
              <a:ext uri="{FF2B5EF4-FFF2-40B4-BE49-F238E27FC236}">
                <a16:creationId xmlns:a16="http://schemas.microsoft.com/office/drawing/2014/main" id="{0A439387-ACBE-6347-84E7-4DFD7489F81B}"/>
              </a:ext>
            </a:extLst>
          </p:cNvPr>
          <p:cNvSpPr>
            <a:spLocks noGrp="1"/>
          </p:cNvSpPr>
          <p:nvPr>
            <p:ph type="tbl" sz="quarter" idx="84"/>
          </p:nvPr>
        </p:nvSpPr>
        <p:spPr>
          <a:xfrm>
            <a:off x="6448047" y="1097827"/>
            <a:ext cx="2372104" cy="3198486"/>
          </a:xfrm>
          <a:prstGeom prst="rect">
            <a:avLst/>
          </a:prstGeom>
        </p:spPr>
        <p:txBody>
          <a:bodyPr/>
          <a:lstStyle>
            <a:lvl1pPr marL="0" indent="0">
              <a:buNone/>
              <a:defRPr>
                <a:solidFill>
                  <a:schemeClr val="bg1"/>
                </a:solidFill>
              </a:defRPr>
            </a:lvl1pPr>
          </a:lstStyle>
          <a:p>
            <a:r>
              <a:rPr lang="en-US"/>
              <a:t>Click icon to add table</a:t>
            </a:r>
            <a:endParaRPr lang="en-RO"/>
          </a:p>
        </p:txBody>
      </p:sp>
      <p:sp>
        <p:nvSpPr>
          <p:cNvPr id="25" name="Footer Placeholder 3">
            <a:extLst>
              <a:ext uri="{FF2B5EF4-FFF2-40B4-BE49-F238E27FC236}">
                <a16:creationId xmlns:a16="http://schemas.microsoft.com/office/drawing/2014/main" id="{E2260129-F611-B44E-8425-B6EAA2E6DB86}"/>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30" name="Graphic 29">
            <a:extLst>
              <a:ext uri="{FF2B5EF4-FFF2-40B4-BE49-F238E27FC236}">
                <a16:creationId xmlns:a16="http://schemas.microsoft.com/office/drawing/2014/main" id="{6764A4FF-D0BE-2749-8B36-F63FC8A3995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1" name="Slide Number Placeholder 4">
            <a:extLst>
              <a:ext uri="{FF2B5EF4-FFF2-40B4-BE49-F238E27FC236}">
                <a16:creationId xmlns:a16="http://schemas.microsoft.com/office/drawing/2014/main" id="{3CC254D6-C94A-3048-828A-6A34BA73D012}"/>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1269720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xpertises">
    <p:spTree>
      <p:nvGrpSpPr>
        <p:cNvPr id="1" name=""/>
        <p:cNvGrpSpPr/>
        <p:nvPr/>
      </p:nvGrpSpPr>
      <p:grpSpPr>
        <a:xfrm>
          <a:off x="0" y="0"/>
          <a:ext cx="0" cy="0"/>
          <a:chOff x="0" y="0"/>
          <a:chExt cx="0" cy="0"/>
        </a:xfrm>
      </p:grpSpPr>
      <p:sp>
        <p:nvSpPr>
          <p:cNvPr id="24" name="Picture Placeholder 2"/>
          <p:cNvSpPr>
            <a:spLocks noGrp="1"/>
          </p:cNvSpPr>
          <p:nvPr>
            <p:ph type="pic" sz="quarter" idx="44"/>
          </p:nvPr>
        </p:nvSpPr>
        <p:spPr>
          <a:xfrm>
            <a:off x="5686434" y="0"/>
            <a:ext cx="3457567"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32" name="Text Placeholder 4"/>
          <p:cNvSpPr>
            <a:spLocks noGrp="1"/>
          </p:cNvSpPr>
          <p:nvPr>
            <p:ph type="body" sz="quarter" idx="13" hasCustomPrompt="1"/>
          </p:nvPr>
        </p:nvSpPr>
        <p:spPr>
          <a:xfrm>
            <a:off x="324001" y="1098283"/>
            <a:ext cx="1350257" cy="255839"/>
          </a:xfrm>
          <a:prstGeom prst="rect">
            <a:avLst/>
          </a:prstGeom>
        </p:spPr>
        <p:txBody>
          <a:bodyPr wrap="square" lIns="0" tIns="0" rIns="0" bIns="0" anchor="t">
            <a:spAutoFit/>
          </a:bodyPr>
          <a:lstStyle>
            <a:lvl1pPr marL="0" indent="0" algn="l">
              <a:lnSpc>
                <a:spcPct val="120000"/>
              </a:lnSpc>
              <a:spcBef>
                <a:spcPts val="0"/>
              </a:spcBef>
              <a:buFontTx/>
              <a:buNone/>
              <a:defRPr sz="1500">
                <a:solidFill>
                  <a:schemeClr val="accent1"/>
                </a:solidFill>
                <a:latin typeface="+mn-lt"/>
              </a:defRPr>
            </a:lvl1pPr>
          </a:lstStyle>
          <a:p>
            <a:pPr lvl="0"/>
            <a:r>
              <a:rPr lang="en-US"/>
              <a:t>Mobilize</a:t>
            </a:r>
          </a:p>
        </p:txBody>
      </p:sp>
      <p:sp>
        <p:nvSpPr>
          <p:cNvPr id="33" name="Text Placeholder 4"/>
          <p:cNvSpPr>
            <a:spLocks noGrp="1"/>
          </p:cNvSpPr>
          <p:nvPr>
            <p:ph type="body" sz="quarter" idx="45" hasCustomPrompt="1"/>
          </p:nvPr>
        </p:nvSpPr>
        <p:spPr>
          <a:xfrm>
            <a:off x="2160096" y="1098283"/>
            <a:ext cx="1350257" cy="255839"/>
          </a:xfrm>
          <a:prstGeom prst="rect">
            <a:avLst/>
          </a:prstGeom>
        </p:spPr>
        <p:txBody>
          <a:bodyPr wrap="square" lIns="0" tIns="0" rIns="0" bIns="0" anchor="t">
            <a:spAutoFit/>
          </a:bodyPr>
          <a:lstStyle>
            <a:lvl1pPr marL="0" indent="0" algn="l">
              <a:lnSpc>
                <a:spcPct val="120000"/>
              </a:lnSpc>
              <a:spcBef>
                <a:spcPts val="0"/>
              </a:spcBef>
              <a:buFontTx/>
              <a:buNone/>
              <a:defRPr sz="1500">
                <a:solidFill>
                  <a:schemeClr val="accent1"/>
                </a:solidFill>
                <a:latin typeface="+mn-lt"/>
              </a:defRPr>
            </a:lvl1pPr>
          </a:lstStyle>
          <a:p>
            <a:pPr lvl="0"/>
            <a:r>
              <a:rPr lang="en-US"/>
              <a:t>Digitalize</a:t>
            </a:r>
          </a:p>
        </p:txBody>
      </p:sp>
      <p:sp>
        <p:nvSpPr>
          <p:cNvPr id="34" name="Text Placeholder 4"/>
          <p:cNvSpPr>
            <a:spLocks noGrp="1"/>
          </p:cNvSpPr>
          <p:nvPr>
            <p:ph type="body" sz="quarter" idx="46" hasCustomPrompt="1"/>
          </p:nvPr>
        </p:nvSpPr>
        <p:spPr>
          <a:xfrm>
            <a:off x="3982669" y="1098283"/>
            <a:ext cx="1350257" cy="255839"/>
          </a:xfrm>
          <a:prstGeom prst="rect">
            <a:avLst/>
          </a:prstGeom>
        </p:spPr>
        <p:txBody>
          <a:bodyPr wrap="square" lIns="0" tIns="0" rIns="0" bIns="0" anchor="t">
            <a:spAutoFit/>
          </a:bodyPr>
          <a:lstStyle>
            <a:lvl1pPr marL="0" indent="0" algn="l">
              <a:lnSpc>
                <a:spcPct val="120000"/>
              </a:lnSpc>
              <a:spcBef>
                <a:spcPts val="0"/>
              </a:spcBef>
              <a:buFontTx/>
              <a:buNone/>
              <a:defRPr sz="1500">
                <a:solidFill>
                  <a:schemeClr val="accent1"/>
                </a:solidFill>
                <a:latin typeface="+mn-lt"/>
              </a:defRPr>
            </a:lvl1pPr>
          </a:lstStyle>
          <a:p>
            <a:pPr lvl="0"/>
            <a:r>
              <a:rPr lang="en-US"/>
              <a:t>Energize</a:t>
            </a:r>
          </a:p>
        </p:txBody>
      </p:sp>
      <p:sp>
        <p:nvSpPr>
          <p:cNvPr id="35" name="Text Placeholder 4"/>
          <p:cNvSpPr>
            <a:spLocks noGrp="1"/>
          </p:cNvSpPr>
          <p:nvPr>
            <p:ph type="body" sz="quarter" idx="47" hasCustomPrompt="1"/>
          </p:nvPr>
        </p:nvSpPr>
        <p:spPr>
          <a:xfrm>
            <a:off x="324001" y="2837980"/>
            <a:ext cx="1350257" cy="255839"/>
          </a:xfrm>
          <a:prstGeom prst="rect">
            <a:avLst/>
          </a:prstGeom>
        </p:spPr>
        <p:txBody>
          <a:bodyPr wrap="square" lIns="0" tIns="0" rIns="0" bIns="0" anchor="t">
            <a:spAutoFit/>
          </a:bodyPr>
          <a:lstStyle>
            <a:lvl1pPr marL="0" indent="0" algn="l">
              <a:lnSpc>
                <a:spcPct val="120000"/>
              </a:lnSpc>
              <a:spcBef>
                <a:spcPts val="0"/>
              </a:spcBef>
              <a:buFontTx/>
              <a:buNone/>
              <a:defRPr sz="1500">
                <a:solidFill>
                  <a:schemeClr val="accent1"/>
                </a:solidFill>
                <a:latin typeface="+mn-lt"/>
              </a:defRPr>
            </a:lvl1pPr>
          </a:lstStyle>
          <a:p>
            <a:pPr lvl="0"/>
            <a:r>
              <a:rPr lang="en-US"/>
              <a:t>Industrialize</a:t>
            </a:r>
          </a:p>
        </p:txBody>
      </p:sp>
      <p:sp>
        <p:nvSpPr>
          <p:cNvPr id="36" name="Text Placeholder 4"/>
          <p:cNvSpPr>
            <a:spLocks noGrp="1"/>
          </p:cNvSpPr>
          <p:nvPr>
            <p:ph type="body" sz="quarter" idx="48" hasCustomPrompt="1"/>
          </p:nvPr>
        </p:nvSpPr>
        <p:spPr>
          <a:xfrm>
            <a:off x="2160096" y="2837980"/>
            <a:ext cx="1350257" cy="255839"/>
          </a:xfrm>
          <a:prstGeom prst="rect">
            <a:avLst/>
          </a:prstGeom>
        </p:spPr>
        <p:txBody>
          <a:bodyPr wrap="square" lIns="0" tIns="0" rIns="0" bIns="0" anchor="t">
            <a:spAutoFit/>
          </a:bodyPr>
          <a:lstStyle>
            <a:lvl1pPr marL="0" indent="0" algn="l">
              <a:lnSpc>
                <a:spcPct val="120000"/>
              </a:lnSpc>
              <a:spcBef>
                <a:spcPts val="0"/>
              </a:spcBef>
              <a:buFontTx/>
              <a:buNone/>
              <a:defRPr sz="1500">
                <a:solidFill>
                  <a:schemeClr val="accent1"/>
                </a:solidFill>
                <a:latin typeface="+mn-lt"/>
              </a:defRPr>
            </a:lvl1pPr>
          </a:lstStyle>
          <a:p>
            <a:pPr lvl="0"/>
            <a:r>
              <a:rPr lang="en-US"/>
              <a:t>Optimize</a:t>
            </a:r>
          </a:p>
        </p:txBody>
      </p:sp>
      <p:sp>
        <p:nvSpPr>
          <p:cNvPr id="37" name="Text Placeholder 4"/>
          <p:cNvSpPr>
            <a:spLocks noGrp="1"/>
          </p:cNvSpPr>
          <p:nvPr>
            <p:ph type="body" sz="quarter" idx="72" hasCustomPrompt="1"/>
          </p:nvPr>
        </p:nvSpPr>
        <p:spPr>
          <a:xfrm>
            <a:off x="3982669" y="2837980"/>
            <a:ext cx="1350257" cy="255839"/>
          </a:xfrm>
          <a:prstGeom prst="rect">
            <a:avLst/>
          </a:prstGeom>
        </p:spPr>
        <p:txBody>
          <a:bodyPr wrap="square" lIns="0" tIns="0" rIns="0" bIns="0" anchor="t">
            <a:spAutoFit/>
          </a:bodyPr>
          <a:lstStyle>
            <a:lvl1pPr marL="0" indent="0" algn="l">
              <a:lnSpc>
                <a:spcPct val="120000"/>
              </a:lnSpc>
              <a:spcBef>
                <a:spcPts val="0"/>
              </a:spcBef>
              <a:buFontTx/>
              <a:buNone/>
              <a:defRPr sz="1500">
                <a:solidFill>
                  <a:schemeClr val="accent1"/>
                </a:solidFill>
                <a:latin typeface="+mn-lt"/>
              </a:defRPr>
            </a:lvl1pPr>
          </a:lstStyle>
          <a:p>
            <a:pPr lvl="0"/>
            <a:r>
              <a:rPr lang="en-US"/>
              <a:t>Performance</a:t>
            </a:r>
          </a:p>
        </p:txBody>
      </p:sp>
      <p:sp>
        <p:nvSpPr>
          <p:cNvPr id="38" name="Text Placeholder 4"/>
          <p:cNvSpPr>
            <a:spLocks noGrp="1"/>
          </p:cNvSpPr>
          <p:nvPr>
            <p:ph type="body" sz="quarter" idx="12" hasCustomPrompt="1"/>
          </p:nvPr>
        </p:nvSpPr>
        <p:spPr>
          <a:xfrm>
            <a:off x="324001" y="1558695"/>
            <a:ext cx="1350257" cy="692497"/>
          </a:xfrm>
          <a:prstGeom prst="rect">
            <a:avLst/>
          </a:prstGeom>
        </p:spPr>
        <p:txBody>
          <a:bodyPr wrap="square" lIns="0" tIns="0" rIns="0" bIns="0">
            <a:spAutoFit/>
          </a:bodyPr>
          <a:lstStyle>
            <a:lvl1pPr marL="0" indent="0">
              <a:lnSpc>
                <a:spcPct val="100000"/>
              </a:lnSpc>
              <a:spcBef>
                <a:spcPts val="0"/>
              </a:spcBef>
              <a:spcAft>
                <a:spcPts val="675"/>
              </a:spcAft>
              <a:buFontTx/>
              <a:buNone/>
              <a:defRPr sz="900">
                <a:solidFill>
                  <a:schemeClr val="accent3">
                    <a:lumMod val="50000"/>
                  </a:schemeClr>
                </a:solidFill>
                <a:latin typeface="+mn-lt"/>
              </a:defRPr>
            </a:lvl1pPr>
          </a:lstStyle>
          <a:p>
            <a:pPr lvl="0"/>
            <a:r>
              <a:rPr lang="en-US"/>
              <a:t>Electric Mobility</a:t>
            </a:r>
            <a:br>
              <a:rPr lang="en-US"/>
            </a:br>
            <a:r>
              <a:rPr lang="en-US"/>
              <a:t>Electric Powertrain</a:t>
            </a:r>
            <a:br>
              <a:rPr lang="en-US"/>
            </a:br>
            <a:r>
              <a:rPr lang="en-US"/>
              <a:t>Mobility Innovations</a:t>
            </a:r>
            <a:br>
              <a:rPr lang="en-US"/>
            </a:br>
            <a:r>
              <a:rPr lang="en-US"/>
              <a:t>Android Automotive</a:t>
            </a:r>
            <a:br>
              <a:rPr lang="en-US"/>
            </a:br>
            <a:r>
              <a:rPr lang="en-US"/>
              <a:t>Autonomous Driving</a:t>
            </a:r>
          </a:p>
        </p:txBody>
      </p:sp>
      <p:sp>
        <p:nvSpPr>
          <p:cNvPr id="39" name="Text Placeholder 4"/>
          <p:cNvSpPr>
            <a:spLocks noGrp="1"/>
          </p:cNvSpPr>
          <p:nvPr>
            <p:ph type="body" sz="quarter" idx="73" hasCustomPrompt="1"/>
          </p:nvPr>
        </p:nvSpPr>
        <p:spPr>
          <a:xfrm>
            <a:off x="2160096" y="1558695"/>
            <a:ext cx="1350257" cy="692497"/>
          </a:xfrm>
          <a:prstGeom prst="rect">
            <a:avLst/>
          </a:prstGeom>
        </p:spPr>
        <p:txBody>
          <a:bodyPr wrap="square" lIns="0" tIns="0" rIns="0" bIns="0">
            <a:spAutoFit/>
          </a:bodyPr>
          <a:lstStyle>
            <a:lvl1pPr marL="0" indent="0">
              <a:lnSpc>
                <a:spcPct val="100000"/>
              </a:lnSpc>
              <a:spcBef>
                <a:spcPts val="0"/>
              </a:spcBef>
              <a:spcAft>
                <a:spcPts val="675"/>
              </a:spcAft>
              <a:buFontTx/>
              <a:buNone/>
              <a:defRPr sz="900">
                <a:solidFill>
                  <a:schemeClr val="accent3">
                    <a:lumMod val="50000"/>
                  </a:schemeClr>
                </a:solidFill>
                <a:latin typeface="+mn-lt"/>
              </a:defRPr>
            </a:lvl1pPr>
          </a:lstStyle>
          <a:p>
            <a:pPr lvl="0"/>
            <a:r>
              <a:rPr lang="en-US"/>
              <a:t>Digital Services</a:t>
            </a:r>
            <a:br>
              <a:rPr lang="en-US"/>
            </a:br>
            <a:r>
              <a:rPr lang="en-US"/>
              <a:t>Cyber Security</a:t>
            </a:r>
            <a:br>
              <a:rPr lang="en-US"/>
            </a:br>
            <a:r>
              <a:rPr lang="en-US"/>
              <a:t>Data Analytics &amp; AI</a:t>
            </a:r>
            <a:br>
              <a:rPr lang="en-US"/>
            </a:br>
            <a:r>
              <a:rPr lang="en-US" err="1"/>
              <a:t>NeXonic</a:t>
            </a:r>
            <a:r>
              <a:rPr lang="en-US"/>
              <a:t>®</a:t>
            </a:r>
            <a:br>
              <a:rPr lang="en-US"/>
            </a:br>
            <a:r>
              <a:rPr lang="en-US"/>
              <a:t>User Experience</a:t>
            </a:r>
          </a:p>
        </p:txBody>
      </p:sp>
      <p:sp>
        <p:nvSpPr>
          <p:cNvPr id="40" name="Text Placeholder 4"/>
          <p:cNvSpPr>
            <a:spLocks noGrp="1"/>
          </p:cNvSpPr>
          <p:nvPr>
            <p:ph type="body" sz="quarter" idx="74" hasCustomPrompt="1"/>
          </p:nvPr>
        </p:nvSpPr>
        <p:spPr>
          <a:xfrm>
            <a:off x="2160096" y="3298738"/>
            <a:ext cx="1350257" cy="830997"/>
          </a:xfrm>
          <a:prstGeom prst="rect">
            <a:avLst/>
          </a:prstGeom>
        </p:spPr>
        <p:txBody>
          <a:bodyPr wrap="square" lIns="0" tIns="0" rIns="0" bIns="0">
            <a:spAutoFit/>
          </a:bodyPr>
          <a:lstStyle>
            <a:lvl1pPr marL="0" indent="0">
              <a:lnSpc>
                <a:spcPct val="100000"/>
              </a:lnSpc>
              <a:spcBef>
                <a:spcPts val="0"/>
              </a:spcBef>
              <a:spcAft>
                <a:spcPts val="675"/>
              </a:spcAft>
              <a:buFontTx/>
              <a:buNone/>
              <a:defRPr sz="900">
                <a:solidFill>
                  <a:schemeClr val="accent3">
                    <a:lumMod val="50000"/>
                  </a:schemeClr>
                </a:solidFill>
                <a:latin typeface="+mn-lt"/>
              </a:defRPr>
            </a:lvl1pPr>
          </a:lstStyle>
          <a:p>
            <a:pPr lvl="0"/>
            <a:r>
              <a:rPr lang="en-US"/>
              <a:t>Agile Transformation</a:t>
            </a:r>
            <a:br>
              <a:rPr lang="en-US"/>
            </a:br>
            <a:r>
              <a:rPr lang="en-US"/>
              <a:t>Cost Management</a:t>
            </a:r>
            <a:br>
              <a:rPr lang="en-US"/>
            </a:br>
            <a:r>
              <a:rPr lang="en-US"/>
              <a:t>Organizational</a:t>
            </a:r>
            <a:br>
              <a:rPr lang="en-US"/>
            </a:br>
            <a:r>
              <a:rPr lang="en-US"/>
              <a:t>Development</a:t>
            </a:r>
            <a:br>
              <a:rPr lang="en-US"/>
            </a:br>
            <a:r>
              <a:rPr lang="en-US"/>
              <a:t>Quality Management</a:t>
            </a:r>
            <a:br>
              <a:rPr lang="en-US"/>
            </a:br>
            <a:r>
              <a:rPr lang="en-US"/>
              <a:t>Sustainability</a:t>
            </a:r>
          </a:p>
        </p:txBody>
      </p:sp>
      <p:sp>
        <p:nvSpPr>
          <p:cNvPr id="41" name="Text Placeholder 4"/>
          <p:cNvSpPr>
            <a:spLocks noGrp="1"/>
          </p:cNvSpPr>
          <p:nvPr>
            <p:ph type="body" sz="quarter" idx="75" hasCustomPrompt="1"/>
          </p:nvPr>
        </p:nvSpPr>
        <p:spPr>
          <a:xfrm>
            <a:off x="3982669" y="3298738"/>
            <a:ext cx="1350257" cy="830997"/>
          </a:xfrm>
          <a:prstGeom prst="rect">
            <a:avLst/>
          </a:prstGeom>
        </p:spPr>
        <p:txBody>
          <a:bodyPr wrap="square" lIns="0" tIns="0" rIns="0" bIns="0">
            <a:spAutoFit/>
          </a:bodyPr>
          <a:lstStyle>
            <a:lvl1pPr marL="0" indent="0">
              <a:lnSpc>
                <a:spcPct val="100000"/>
              </a:lnSpc>
              <a:spcBef>
                <a:spcPts val="0"/>
              </a:spcBef>
              <a:spcAft>
                <a:spcPts val="675"/>
              </a:spcAft>
              <a:buFontTx/>
              <a:buNone/>
              <a:defRPr sz="900">
                <a:solidFill>
                  <a:schemeClr val="accent3">
                    <a:lumMod val="50000"/>
                  </a:schemeClr>
                </a:solidFill>
                <a:latin typeface="+mn-lt"/>
              </a:defRPr>
            </a:lvl1pPr>
          </a:lstStyle>
          <a:p>
            <a:pPr lvl="0"/>
            <a:r>
              <a:rPr lang="en-US"/>
              <a:t>Change Management</a:t>
            </a:r>
            <a:br>
              <a:rPr lang="en-US"/>
            </a:br>
            <a:r>
              <a:rPr lang="en-US"/>
              <a:t>Communication</a:t>
            </a:r>
            <a:br>
              <a:rPr lang="en-US"/>
            </a:br>
            <a:r>
              <a:rPr lang="en-US"/>
              <a:t>Management</a:t>
            </a:r>
            <a:br>
              <a:rPr lang="en-US"/>
            </a:br>
            <a:r>
              <a:rPr lang="en-US"/>
              <a:t>Leadership</a:t>
            </a:r>
            <a:br>
              <a:rPr lang="en-US"/>
            </a:br>
            <a:r>
              <a:rPr lang="en-US"/>
              <a:t>Learning Experience</a:t>
            </a:r>
            <a:br>
              <a:rPr lang="en-US"/>
            </a:br>
            <a:r>
              <a:rPr lang="en-US"/>
              <a:t>Rollout Management</a:t>
            </a:r>
          </a:p>
        </p:txBody>
      </p:sp>
      <p:sp>
        <p:nvSpPr>
          <p:cNvPr id="42" name="Text Placeholder 4"/>
          <p:cNvSpPr>
            <a:spLocks noGrp="1"/>
          </p:cNvSpPr>
          <p:nvPr>
            <p:ph type="body" sz="quarter" idx="76" hasCustomPrompt="1"/>
          </p:nvPr>
        </p:nvSpPr>
        <p:spPr>
          <a:xfrm>
            <a:off x="3982669" y="1558695"/>
            <a:ext cx="1350257" cy="276999"/>
          </a:xfrm>
          <a:prstGeom prst="rect">
            <a:avLst/>
          </a:prstGeom>
        </p:spPr>
        <p:txBody>
          <a:bodyPr wrap="square" lIns="0" tIns="0" rIns="0" bIns="0">
            <a:spAutoFit/>
          </a:bodyPr>
          <a:lstStyle>
            <a:lvl1pPr marL="0" indent="0">
              <a:lnSpc>
                <a:spcPct val="100000"/>
              </a:lnSpc>
              <a:spcBef>
                <a:spcPts val="0"/>
              </a:spcBef>
              <a:spcAft>
                <a:spcPts val="675"/>
              </a:spcAft>
              <a:buFontTx/>
              <a:buNone/>
              <a:defRPr sz="900">
                <a:solidFill>
                  <a:schemeClr val="accent3">
                    <a:lumMod val="50000"/>
                  </a:schemeClr>
                </a:solidFill>
                <a:latin typeface="+mn-lt"/>
              </a:defRPr>
            </a:lvl1pPr>
          </a:lstStyle>
          <a:p>
            <a:pPr lvl="0"/>
            <a:r>
              <a:rPr lang="en-US"/>
              <a:t>Charging Infrastructure</a:t>
            </a:r>
            <a:br>
              <a:rPr lang="en-US"/>
            </a:br>
            <a:r>
              <a:rPr lang="en-US"/>
              <a:t>Battery Technology</a:t>
            </a:r>
          </a:p>
        </p:txBody>
      </p:sp>
      <p:sp>
        <p:nvSpPr>
          <p:cNvPr id="43" name="Text Placeholder 4"/>
          <p:cNvSpPr>
            <a:spLocks noGrp="1"/>
          </p:cNvSpPr>
          <p:nvPr>
            <p:ph type="body" sz="quarter" idx="77" hasCustomPrompt="1"/>
          </p:nvPr>
        </p:nvSpPr>
        <p:spPr>
          <a:xfrm>
            <a:off x="324001" y="3298739"/>
            <a:ext cx="1350257" cy="138499"/>
          </a:xfrm>
          <a:prstGeom prst="rect">
            <a:avLst/>
          </a:prstGeom>
        </p:spPr>
        <p:txBody>
          <a:bodyPr wrap="square" lIns="0" tIns="0" rIns="0" bIns="0">
            <a:spAutoFit/>
          </a:bodyPr>
          <a:lstStyle>
            <a:lvl1pPr marL="0" indent="0">
              <a:lnSpc>
                <a:spcPct val="100000"/>
              </a:lnSpc>
              <a:spcBef>
                <a:spcPts val="0"/>
              </a:spcBef>
              <a:spcAft>
                <a:spcPts val="675"/>
              </a:spcAft>
              <a:buFontTx/>
              <a:buNone/>
              <a:defRPr sz="900">
                <a:solidFill>
                  <a:schemeClr val="accent3">
                    <a:lumMod val="50000"/>
                  </a:schemeClr>
                </a:solidFill>
                <a:latin typeface="+mn-lt"/>
              </a:defRPr>
            </a:lvl1pPr>
          </a:lstStyle>
          <a:p>
            <a:pPr lvl="0"/>
            <a:r>
              <a:rPr lang="en-US"/>
              <a:t>Operations &amp; Supply Chain</a:t>
            </a:r>
          </a:p>
        </p:txBody>
      </p:sp>
      <p:sp>
        <p:nvSpPr>
          <p:cNvPr id="22" name="Text Placeholder 4">
            <a:extLst>
              <a:ext uri="{FF2B5EF4-FFF2-40B4-BE49-F238E27FC236}">
                <a16:creationId xmlns:a16="http://schemas.microsoft.com/office/drawing/2014/main" id="{07513F9C-EE39-7542-811C-9CEEEC0F51E8}"/>
              </a:ext>
            </a:extLst>
          </p:cNvPr>
          <p:cNvSpPr>
            <a:spLocks noGrp="1"/>
          </p:cNvSpPr>
          <p:nvPr>
            <p:ph type="body" sz="quarter" idx="82" hasCustomPrompt="1"/>
          </p:nvPr>
        </p:nvSpPr>
        <p:spPr>
          <a:xfrm>
            <a:off x="324001" y="569828"/>
            <a:ext cx="7103775"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chemeClr val="accent3"/>
                </a:solidFill>
                <a:latin typeface="+mj-lt"/>
              </a:defRPr>
            </a:lvl1pPr>
          </a:lstStyle>
          <a:p>
            <a:r>
              <a:rPr lang="en-US" err="1"/>
              <a:t>Expertises</a:t>
            </a:r>
            <a:endParaRPr lang="en-US"/>
          </a:p>
        </p:txBody>
      </p:sp>
      <p:sp>
        <p:nvSpPr>
          <p:cNvPr id="25" name="Text Placeholder 4">
            <a:extLst>
              <a:ext uri="{FF2B5EF4-FFF2-40B4-BE49-F238E27FC236}">
                <a16:creationId xmlns:a16="http://schemas.microsoft.com/office/drawing/2014/main" id="{A8D2FA19-1537-3045-B484-D21CEBD3BEA2}"/>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At a glance</a:t>
            </a:r>
          </a:p>
        </p:txBody>
      </p:sp>
      <p:sp>
        <p:nvSpPr>
          <p:cNvPr id="26" name="Rectangle 25">
            <a:extLst>
              <a:ext uri="{FF2B5EF4-FFF2-40B4-BE49-F238E27FC236}">
                <a16:creationId xmlns:a16="http://schemas.microsoft.com/office/drawing/2014/main" id="{B994109E-66EA-7E41-B51B-15ECDBB55D98}"/>
              </a:ext>
            </a:extLst>
          </p:cNvPr>
          <p:cNvSpPr/>
          <p:nvPr/>
        </p:nvSpPr>
        <p:spPr>
          <a:xfrm flipV="1">
            <a:off x="337521" y="1454966"/>
            <a:ext cx="4995403" cy="40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50" name="Rectangle 49">
            <a:extLst>
              <a:ext uri="{FF2B5EF4-FFF2-40B4-BE49-F238E27FC236}">
                <a16:creationId xmlns:a16="http://schemas.microsoft.com/office/drawing/2014/main" id="{D4A885A9-7D63-AC45-A079-165F9D9B9516}"/>
              </a:ext>
            </a:extLst>
          </p:cNvPr>
          <p:cNvSpPr/>
          <p:nvPr/>
        </p:nvSpPr>
        <p:spPr>
          <a:xfrm flipV="1">
            <a:off x="337521" y="3199061"/>
            <a:ext cx="4995403" cy="405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3" name="Date Placeholder 2">
            <a:extLst>
              <a:ext uri="{FF2B5EF4-FFF2-40B4-BE49-F238E27FC236}">
                <a16:creationId xmlns:a16="http://schemas.microsoft.com/office/drawing/2014/main" id="{A6DFC49E-B8E0-C148-B32E-FED0EED8A159}"/>
              </a:ext>
            </a:extLst>
          </p:cNvPr>
          <p:cNvSpPr>
            <a:spLocks noGrp="1"/>
          </p:cNvSpPr>
          <p:nvPr>
            <p:ph type="dt" sz="half" idx="10"/>
          </p:nvPr>
        </p:nvSpPr>
        <p:spPr>
          <a:xfrm>
            <a:off x="324002" y="4972079"/>
            <a:ext cx="494319" cy="92455"/>
          </a:xfrm>
        </p:spPr>
        <p:txBody>
          <a:bodyPr/>
          <a:lstStyle/>
          <a:p>
            <a:fld id="{A6511888-2638-48D9-94A1-B37F4D3A9251}" type="datetime1">
              <a:rPr lang="de-DE" smtClean="0"/>
              <a:t>24.01.2024</a:t>
            </a:fld>
            <a:endParaRPr lang="en-US"/>
          </a:p>
        </p:txBody>
      </p:sp>
      <p:sp>
        <p:nvSpPr>
          <p:cNvPr id="27" name="Rectangle 26">
            <a:extLst>
              <a:ext uri="{FF2B5EF4-FFF2-40B4-BE49-F238E27FC236}">
                <a16:creationId xmlns:a16="http://schemas.microsoft.com/office/drawing/2014/main" id="{B06056A5-F1C1-46A9-9B1E-C7228A1CC897}"/>
              </a:ext>
            </a:extLst>
          </p:cNvPr>
          <p:cNvSpPr/>
          <p:nvPr userDrawn="1"/>
        </p:nvSpPr>
        <p:spPr>
          <a:xfrm flipV="1">
            <a:off x="324000" y="1454966"/>
            <a:ext cx="4995403" cy="40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8" name="Rectangle 27">
            <a:extLst>
              <a:ext uri="{FF2B5EF4-FFF2-40B4-BE49-F238E27FC236}">
                <a16:creationId xmlns:a16="http://schemas.microsoft.com/office/drawing/2014/main" id="{71E2B43B-DFED-4D0E-BF60-9107D32B5F42}"/>
              </a:ext>
            </a:extLst>
          </p:cNvPr>
          <p:cNvSpPr/>
          <p:nvPr userDrawn="1"/>
        </p:nvSpPr>
        <p:spPr>
          <a:xfrm flipV="1">
            <a:off x="324000" y="3199061"/>
            <a:ext cx="4995403" cy="405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9" name="Footer Placeholder 2">
            <a:extLst>
              <a:ext uri="{FF2B5EF4-FFF2-40B4-BE49-F238E27FC236}">
                <a16:creationId xmlns:a16="http://schemas.microsoft.com/office/drawing/2014/main" id="{8591D196-2495-7D48-8812-C763F1756742}"/>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sp>
        <p:nvSpPr>
          <p:cNvPr id="30" name="Slide Number Placeholder 3">
            <a:extLst>
              <a:ext uri="{FF2B5EF4-FFF2-40B4-BE49-F238E27FC236}">
                <a16:creationId xmlns:a16="http://schemas.microsoft.com/office/drawing/2014/main" id="{BA57F404-4155-B848-9FDB-9C9690DDEA26}"/>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pic>
        <p:nvPicPr>
          <p:cNvPr id="31" name="Graphic 30">
            <a:extLst>
              <a:ext uri="{FF2B5EF4-FFF2-40B4-BE49-F238E27FC236}">
                <a16:creationId xmlns:a16="http://schemas.microsoft.com/office/drawing/2014/main" id="{4D1E6AF5-5B5A-2145-ABFC-7A372C158E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6801" y="202500"/>
            <a:ext cx="312223" cy="302760"/>
          </a:xfrm>
          <a:prstGeom prst="rect">
            <a:avLst/>
          </a:prstGeom>
        </p:spPr>
      </p:pic>
    </p:spTree>
    <p:extLst>
      <p:ext uri="{BB962C8B-B14F-4D97-AF65-F5344CB8AC3E}">
        <p14:creationId xmlns:p14="http://schemas.microsoft.com/office/powerpoint/2010/main" val="16255757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s blu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498CE03-C502-4673-ADF8-8C936978C2AF}"/>
              </a:ext>
            </a:extLst>
          </p:cNvPr>
          <p:cNvSpPr/>
          <p:nvPr userDrawn="1"/>
        </p:nvSpPr>
        <p:spPr>
          <a:xfrm>
            <a:off x="4572000" y="0"/>
            <a:ext cx="4572000" cy="514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9" name="Rectangle 18">
            <a:extLst>
              <a:ext uri="{FF2B5EF4-FFF2-40B4-BE49-F238E27FC236}">
                <a16:creationId xmlns:a16="http://schemas.microsoft.com/office/drawing/2014/main" id="{108D6D55-5BD1-478F-81BD-D1B115ED791D}"/>
              </a:ext>
            </a:extLst>
          </p:cNvPr>
          <p:cNvSpPr/>
          <p:nvPr userDrawn="1"/>
        </p:nvSpPr>
        <p:spPr>
          <a:xfrm>
            <a:off x="2" y="0"/>
            <a:ext cx="457199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3" name="Rectangle 12">
            <a:extLst>
              <a:ext uri="{FF2B5EF4-FFF2-40B4-BE49-F238E27FC236}">
                <a16:creationId xmlns:a16="http://schemas.microsoft.com/office/drawing/2014/main" id="{C1BE0C36-FE1D-6746-865B-307B0089794E}"/>
              </a:ext>
            </a:extLst>
          </p:cNvPr>
          <p:cNvSpPr/>
          <p:nvPr/>
        </p:nvSpPr>
        <p:spPr>
          <a:xfrm>
            <a:off x="4572000" y="0"/>
            <a:ext cx="4572000" cy="514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4" name="Rectangle 13">
            <a:extLst>
              <a:ext uri="{FF2B5EF4-FFF2-40B4-BE49-F238E27FC236}">
                <a16:creationId xmlns:a16="http://schemas.microsoft.com/office/drawing/2014/main" id="{37CAFF95-FADF-6648-BDD9-4C4BFE73DBE9}"/>
              </a:ext>
            </a:extLst>
          </p:cNvPr>
          <p:cNvSpPr/>
          <p:nvPr/>
        </p:nvSpPr>
        <p:spPr>
          <a:xfrm>
            <a:off x="2" y="0"/>
            <a:ext cx="457199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33" name="Text Placeholder 4"/>
          <p:cNvSpPr>
            <a:spLocks noGrp="1"/>
          </p:cNvSpPr>
          <p:nvPr>
            <p:ph type="body" sz="quarter" idx="14" hasCustomPrompt="1"/>
          </p:nvPr>
        </p:nvSpPr>
        <p:spPr>
          <a:xfrm>
            <a:off x="324000" y="918208"/>
            <a:ext cx="3937299" cy="307905"/>
          </a:xfrm>
          <a:prstGeom prst="rect">
            <a:avLst/>
          </a:prstGeom>
        </p:spPr>
        <p:txBody>
          <a:bodyPr wrap="square" lIns="0" tIns="0" rIns="0" bIns="0">
            <a:spAutoFit/>
          </a:bodyPr>
          <a:lstStyle>
            <a:lvl1pPr marL="0" indent="0">
              <a:lnSpc>
                <a:spcPct val="80000"/>
              </a:lnSpc>
              <a:spcBef>
                <a:spcPts val="0"/>
              </a:spcBef>
              <a:buFont typeface="Arial" panose="020B0604020202020204" pitchFamily="34" charset="0"/>
              <a:buNone/>
              <a:defRPr sz="2475" spc="-56" baseline="0">
                <a:solidFill>
                  <a:srgbClr val="3399FF"/>
                </a:solidFill>
                <a:latin typeface="+mn-lt"/>
              </a:defRPr>
            </a:lvl1pPr>
          </a:lstStyle>
          <a:p>
            <a:pPr lvl="0"/>
            <a:r>
              <a:rPr lang="en-US"/>
              <a:t>Customer benefits</a:t>
            </a:r>
          </a:p>
        </p:txBody>
      </p:sp>
      <p:sp>
        <p:nvSpPr>
          <p:cNvPr id="34" name="Text Placeholder 4"/>
          <p:cNvSpPr>
            <a:spLocks noGrp="1"/>
          </p:cNvSpPr>
          <p:nvPr>
            <p:ph type="body" sz="quarter" idx="12" hasCustomPrompt="1"/>
          </p:nvPr>
        </p:nvSpPr>
        <p:spPr>
          <a:xfrm>
            <a:off x="324000" y="1354807"/>
            <a:ext cx="3937299" cy="1925527"/>
          </a:xfrm>
          <a:prstGeom prst="rect">
            <a:avLst/>
          </a:prstGeom>
        </p:spPr>
        <p:txBody>
          <a:bodyPr wrap="square" lIns="0" tIns="0" rIns="0" bIns="0">
            <a:spAutoFit/>
          </a:bodyPr>
          <a:lstStyle>
            <a:lvl1pPr marL="0" indent="0">
              <a:lnSpc>
                <a:spcPct val="120000"/>
              </a:lnSpc>
              <a:spcBef>
                <a:spcPts val="0"/>
              </a:spcBef>
              <a:spcAft>
                <a:spcPts val="0"/>
              </a:spcAft>
              <a:buFontTx/>
              <a:buNone/>
              <a:defRPr sz="1051">
                <a:solidFill>
                  <a:schemeClr val="bg1"/>
                </a:solidFill>
                <a:latin typeface="+mn-lt"/>
              </a:defRPr>
            </a:lvl1pPr>
          </a:lstStyle>
          <a:p>
            <a:pPr lvl="0"/>
            <a:r>
              <a:rPr lang="en-US"/>
              <a:t>As a customer, you benefit from our diverse expertise, spread over several locations and supported by reliable consultants.</a:t>
            </a:r>
            <a:br>
              <a:rPr lang="en-US"/>
            </a:br>
            <a:br>
              <a:rPr lang="en-US"/>
            </a:br>
            <a:r>
              <a:rPr lang="en-US"/>
              <a:t>For us, expertise is the tool for problem-solving in our customer projects. We align our expertise directly with the customer’s needs and develop it further.</a:t>
            </a:r>
            <a:br>
              <a:rPr lang="en-US"/>
            </a:br>
            <a:br>
              <a:rPr lang="en-US"/>
            </a:br>
            <a:r>
              <a:rPr lang="en-US"/>
              <a:t>For example, the areas of digital, industrialization, and agile transformation are consistently strengthened and expanded, while existing expertise can be optimized and matured.</a:t>
            </a:r>
          </a:p>
        </p:txBody>
      </p:sp>
      <p:sp>
        <p:nvSpPr>
          <p:cNvPr id="35" name="Text Placeholder 4"/>
          <p:cNvSpPr>
            <a:spLocks noGrp="1"/>
          </p:cNvSpPr>
          <p:nvPr>
            <p:ph type="body" sz="quarter" idx="59" hasCustomPrompt="1"/>
          </p:nvPr>
        </p:nvSpPr>
        <p:spPr>
          <a:xfrm>
            <a:off x="4909524" y="918208"/>
            <a:ext cx="3910627" cy="307905"/>
          </a:xfrm>
          <a:prstGeom prst="rect">
            <a:avLst/>
          </a:prstGeom>
        </p:spPr>
        <p:txBody>
          <a:bodyPr wrap="square" lIns="0" tIns="0" rIns="0" bIns="0">
            <a:spAutoFit/>
          </a:bodyPr>
          <a:lstStyle>
            <a:lvl1pPr marL="0" indent="0">
              <a:lnSpc>
                <a:spcPct val="80000"/>
              </a:lnSpc>
              <a:spcBef>
                <a:spcPts val="0"/>
              </a:spcBef>
              <a:buFont typeface="Arial" panose="020B0604020202020204" pitchFamily="34" charset="0"/>
              <a:buNone/>
              <a:defRPr sz="2475" spc="-56" baseline="0">
                <a:solidFill>
                  <a:srgbClr val="3399FF"/>
                </a:solidFill>
                <a:latin typeface="+mn-lt"/>
              </a:defRPr>
            </a:lvl1pPr>
          </a:lstStyle>
          <a:p>
            <a:pPr lvl="0"/>
            <a:r>
              <a:rPr lang="en-US"/>
              <a:t>Partner benefits</a:t>
            </a:r>
          </a:p>
        </p:txBody>
      </p:sp>
      <p:sp>
        <p:nvSpPr>
          <p:cNvPr id="36" name="Text Placeholder 4"/>
          <p:cNvSpPr>
            <a:spLocks noGrp="1"/>
          </p:cNvSpPr>
          <p:nvPr>
            <p:ph type="body" sz="quarter" idx="60" hasCustomPrompt="1"/>
          </p:nvPr>
        </p:nvSpPr>
        <p:spPr>
          <a:xfrm>
            <a:off x="4909524" y="1354808"/>
            <a:ext cx="3910627" cy="2507610"/>
          </a:xfrm>
          <a:prstGeom prst="rect">
            <a:avLst/>
          </a:prstGeom>
        </p:spPr>
        <p:txBody>
          <a:bodyPr wrap="square" lIns="0" tIns="0" rIns="0" bIns="0">
            <a:spAutoFit/>
          </a:bodyPr>
          <a:lstStyle>
            <a:lvl1pPr marL="0" indent="0">
              <a:lnSpc>
                <a:spcPct val="120000"/>
              </a:lnSpc>
              <a:spcBef>
                <a:spcPts val="0"/>
              </a:spcBef>
              <a:spcAft>
                <a:spcPts val="0"/>
              </a:spcAft>
              <a:buFontTx/>
              <a:buNone/>
              <a:defRPr sz="1051">
                <a:solidFill>
                  <a:schemeClr val="bg1"/>
                </a:solidFill>
                <a:latin typeface="+mn-lt"/>
              </a:defRPr>
            </a:lvl1pPr>
          </a:lstStyle>
          <a:p>
            <a:pPr lvl="0"/>
            <a:r>
              <a:rPr lang="en-US"/>
              <a:t>As a partner of our customers, we accompany your topics up to their implementation; i.e. from strategy, through project management, up to the completed implementation, be it digital or analog, as source code in programming or as a steering meeting presentation. Problem analysis and solution from one source.</a:t>
            </a:r>
            <a:br>
              <a:rPr lang="en-US"/>
            </a:br>
            <a:br>
              <a:rPr lang="en-US"/>
            </a:br>
            <a:r>
              <a:rPr lang="en-US"/>
              <a:t>We use our network for this purpose. Our experts work with us in a complementary manner. This enables us to put together a team that is individually tailored to our customers and the challenges they face. In this way, we understand and accompany topics that stand out beyond the horizon. In this way we implement projects with our clients that are successful in the long term and sustainably. For over 20 years.</a:t>
            </a:r>
          </a:p>
        </p:txBody>
      </p:sp>
      <p:sp>
        <p:nvSpPr>
          <p:cNvPr id="12" name="Date Placeholder 2">
            <a:extLst>
              <a:ext uri="{FF2B5EF4-FFF2-40B4-BE49-F238E27FC236}">
                <a16:creationId xmlns:a16="http://schemas.microsoft.com/office/drawing/2014/main" id="{03CECF65-0E45-D248-8B21-F2DE33A072C6}"/>
              </a:ext>
            </a:extLst>
          </p:cNvPr>
          <p:cNvSpPr>
            <a:spLocks noGrp="1"/>
          </p:cNvSpPr>
          <p:nvPr>
            <p:ph type="dt" sz="half" idx="79"/>
          </p:nvPr>
        </p:nvSpPr>
        <p:spPr>
          <a:xfrm>
            <a:off x="337523" y="4972079"/>
            <a:ext cx="494319" cy="92455"/>
          </a:xfrm>
        </p:spPr>
        <p:txBody>
          <a:bodyPr/>
          <a:lstStyle>
            <a:lvl1pPr>
              <a:defRPr>
                <a:solidFill>
                  <a:schemeClr val="bg1">
                    <a:alpha val="50000"/>
                  </a:schemeClr>
                </a:solidFill>
              </a:defRPr>
            </a:lvl1pPr>
          </a:lstStyle>
          <a:p>
            <a:fld id="{5609377B-A112-41A2-9D5F-56AAC1F0CA98}" type="datetime1">
              <a:rPr lang="de-DE" smtClean="0"/>
              <a:t>24.01.2024</a:t>
            </a:fld>
            <a:endParaRPr lang="en-US"/>
          </a:p>
        </p:txBody>
      </p:sp>
      <p:sp>
        <p:nvSpPr>
          <p:cNvPr id="21" name="Footer Placeholder 3">
            <a:extLst>
              <a:ext uri="{FF2B5EF4-FFF2-40B4-BE49-F238E27FC236}">
                <a16:creationId xmlns:a16="http://schemas.microsoft.com/office/drawing/2014/main" id="{A7A805A3-1B2F-944A-A8BD-D34EF0F66A6C}"/>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22" name="Graphic 21">
            <a:extLst>
              <a:ext uri="{FF2B5EF4-FFF2-40B4-BE49-F238E27FC236}">
                <a16:creationId xmlns:a16="http://schemas.microsoft.com/office/drawing/2014/main" id="{2E5E5EDC-DAEC-004B-BF1F-B9412B45995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3" name="Slide Number Placeholder 4">
            <a:extLst>
              <a:ext uri="{FF2B5EF4-FFF2-40B4-BE49-F238E27FC236}">
                <a16:creationId xmlns:a16="http://schemas.microsoft.com/office/drawing/2014/main" id="{899E1C9A-0E8A-1E4E-B414-0B6BB1BAA7E4}"/>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5769620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tart with the why">
    <p:spTree>
      <p:nvGrpSpPr>
        <p:cNvPr id="1" name=""/>
        <p:cNvGrpSpPr/>
        <p:nvPr/>
      </p:nvGrpSpPr>
      <p:grpSpPr>
        <a:xfrm>
          <a:off x="0" y="0"/>
          <a:ext cx="0" cy="0"/>
          <a:chOff x="0" y="0"/>
          <a:chExt cx="0" cy="0"/>
        </a:xfrm>
      </p:grpSpPr>
      <p:sp>
        <p:nvSpPr>
          <p:cNvPr id="21" name="Rectangle: Rounded Corners 1">
            <a:extLst>
              <a:ext uri="{FF2B5EF4-FFF2-40B4-BE49-F238E27FC236}">
                <a16:creationId xmlns:a16="http://schemas.microsoft.com/office/drawing/2014/main" id="{FD6D4567-FEAF-A94F-95C7-CEC0574E60B2}"/>
              </a:ext>
            </a:extLst>
          </p:cNvPr>
          <p:cNvSpPr/>
          <p:nvPr/>
        </p:nvSpPr>
        <p:spPr>
          <a:xfrm rot="2700000">
            <a:off x="6351523" y="1675452"/>
            <a:ext cx="1355063" cy="1355151"/>
          </a:xfrm>
          <a:prstGeom prst="roundRect">
            <a:avLst>
              <a:gd name="adj" fmla="val 0"/>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3" name="Text Placeholder 4">
            <a:extLst>
              <a:ext uri="{FF2B5EF4-FFF2-40B4-BE49-F238E27FC236}">
                <a16:creationId xmlns:a16="http://schemas.microsoft.com/office/drawing/2014/main" id="{94256B19-69CC-CC4A-B63B-62EE07441DCE}"/>
              </a:ext>
            </a:extLst>
          </p:cNvPr>
          <p:cNvSpPr>
            <a:spLocks noGrp="1"/>
          </p:cNvSpPr>
          <p:nvPr>
            <p:ph type="body" sz="quarter" idx="82" hasCustomPrompt="1"/>
          </p:nvPr>
        </p:nvSpPr>
        <p:spPr>
          <a:xfrm>
            <a:off x="6538838" y="2263385"/>
            <a:ext cx="980431" cy="179280"/>
          </a:xfrm>
          <a:prstGeom prst="rect">
            <a:avLst/>
          </a:prstGeom>
        </p:spPr>
        <p:txBody>
          <a:bodyPr wrap="square" lIns="0" tIns="0" rIns="0" bIns="0" anchor="ctr">
            <a:spAutoFit/>
          </a:bodyPr>
          <a:lstStyle>
            <a:lvl1pPr marL="0" indent="0" algn="ctr">
              <a:lnSpc>
                <a:spcPct val="120000"/>
              </a:lnSpc>
              <a:spcBef>
                <a:spcPts val="0"/>
              </a:spcBef>
              <a:buFontTx/>
              <a:buNone/>
              <a:defRPr sz="1051" cap="all" spc="113" baseline="0">
                <a:solidFill>
                  <a:schemeClr val="bg1"/>
                </a:solidFill>
                <a:latin typeface="+mn-lt"/>
              </a:defRPr>
            </a:lvl1pPr>
          </a:lstStyle>
          <a:p>
            <a:pPr lvl="0"/>
            <a:r>
              <a:rPr lang="en-US"/>
              <a:t>WHAT</a:t>
            </a:r>
          </a:p>
        </p:txBody>
      </p:sp>
      <p:sp>
        <p:nvSpPr>
          <p:cNvPr id="19" name="Rectangle: Rounded Corners 1">
            <a:extLst>
              <a:ext uri="{FF2B5EF4-FFF2-40B4-BE49-F238E27FC236}">
                <a16:creationId xmlns:a16="http://schemas.microsoft.com/office/drawing/2014/main" id="{A002E8A6-157C-6848-9A81-0A38014960DC}"/>
              </a:ext>
            </a:extLst>
          </p:cNvPr>
          <p:cNvSpPr/>
          <p:nvPr/>
        </p:nvSpPr>
        <p:spPr>
          <a:xfrm rot="2700000">
            <a:off x="5188195" y="1793048"/>
            <a:ext cx="1119887" cy="1119959"/>
          </a:xfrm>
          <a:prstGeom prst="roundRect">
            <a:avLst>
              <a:gd name="adj" fmla="val 0"/>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0" name="Text Placeholder 4">
            <a:extLst>
              <a:ext uri="{FF2B5EF4-FFF2-40B4-BE49-F238E27FC236}">
                <a16:creationId xmlns:a16="http://schemas.microsoft.com/office/drawing/2014/main" id="{E259F346-80F2-874A-8686-4795C7FF1383}"/>
              </a:ext>
            </a:extLst>
          </p:cNvPr>
          <p:cNvSpPr>
            <a:spLocks noGrp="1"/>
          </p:cNvSpPr>
          <p:nvPr>
            <p:ph type="body" sz="quarter" idx="73" hasCustomPrompt="1"/>
          </p:nvPr>
        </p:nvSpPr>
        <p:spPr>
          <a:xfrm>
            <a:off x="5343002" y="2263385"/>
            <a:ext cx="810273" cy="179280"/>
          </a:xfrm>
          <a:prstGeom prst="rect">
            <a:avLst/>
          </a:prstGeom>
        </p:spPr>
        <p:txBody>
          <a:bodyPr wrap="square" lIns="0" tIns="0" rIns="0" bIns="0" anchor="ctr">
            <a:spAutoFit/>
          </a:bodyPr>
          <a:lstStyle>
            <a:lvl1pPr marL="0" indent="0" algn="ctr">
              <a:lnSpc>
                <a:spcPct val="120000"/>
              </a:lnSpc>
              <a:spcBef>
                <a:spcPts val="0"/>
              </a:spcBef>
              <a:buFontTx/>
              <a:buNone/>
              <a:defRPr sz="1051" cap="all" spc="113" baseline="0">
                <a:solidFill>
                  <a:schemeClr val="bg1"/>
                </a:solidFill>
                <a:latin typeface="+mn-lt"/>
              </a:defRPr>
            </a:lvl1pPr>
          </a:lstStyle>
          <a:p>
            <a:pPr lvl="0"/>
            <a:r>
              <a:rPr lang="en-US"/>
              <a:t>HOW</a:t>
            </a:r>
          </a:p>
        </p:txBody>
      </p:sp>
      <p:sp>
        <p:nvSpPr>
          <p:cNvPr id="22" name="Text Placeholder 4"/>
          <p:cNvSpPr>
            <a:spLocks noGrp="1"/>
          </p:cNvSpPr>
          <p:nvPr>
            <p:ph type="body" sz="quarter" idx="59" hasCustomPrompt="1"/>
          </p:nvPr>
        </p:nvSpPr>
        <p:spPr>
          <a:xfrm>
            <a:off x="324001" y="1771822"/>
            <a:ext cx="2970803" cy="1163395"/>
          </a:xfrm>
          <a:prstGeom prst="rect">
            <a:avLst/>
          </a:prstGeom>
          <a:noFill/>
        </p:spPr>
        <p:txBody>
          <a:bodyPr wrap="square" lIns="0" tIns="0" rIns="0" bIns="0">
            <a:spAutoFit/>
          </a:bodyPr>
          <a:lstStyle>
            <a:lvl1pPr marL="0" indent="0">
              <a:lnSpc>
                <a:spcPct val="90000"/>
              </a:lnSpc>
              <a:spcBef>
                <a:spcPts val="0"/>
              </a:spcBef>
              <a:buFont typeface="Arial" panose="020B0604020202020204" pitchFamily="34" charset="0"/>
              <a:buNone/>
              <a:defRPr sz="4200" spc="-151" baseline="0">
                <a:solidFill>
                  <a:schemeClr val="accent1"/>
                </a:solidFill>
                <a:latin typeface="+mn-lt"/>
              </a:defRPr>
            </a:lvl1pPr>
          </a:lstStyle>
          <a:p>
            <a:pPr lvl="0"/>
            <a:r>
              <a:rPr lang="en-US"/>
              <a:t>Start with </a:t>
            </a:r>
            <a:br>
              <a:rPr lang="en-US"/>
            </a:br>
            <a:r>
              <a:rPr lang="en-US"/>
              <a:t>the Why</a:t>
            </a:r>
          </a:p>
        </p:txBody>
      </p:sp>
      <p:sp>
        <p:nvSpPr>
          <p:cNvPr id="24" name="Text Placeholder 4"/>
          <p:cNvSpPr>
            <a:spLocks noGrp="1"/>
          </p:cNvSpPr>
          <p:nvPr>
            <p:ph type="body" sz="quarter" idx="12" hasCustomPrompt="1"/>
          </p:nvPr>
        </p:nvSpPr>
        <p:spPr>
          <a:xfrm>
            <a:off x="324001" y="2998782"/>
            <a:ext cx="2970803" cy="230448"/>
          </a:xfrm>
          <a:prstGeom prst="rect">
            <a:avLst/>
          </a:prstGeom>
        </p:spPr>
        <p:txBody>
          <a:bodyPr wrap="square" lIns="0" tIns="0" rIns="0" bIns="0">
            <a:spAutoFit/>
          </a:bodyPr>
          <a:lstStyle>
            <a:lvl1pPr marL="0" indent="0">
              <a:lnSpc>
                <a:spcPct val="120000"/>
              </a:lnSpc>
              <a:spcBef>
                <a:spcPts val="0"/>
              </a:spcBef>
              <a:spcAft>
                <a:spcPts val="0"/>
              </a:spcAft>
              <a:buFontTx/>
              <a:buNone/>
              <a:defRPr sz="1351">
                <a:solidFill>
                  <a:schemeClr val="accent3">
                    <a:lumMod val="50000"/>
                  </a:schemeClr>
                </a:solidFill>
                <a:latin typeface="+mn-lt"/>
              </a:defRPr>
            </a:lvl1pPr>
          </a:lstStyle>
          <a:p>
            <a:pPr lvl="0"/>
            <a:r>
              <a:rPr lang="en-US"/>
              <a:t>Our approach to inspire actions</a:t>
            </a:r>
          </a:p>
        </p:txBody>
      </p:sp>
      <p:sp>
        <p:nvSpPr>
          <p:cNvPr id="17" name="Rectangle: Rounded Corners 1">
            <a:extLst>
              <a:ext uri="{FF2B5EF4-FFF2-40B4-BE49-F238E27FC236}">
                <a16:creationId xmlns:a16="http://schemas.microsoft.com/office/drawing/2014/main" id="{08225B9D-F52B-C54B-9FE5-E8A45CF2F37D}"/>
              </a:ext>
            </a:extLst>
          </p:cNvPr>
          <p:cNvSpPr/>
          <p:nvPr/>
        </p:nvSpPr>
        <p:spPr>
          <a:xfrm rot="2700000">
            <a:off x="4306665" y="1970553"/>
            <a:ext cx="764897" cy="764947"/>
          </a:xfrm>
          <a:prstGeom prst="roundRect">
            <a:avLst>
              <a:gd name="adj" fmla="val 0"/>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18" name="Text Placeholder 4">
            <a:extLst>
              <a:ext uri="{FF2B5EF4-FFF2-40B4-BE49-F238E27FC236}">
                <a16:creationId xmlns:a16="http://schemas.microsoft.com/office/drawing/2014/main" id="{408DAC02-DA2C-A541-9BF2-8423874CD02F}"/>
              </a:ext>
            </a:extLst>
          </p:cNvPr>
          <p:cNvSpPr>
            <a:spLocks noGrp="1"/>
          </p:cNvSpPr>
          <p:nvPr>
            <p:ph type="body" sz="quarter" idx="74" hasCustomPrompt="1"/>
          </p:nvPr>
        </p:nvSpPr>
        <p:spPr>
          <a:xfrm>
            <a:off x="4283977" y="2263385"/>
            <a:ext cx="810273" cy="179280"/>
          </a:xfrm>
          <a:prstGeom prst="rect">
            <a:avLst/>
          </a:prstGeom>
        </p:spPr>
        <p:txBody>
          <a:bodyPr wrap="square" lIns="0" tIns="0" rIns="0" bIns="0" anchor="ctr">
            <a:spAutoFit/>
          </a:bodyPr>
          <a:lstStyle>
            <a:lvl1pPr marL="0" indent="0" algn="ctr">
              <a:lnSpc>
                <a:spcPct val="120000"/>
              </a:lnSpc>
              <a:spcBef>
                <a:spcPts val="0"/>
              </a:spcBef>
              <a:buFontTx/>
              <a:buNone/>
              <a:defRPr sz="1051" cap="all" spc="113" baseline="0">
                <a:solidFill>
                  <a:schemeClr val="bg1"/>
                </a:solidFill>
                <a:latin typeface="+mn-lt"/>
              </a:defRPr>
            </a:lvl1pPr>
          </a:lstStyle>
          <a:p>
            <a:pPr lvl="0"/>
            <a:r>
              <a:rPr lang="en-US"/>
              <a:t>WHY</a:t>
            </a:r>
          </a:p>
        </p:txBody>
      </p:sp>
      <p:sp>
        <p:nvSpPr>
          <p:cNvPr id="14" name="Date Placeholder 2">
            <a:extLst>
              <a:ext uri="{FF2B5EF4-FFF2-40B4-BE49-F238E27FC236}">
                <a16:creationId xmlns:a16="http://schemas.microsoft.com/office/drawing/2014/main" id="{C89220D1-AA02-1143-9326-E76C4A21DB45}"/>
              </a:ext>
            </a:extLst>
          </p:cNvPr>
          <p:cNvSpPr>
            <a:spLocks noGrp="1"/>
          </p:cNvSpPr>
          <p:nvPr>
            <p:ph type="dt" sz="half" idx="10"/>
          </p:nvPr>
        </p:nvSpPr>
        <p:spPr>
          <a:xfrm>
            <a:off x="324002" y="4972079"/>
            <a:ext cx="494319" cy="92455"/>
          </a:xfrm>
        </p:spPr>
        <p:txBody>
          <a:bodyPr/>
          <a:lstStyle/>
          <a:p>
            <a:fld id="{EEB9ECCC-57A4-430C-B65E-3974BF9810ED}" type="datetime1">
              <a:rPr lang="de-DE" smtClean="0"/>
              <a:t>24.01.2024</a:t>
            </a:fld>
            <a:endParaRPr lang="en-US"/>
          </a:p>
        </p:txBody>
      </p:sp>
      <p:sp>
        <p:nvSpPr>
          <p:cNvPr id="25" name="Rectangle: Rounded Corners 1">
            <a:extLst>
              <a:ext uri="{FF2B5EF4-FFF2-40B4-BE49-F238E27FC236}">
                <a16:creationId xmlns:a16="http://schemas.microsoft.com/office/drawing/2014/main" id="{B5A19FDD-3438-41AD-BEB2-1479AA4F676B}"/>
              </a:ext>
            </a:extLst>
          </p:cNvPr>
          <p:cNvSpPr/>
          <p:nvPr userDrawn="1"/>
        </p:nvSpPr>
        <p:spPr>
          <a:xfrm rot="2700000">
            <a:off x="6351523" y="1675452"/>
            <a:ext cx="1355063" cy="1355151"/>
          </a:xfrm>
          <a:prstGeom prst="roundRect">
            <a:avLst>
              <a:gd name="adj" fmla="val 0"/>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6" name="Rectangle: Rounded Corners 1">
            <a:extLst>
              <a:ext uri="{FF2B5EF4-FFF2-40B4-BE49-F238E27FC236}">
                <a16:creationId xmlns:a16="http://schemas.microsoft.com/office/drawing/2014/main" id="{E5B2B697-2B29-435C-B5BB-2C5794B85926}"/>
              </a:ext>
            </a:extLst>
          </p:cNvPr>
          <p:cNvSpPr/>
          <p:nvPr userDrawn="1"/>
        </p:nvSpPr>
        <p:spPr>
          <a:xfrm rot="2700000">
            <a:off x="5188195" y="1793048"/>
            <a:ext cx="1119887" cy="1119959"/>
          </a:xfrm>
          <a:prstGeom prst="roundRect">
            <a:avLst>
              <a:gd name="adj" fmla="val 0"/>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7" name="Rectangle: Rounded Corners 1">
            <a:extLst>
              <a:ext uri="{FF2B5EF4-FFF2-40B4-BE49-F238E27FC236}">
                <a16:creationId xmlns:a16="http://schemas.microsoft.com/office/drawing/2014/main" id="{BA76C010-0FBE-4EE3-8DC5-CDE718B2D1D2}"/>
              </a:ext>
            </a:extLst>
          </p:cNvPr>
          <p:cNvSpPr/>
          <p:nvPr userDrawn="1"/>
        </p:nvSpPr>
        <p:spPr>
          <a:xfrm rot="2700000">
            <a:off x="4306665" y="1970553"/>
            <a:ext cx="764897" cy="764947"/>
          </a:xfrm>
          <a:prstGeom prst="roundRect">
            <a:avLst>
              <a:gd name="adj" fmla="val 0"/>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8" name="Footer Placeholder 2">
            <a:extLst>
              <a:ext uri="{FF2B5EF4-FFF2-40B4-BE49-F238E27FC236}">
                <a16:creationId xmlns:a16="http://schemas.microsoft.com/office/drawing/2014/main" id="{30BBB2FC-72B2-0642-975C-E2C07DC53F47}"/>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30" name="Graphic 29">
            <a:extLst>
              <a:ext uri="{FF2B5EF4-FFF2-40B4-BE49-F238E27FC236}">
                <a16:creationId xmlns:a16="http://schemas.microsoft.com/office/drawing/2014/main" id="{5464A9EB-3EF7-F44D-9D6D-ED46D066930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1" name="Slide Number Placeholder 3">
            <a:extLst>
              <a:ext uri="{FF2B5EF4-FFF2-40B4-BE49-F238E27FC236}">
                <a16:creationId xmlns:a16="http://schemas.microsoft.com/office/drawing/2014/main" id="{DC74CEB3-35C5-3745-BD36-E7CF17856D6A}"/>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4268165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Contac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B2FC668-CB17-0443-B0CB-879A43EB2AC8}"/>
              </a:ext>
            </a:extLst>
          </p:cNvPr>
          <p:cNvSpPr/>
          <p:nvPr userDrawn="1"/>
        </p:nvSpPr>
        <p:spPr>
          <a:xfrm>
            <a:off x="322771" y="2603862"/>
            <a:ext cx="1857600" cy="127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Rectangle 37">
            <a:extLst>
              <a:ext uri="{FF2B5EF4-FFF2-40B4-BE49-F238E27FC236}">
                <a16:creationId xmlns:a16="http://schemas.microsoft.com/office/drawing/2014/main" id="{07BD2D6A-0B22-412B-A69A-26BF76B21F86}"/>
              </a:ext>
            </a:extLst>
          </p:cNvPr>
          <p:cNvSpPr/>
          <p:nvPr userDrawn="1"/>
        </p:nvSpPr>
        <p:spPr>
          <a:xfrm>
            <a:off x="6919629" y="0"/>
            <a:ext cx="2224371" cy="514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0" name="Text Placeholder 4"/>
          <p:cNvSpPr>
            <a:spLocks noGrp="1"/>
          </p:cNvSpPr>
          <p:nvPr>
            <p:ph type="body" sz="quarter" idx="59" hasCustomPrompt="1"/>
          </p:nvPr>
        </p:nvSpPr>
        <p:spPr>
          <a:xfrm>
            <a:off x="7215117" y="1517184"/>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24" name="Text Placeholder 4">
            <a:extLst>
              <a:ext uri="{FF2B5EF4-FFF2-40B4-BE49-F238E27FC236}">
                <a16:creationId xmlns:a16="http://schemas.microsoft.com/office/drawing/2014/main" id="{8C2E3C36-F45D-3940-BF1E-D589AC988926}"/>
              </a:ext>
            </a:extLst>
          </p:cNvPr>
          <p:cNvSpPr>
            <a:spLocks noGrp="1"/>
          </p:cNvSpPr>
          <p:nvPr>
            <p:ph type="body" sz="quarter" idx="77" hasCustomPrompt="1"/>
          </p:nvPr>
        </p:nvSpPr>
        <p:spPr>
          <a:xfrm>
            <a:off x="324000" y="569828"/>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Contact</a:t>
            </a:r>
          </a:p>
        </p:txBody>
      </p:sp>
      <p:sp>
        <p:nvSpPr>
          <p:cNvPr id="30" name="Text Placeholder 4">
            <a:extLst>
              <a:ext uri="{FF2B5EF4-FFF2-40B4-BE49-F238E27FC236}">
                <a16:creationId xmlns:a16="http://schemas.microsoft.com/office/drawing/2014/main" id="{A35144F1-1A1D-8C45-B58D-D68CDF0AE130}"/>
              </a:ext>
            </a:extLst>
          </p:cNvPr>
          <p:cNvSpPr>
            <a:spLocks noGrp="1"/>
          </p:cNvSpPr>
          <p:nvPr>
            <p:ph type="body" sz="quarter" idx="78" hasCustomPrompt="1"/>
          </p:nvPr>
        </p:nvSpPr>
        <p:spPr>
          <a:xfrm>
            <a:off x="324000" y="170008"/>
            <a:ext cx="579552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Company</a:t>
            </a:r>
          </a:p>
        </p:txBody>
      </p:sp>
      <p:sp>
        <p:nvSpPr>
          <p:cNvPr id="58" name="Picture Placeholder 18">
            <a:extLst>
              <a:ext uri="{FF2B5EF4-FFF2-40B4-BE49-F238E27FC236}">
                <a16:creationId xmlns:a16="http://schemas.microsoft.com/office/drawing/2014/main" id="{E5B832A6-C242-7D48-A06E-D0943FD04A62}"/>
              </a:ext>
            </a:extLst>
          </p:cNvPr>
          <p:cNvSpPr>
            <a:spLocks noGrp="1"/>
          </p:cNvSpPr>
          <p:nvPr>
            <p:ph type="pic" sz="quarter" idx="88"/>
          </p:nvPr>
        </p:nvSpPr>
        <p:spPr>
          <a:xfrm>
            <a:off x="324000" y="1348851"/>
            <a:ext cx="1856371" cy="1254845"/>
          </a:xfrm>
          <a:prstGeom prst="rect">
            <a:avLst/>
          </a:prstGeom>
        </p:spPr>
        <p:txBody>
          <a:bodyPr/>
          <a:lstStyle>
            <a:lvl1pPr marL="0" indent="0">
              <a:buNone/>
              <a:defRPr sz="900"/>
            </a:lvl1pPr>
          </a:lstStyle>
          <a:p>
            <a:r>
              <a:rPr lang="en-US"/>
              <a:t>Click icon to add picture</a:t>
            </a:r>
            <a:endParaRPr lang="en-RO"/>
          </a:p>
        </p:txBody>
      </p:sp>
      <p:sp>
        <p:nvSpPr>
          <p:cNvPr id="59" name="Text Placeholder 3">
            <a:extLst>
              <a:ext uri="{FF2B5EF4-FFF2-40B4-BE49-F238E27FC236}">
                <a16:creationId xmlns:a16="http://schemas.microsoft.com/office/drawing/2014/main" id="{98E312F7-CACE-A741-B384-2516A3915B0F}"/>
              </a:ext>
            </a:extLst>
          </p:cNvPr>
          <p:cNvSpPr>
            <a:spLocks noGrp="1"/>
          </p:cNvSpPr>
          <p:nvPr>
            <p:ph type="body" sz="quarter" idx="89" hasCustomPrompt="1"/>
          </p:nvPr>
        </p:nvSpPr>
        <p:spPr>
          <a:xfrm>
            <a:off x="442930" y="2724021"/>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60" name="Text Placeholder 3">
            <a:extLst>
              <a:ext uri="{FF2B5EF4-FFF2-40B4-BE49-F238E27FC236}">
                <a16:creationId xmlns:a16="http://schemas.microsoft.com/office/drawing/2014/main" id="{9131DBE4-91BF-7C47-938F-1ACA1F36C902}"/>
              </a:ext>
            </a:extLst>
          </p:cNvPr>
          <p:cNvSpPr>
            <a:spLocks noGrp="1"/>
          </p:cNvSpPr>
          <p:nvPr>
            <p:ph type="body" sz="quarter" idx="90" hasCustomPrompt="1"/>
          </p:nvPr>
        </p:nvSpPr>
        <p:spPr>
          <a:xfrm>
            <a:off x="442930" y="2900515"/>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61" name="Text Placeholder 3">
            <a:extLst>
              <a:ext uri="{FF2B5EF4-FFF2-40B4-BE49-F238E27FC236}">
                <a16:creationId xmlns:a16="http://schemas.microsoft.com/office/drawing/2014/main" id="{057AF479-A903-C14A-A31F-CCA84B03D3F4}"/>
              </a:ext>
            </a:extLst>
          </p:cNvPr>
          <p:cNvSpPr>
            <a:spLocks noGrp="1"/>
          </p:cNvSpPr>
          <p:nvPr>
            <p:ph type="body" sz="quarter" idx="91" hasCustomPrompt="1"/>
          </p:nvPr>
        </p:nvSpPr>
        <p:spPr>
          <a:xfrm>
            <a:off x="442930" y="3535167"/>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62" name="Text Placeholder 3">
            <a:extLst>
              <a:ext uri="{FF2B5EF4-FFF2-40B4-BE49-F238E27FC236}">
                <a16:creationId xmlns:a16="http://schemas.microsoft.com/office/drawing/2014/main" id="{392BFB2B-7823-764C-A48B-9E2092ED2CF8}"/>
              </a:ext>
            </a:extLst>
          </p:cNvPr>
          <p:cNvSpPr>
            <a:spLocks noGrp="1"/>
          </p:cNvSpPr>
          <p:nvPr>
            <p:ph type="body" sz="quarter" idx="92" hasCustomPrompt="1"/>
          </p:nvPr>
        </p:nvSpPr>
        <p:spPr>
          <a:xfrm>
            <a:off x="442930" y="3661233"/>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34" name="Date Placeholder 2">
            <a:extLst>
              <a:ext uri="{FF2B5EF4-FFF2-40B4-BE49-F238E27FC236}">
                <a16:creationId xmlns:a16="http://schemas.microsoft.com/office/drawing/2014/main" id="{A508ED61-1475-9549-9AC2-DE6A3761518A}"/>
              </a:ext>
            </a:extLst>
          </p:cNvPr>
          <p:cNvSpPr>
            <a:spLocks noGrp="1"/>
          </p:cNvSpPr>
          <p:nvPr>
            <p:ph type="dt" sz="half" idx="10"/>
          </p:nvPr>
        </p:nvSpPr>
        <p:spPr>
          <a:xfrm>
            <a:off x="324002" y="4972079"/>
            <a:ext cx="494319" cy="92455"/>
          </a:xfrm>
        </p:spPr>
        <p:txBody>
          <a:bodyPr/>
          <a:lstStyle/>
          <a:p>
            <a:fld id="{FBF9C064-13BE-41FB-8DF1-9757A8555548}" type="datetime1">
              <a:rPr lang="de-DE" smtClean="0"/>
              <a:t>24.01.2024</a:t>
            </a:fld>
            <a:endParaRPr lang="en-US"/>
          </a:p>
        </p:txBody>
      </p:sp>
      <p:sp>
        <p:nvSpPr>
          <p:cNvPr id="39" name="Footer Placeholder 2">
            <a:extLst>
              <a:ext uri="{FF2B5EF4-FFF2-40B4-BE49-F238E27FC236}">
                <a16:creationId xmlns:a16="http://schemas.microsoft.com/office/drawing/2014/main" id="{1749DC97-C29C-6F46-9491-142978EFBCA5}"/>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40" name="Graphic 39">
            <a:extLst>
              <a:ext uri="{FF2B5EF4-FFF2-40B4-BE49-F238E27FC236}">
                <a16:creationId xmlns:a16="http://schemas.microsoft.com/office/drawing/2014/main" id="{DE449E4D-618E-754C-AFED-A484A03911E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43" name="Slide Number Placeholder 4">
            <a:extLst>
              <a:ext uri="{FF2B5EF4-FFF2-40B4-BE49-F238E27FC236}">
                <a16:creationId xmlns:a16="http://schemas.microsoft.com/office/drawing/2014/main" id="{DD3A4977-DB91-6243-B41E-C41AC83B9415}"/>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
        <p:nvSpPr>
          <p:cNvPr id="48" name="Text Placeholder 2">
            <a:extLst>
              <a:ext uri="{FF2B5EF4-FFF2-40B4-BE49-F238E27FC236}">
                <a16:creationId xmlns:a16="http://schemas.microsoft.com/office/drawing/2014/main" id="{4DC2C600-F284-C34F-BD34-83A0A3383006}"/>
              </a:ext>
            </a:extLst>
          </p:cNvPr>
          <p:cNvSpPr>
            <a:spLocks noGrp="1"/>
          </p:cNvSpPr>
          <p:nvPr>
            <p:ph type="body" sz="quarter" idx="79" hasCustomPrompt="1"/>
          </p:nvPr>
        </p:nvSpPr>
        <p:spPr>
          <a:xfrm>
            <a:off x="324000" y="1029129"/>
            <a:ext cx="3255381"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ontact person</a:t>
            </a:r>
          </a:p>
        </p:txBody>
      </p:sp>
      <p:sp>
        <p:nvSpPr>
          <p:cNvPr id="35" name="Text Placeholder 4">
            <a:extLst>
              <a:ext uri="{FF2B5EF4-FFF2-40B4-BE49-F238E27FC236}">
                <a16:creationId xmlns:a16="http://schemas.microsoft.com/office/drawing/2014/main" id="{C8453F9E-A48F-3A47-B623-86B674A9C872}"/>
              </a:ext>
            </a:extLst>
          </p:cNvPr>
          <p:cNvSpPr>
            <a:spLocks noGrp="1"/>
          </p:cNvSpPr>
          <p:nvPr>
            <p:ph type="body" sz="quarter" idx="112" hasCustomPrompt="1"/>
          </p:nvPr>
        </p:nvSpPr>
        <p:spPr>
          <a:xfrm>
            <a:off x="7215117" y="2027790"/>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36" name="Text Placeholder 4">
            <a:extLst>
              <a:ext uri="{FF2B5EF4-FFF2-40B4-BE49-F238E27FC236}">
                <a16:creationId xmlns:a16="http://schemas.microsoft.com/office/drawing/2014/main" id="{8AB6E055-3BEE-C143-A5A9-C0747C59B64D}"/>
              </a:ext>
            </a:extLst>
          </p:cNvPr>
          <p:cNvSpPr>
            <a:spLocks noGrp="1"/>
          </p:cNvSpPr>
          <p:nvPr>
            <p:ph type="body" sz="quarter" idx="113" hasCustomPrompt="1"/>
          </p:nvPr>
        </p:nvSpPr>
        <p:spPr>
          <a:xfrm>
            <a:off x="7215117" y="2538397"/>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5" name="Textfeld 4">
            <a:extLst>
              <a:ext uri="{FF2B5EF4-FFF2-40B4-BE49-F238E27FC236}">
                <a16:creationId xmlns:a16="http://schemas.microsoft.com/office/drawing/2014/main" id="{C458A74E-8DC6-4248-95A5-7B49F95AAB00}"/>
              </a:ext>
            </a:extLst>
          </p:cNvPr>
          <p:cNvSpPr txBox="1"/>
          <p:nvPr userDrawn="1"/>
        </p:nvSpPr>
        <p:spPr>
          <a:xfrm>
            <a:off x="7215117" y="1310312"/>
            <a:ext cx="1610427" cy="200055"/>
          </a:xfrm>
          <a:prstGeom prst="rect">
            <a:avLst/>
          </a:prstGeom>
          <a:noFill/>
        </p:spPr>
        <p:txBody>
          <a:bodyPr wrap="square" lIns="0" rtlCol="0">
            <a:noAutofit/>
          </a:bodyPr>
          <a:lstStyle/>
          <a:p>
            <a:r>
              <a:rPr lang="en-US" sz="700">
                <a:solidFill>
                  <a:srgbClr val="3399FF"/>
                </a:solidFill>
              </a:rPr>
              <a:t>ADDRESS:</a:t>
            </a:r>
          </a:p>
        </p:txBody>
      </p:sp>
      <p:sp>
        <p:nvSpPr>
          <p:cNvPr id="42" name="Textfeld 41">
            <a:extLst>
              <a:ext uri="{FF2B5EF4-FFF2-40B4-BE49-F238E27FC236}">
                <a16:creationId xmlns:a16="http://schemas.microsoft.com/office/drawing/2014/main" id="{A93CA1AF-41D3-F943-A040-8DD3EFD76579}"/>
              </a:ext>
            </a:extLst>
          </p:cNvPr>
          <p:cNvSpPr txBox="1"/>
          <p:nvPr userDrawn="1"/>
        </p:nvSpPr>
        <p:spPr>
          <a:xfrm>
            <a:off x="7215281" y="3601232"/>
            <a:ext cx="1610427" cy="200055"/>
          </a:xfrm>
          <a:prstGeom prst="rect">
            <a:avLst/>
          </a:prstGeom>
          <a:noFill/>
        </p:spPr>
        <p:txBody>
          <a:bodyPr wrap="square" lIns="0" rtlCol="0">
            <a:noAutofit/>
          </a:bodyPr>
          <a:lstStyle/>
          <a:p>
            <a:r>
              <a:rPr lang="en-US" sz="700">
                <a:solidFill>
                  <a:srgbClr val="3399FF"/>
                </a:solidFill>
              </a:rPr>
              <a:t>WEBSITE:</a:t>
            </a:r>
          </a:p>
        </p:txBody>
      </p:sp>
      <p:sp>
        <p:nvSpPr>
          <p:cNvPr id="47" name="Textfeld 46">
            <a:extLst>
              <a:ext uri="{FF2B5EF4-FFF2-40B4-BE49-F238E27FC236}">
                <a16:creationId xmlns:a16="http://schemas.microsoft.com/office/drawing/2014/main" id="{D111BA77-2647-FB42-A87E-C89EBD4ACC8B}"/>
              </a:ext>
            </a:extLst>
          </p:cNvPr>
          <p:cNvSpPr txBox="1"/>
          <p:nvPr userDrawn="1"/>
        </p:nvSpPr>
        <p:spPr>
          <a:xfrm>
            <a:off x="7215281" y="3744636"/>
            <a:ext cx="1610427" cy="200055"/>
          </a:xfrm>
          <a:prstGeom prst="rect">
            <a:avLst/>
          </a:prstGeom>
          <a:noFill/>
        </p:spPr>
        <p:txBody>
          <a:bodyPr wrap="square" lIns="0" rtlCol="0">
            <a:noAutofit/>
          </a:bodyPr>
          <a:lstStyle/>
          <a:p>
            <a:r>
              <a:rPr lang="en-US" sz="751">
                <a:solidFill>
                  <a:schemeClr val="bg1"/>
                </a:solidFill>
              </a:rPr>
              <a:t>www.p3-group.com</a:t>
            </a:r>
          </a:p>
        </p:txBody>
      </p:sp>
      <p:sp>
        <p:nvSpPr>
          <p:cNvPr id="6" name="Textfeld 5">
            <a:extLst>
              <a:ext uri="{FF2B5EF4-FFF2-40B4-BE49-F238E27FC236}">
                <a16:creationId xmlns:a16="http://schemas.microsoft.com/office/drawing/2014/main" id="{A5629E6E-9519-8644-87A0-DF831C2FB3EC}"/>
              </a:ext>
            </a:extLst>
          </p:cNvPr>
          <p:cNvSpPr txBox="1"/>
          <p:nvPr userDrawn="1"/>
        </p:nvSpPr>
        <p:spPr>
          <a:xfrm>
            <a:off x="324000" y="4198588"/>
            <a:ext cx="677430" cy="200055"/>
          </a:xfrm>
          <a:prstGeom prst="rect">
            <a:avLst/>
          </a:prstGeom>
          <a:noFill/>
        </p:spPr>
        <p:txBody>
          <a:bodyPr wrap="none" lIns="0" rtlCol="0">
            <a:spAutoFit/>
          </a:bodyPr>
          <a:lstStyle/>
          <a:p>
            <a:r>
              <a:rPr lang="en-US" sz="700" spc="60" baseline="0">
                <a:solidFill>
                  <a:schemeClr val="accent3"/>
                </a:solidFill>
                <a:latin typeface="+mj-lt"/>
              </a:rPr>
              <a:t>DISCLAIMER</a:t>
            </a:r>
          </a:p>
        </p:txBody>
      </p:sp>
      <p:sp>
        <p:nvSpPr>
          <p:cNvPr id="7" name="Rechteck 6">
            <a:extLst>
              <a:ext uri="{FF2B5EF4-FFF2-40B4-BE49-F238E27FC236}">
                <a16:creationId xmlns:a16="http://schemas.microsoft.com/office/drawing/2014/main" id="{6AE37B20-46A1-E246-99E4-94E15C5B8727}"/>
              </a:ext>
            </a:extLst>
          </p:cNvPr>
          <p:cNvSpPr/>
          <p:nvPr userDrawn="1"/>
        </p:nvSpPr>
        <p:spPr>
          <a:xfrm>
            <a:off x="324001" y="4390005"/>
            <a:ext cx="6250971" cy="257058"/>
          </a:xfrm>
          <a:prstGeom prst="rect">
            <a:avLst/>
          </a:prstGeom>
        </p:spPr>
        <p:txBody>
          <a:bodyPr wrap="square" lIns="0">
            <a:noAutofit/>
          </a:bodyPr>
          <a:lstStyle/>
          <a:p>
            <a:pPr marL="4763" marR="1905" lvl="0" indent="0" algn="l" defTabSz="457159" rtl="0" eaLnBrk="1" fontAlgn="auto" latinLnBrk="0" hangingPunct="1">
              <a:lnSpc>
                <a:spcPct val="123700"/>
              </a:lnSpc>
              <a:spcBef>
                <a:spcPts val="37"/>
              </a:spcBef>
              <a:spcAft>
                <a:spcPts val="0"/>
              </a:spcAft>
              <a:buClrTx/>
              <a:buSzTx/>
              <a:buFontTx/>
              <a:buNone/>
              <a:tabLst/>
              <a:defRPr/>
            </a:pP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ll</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formatio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tain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herei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ol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No</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tellectual</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right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grant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by</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delivery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isclosur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 </a:t>
            </a:r>
            <a:r>
              <a:rPr kumimoji="0" lang="en-GB" sz="451" b="0" i="0" u="none" strike="noStrike" kern="1200" cap="none" spc="-7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reproduc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disclosed</a:t>
            </a:r>
            <a:r>
              <a:rPr kumimoji="0" lang="en-GB" sz="451" b="0" i="0" u="none" strike="noStrike" kern="1200" cap="none" spc="15"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to</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rd</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party</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ithout</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express</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ritten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s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a:t>
            </a:r>
            <a:r>
              <a:rPr kumimoji="0" lang="en-GB" sz="451" b="0" i="0" u="none" strike="noStrike" kern="1200" cap="none" spc="8" normalizeH="0" baseline="0" noProof="0">
                <a:ln>
                  <a:noFill/>
                </a:ln>
                <a:solidFill>
                  <a:srgbClr val="000000"/>
                </a:solidFill>
                <a:effectLst/>
                <a:uLnTx/>
                <a:uFillTx/>
                <a:latin typeface="Roboto Light" panose="02000000000000000000" pitchFamily="2" charset="0"/>
                <a:ea typeface="+mn-ea"/>
                <a:cs typeface="Maison Neue Light"/>
              </a:rPr>
              <a:t>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us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n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purpos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the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n</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hich</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i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upplied.</a:t>
            </a:r>
            <a:endParaRPr lang="en-RO" sz="451"/>
          </a:p>
        </p:txBody>
      </p:sp>
    </p:spTree>
    <p:extLst>
      <p:ext uri="{BB962C8B-B14F-4D97-AF65-F5344CB8AC3E}">
        <p14:creationId xmlns:p14="http://schemas.microsoft.com/office/powerpoint/2010/main" val="3408824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Contac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B2FC668-CB17-0443-B0CB-879A43EB2AC8}"/>
              </a:ext>
            </a:extLst>
          </p:cNvPr>
          <p:cNvSpPr/>
          <p:nvPr userDrawn="1"/>
        </p:nvSpPr>
        <p:spPr>
          <a:xfrm>
            <a:off x="322771" y="2603862"/>
            <a:ext cx="1857600" cy="127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hteck 36">
            <a:extLst>
              <a:ext uri="{FF2B5EF4-FFF2-40B4-BE49-F238E27FC236}">
                <a16:creationId xmlns:a16="http://schemas.microsoft.com/office/drawing/2014/main" id="{AE9CC3A1-589D-8B45-B1B3-63C21EFF948E}"/>
              </a:ext>
            </a:extLst>
          </p:cNvPr>
          <p:cNvSpPr/>
          <p:nvPr userDrawn="1"/>
        </p:nvSpPr>
        <p:spPr>
          <a:xfrm>
            <a:off x="2531684" y="2603862"/>
            <a:ext cx="1857600" cy="127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Rectangle 37">
            <a:extLst>
              <a:ext uri="{FF2B5EF4-FFF2-40B4-BE49-F238E27FC236}">
                <a16:creationId xmlns:a16="http://schemas.microsoft.com/office/drawing/2014/main" id="{07BD2D6A-0B22-412B-A69A-26BF76B21F86}"/>
              </a:ext>
            </a:extLst>
          </p:cNvPr>
          <p:cNvSpPr/>
          <p:nvPr userDrawn="1"/>
        </p:nvSpPr>
        <p:spPr>
          <a:xfrm>
            <a:off x="6919629" y="0"/>
            <a:ext cx="2224371" cy="514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0" name="Text Placeholder 4"/>
          <p:cNvSpPr>
            <a:spLocks noGrp="1"/>
          </p:cNvSpPr>
          <p:nvPr>
            <p:ph type="body" sz="quarter" idx="59" hasCustomPrompt="1"/>
          </p:nvPr>
        </p:nvSpPr>
        <p:spPr>
          <a:xfrm>
            <a:off x="7215117" y="1517184"/>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24" name="Text Placeholder 4">
            <a:extLst>
              <a:ext uri="{FF2B5EF4-FFF2-40B4-BE49-F238E27FC236}">
                <a16:creationId xmlns:a16="http://schemas.microsoft.com/office/drawing/2014/main" id="{8C2E3C36-F45D-3940-BF1E-D589AC988926}"/>
              </a:ext>
            </a:extLst>
          </p:cNvPr>
          <p:cNvSpPr>
            <a:spLocks noGrp="1"/>
          </p:cNvSpPr>
          <p:nvPr>
            <p:ph type="body" sz="quarter" idx="77" hasCustomPrompt="1"/>
          </p:nvPr>
        </p:nvSpPr>
        <p:spPr>
          <a:xfrm>
            <a:off x="324000" y="569828"/>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Contact</a:t>
            </a:r>
          </a:p>
        </p:txBody>
      </p:sp>
      <p:sp>
        <p:nvSpPr>
          <p:cNvPr id="30" name="Text Placeholder 4">
            <a:extLst>
              <a:ext uri="{FF2B5EF4-FFF2-40B4-BE49-F238E27FC236}">
                <a16:creationId xmlns:a16="http://schemas.microsoft.com/office/drawing/2014/main" id="{A35144F1-1A1D-8C45-B58D-D68CDF0AE130}"/>
              </a:ext>
            </a:extLst>
          </p:cNvPr>
          <p:cNvSpPr>
            <a:spLocks noGrp="1"/>
          </p:cNvSpPr>
          <p:nvPr>
            <p:ph type="body" sz="quarter" idx="78" hasCustomPrompt="1"/>
          </p:nvPr>
        </p:nvSpPr>
        <p:spPr>
          <a:xfrm>
            <a:off x="324000" y="170008"/>
            <a:ext cx="579552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Company</a:t>
            </a:r>
          </a:p>
        </p:txBody>
      </p:sp>
      <p:sp>
        <p:nvSpPr>
          <p:cNvPr id="19" name="Picture Placeholder 18">
            <a:extLst>
              <a:ext uri="{FF2B5EF4-FFF2-40B4-BE49-F238E27FC236}">
                <a16:creationId xmlns:a16="http://schemas.microsoft.com/office/drawing/2014/main" id="{80E65E04-521E-B047-A6DA-653B411EFC55}"/>
              </a:ext>
            </a:extLst>
          </p:cNvPr>
          <p:cNvSpPr>
            <a:spLocks noGrp="1"/>
          </p:cNvSpPr>
          <p:nvPr>
            <p:ph type="pic" sz="quarter" idx="83"/>
          </p:nvPr>
        </p:nvSpPr>
        <p:spPr>
          <a:xfrm>
            <a:off x="2532913" y="1354726"/>
            <a:ext cx="1856371" cy="1254845"/>
          </a:xfrm>
          <a:prstGeom prst="rect">
            <a:avLst/>
          </a:prstGeom>
        </p:spPr>
        <p:txBody>
          <a:bodyPr/>
          <a:lstStyle>
            <a:lvl1pPr marL="0" indent="0">
              <a:buNone/>
              <a:defRPr sz="900"/>
            </a:lvl1pPr>
          </a:lstStyle>
          <a:p>
            <a:r>
              <a:rPr lang="en-US"/>
              <a:t>Click icon to add picture</a:t>
            </a:r>
            <a:endParaRPr lang="en-RO"/>
          </a:p>
        </p:txBody>
      </p:sp>
      <p:sp>
        <p:nvSpPr>
          <p:cNvPr id="53" name="Text Placeholder 3">
            <a:extLst>
              <a:ext uri="{FF2B5EF4-FFF2-40B4-BE49-F238E27FC236}">
                <a16:creationId xmlns:a16="http://schemas.microsoft.com/office/drawing/2014/main" id="{BB94DFDB-D795-0B48-8E3D-05B7CD8204C4}"/>
              </a:ext>
            </a:extLst>
          </p:cNvPr>
          <p:cNvSpPr>
            <a:spLocks noGrp="1"/>
          </p:cNvSpPr>
          <p:nvPr>
            <p:ph type="body" sz="quarter" idx="84" hasCustomPrompt="1"/>
          </p:nvPr>
        </p:nvSpPr>
        <p:spPr>
          <a:xfrm>
            <a:off x="2638257" y="2729896"/>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54" name="Text Placeholder 3">
            <a:extLst>
              <a:ext uri="{FF2B5EF4-FFF2-40B4-BE49-F238E27FC236}">
                <a16:creationId xmlns:a16="http://schemas.microsoft.com/office/drawing/2014/main" id="{8392E237-D476-744A-BA09-148CA9569825}"/>
              </a:ext>
            </a:extLst>
          </p:cNvPr>
          <p:cNvSpPr>
            <a:spLocks noGrp="1"/>
          </p:cNvSpPr>
          <p:nvPr>
            <p:ph type="body" sz="quarter" idx="85" hasCustomPrompt="1"/>
          </p:nvPr>
        </p:nvSpPr>
        <p:spPr>
          <a:xfrm>
            <a:off x="2638257" y="2906390"/>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55" name="Text Placeholder 3">
            <a:extLst>
              <a:ext uri="{FF2B5EF4-FFF2-40B4-BE49-F238E27FC236}">
                <a16:creationId xmlns:a16="http://schemas.microsoft.com/office/drawing/2014/main" id="{230A38FD-4501-4542-AD61-D18E4EC61E46}"/>
              </a:ext>
            </a:extLst>
          </p:cNvPr>
          <p:cNvSpPr>
            <a:spLocks noGrp="1"/>
          </p:cNvSpPr>
          <p:nvPr>
            <p:ph type="body" sz="quarter" idx="86" hasCustomPrompt="1"/>
          </p:nvPr>
        </p:nvSpPr>
        <p:spPr>
          <a:xfrm>
            <a:off x="2638257" y="3541042"/>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56" name="Text Placeholder 3">
            <a:extLst>
              <a:ext uri="{FF2B5EF4-FFF2-40B4-BE49-F238E27FC236}">
                <a16:creationId xmlns:a16="http://schemas.microsoft.com/office/drawing/2014/main" id="{A6BF194F-EA57-CE47-8B02-205E06D1439A}"/>
              </a:ext>
            </a:extLst>
          </p:cNvPr>
          <p:cNvSpPr>
            <a:spLocks noGrp="1"/>
          </p:cNvSpPr>
          <p:nvPr>
            <p:ph type="body" sz="quarter" idx="87" hasCustomPrompt="1"/>
          </p:nvPr>
        </p:nvSpPr>
        <p:spPr>
          <a:xfrm>
            <a:off x="2638257" y="3667108"/>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58" name="Picture Placeholder 18">
            <a:extLst>
              <a:ext uri="{FF2B5EF4-FFF2-40B4-BE49-F238E27FC236}">
                <a16:creationId xmlns:a16="http://schemas.microsoft.com/office/drawing/2014/main" id="{E5B832A6-C242-7D48-A06E-D0943FD04A62}"/>
              </a:ext>
            </a:extLst>
          </p:cNvPr>
          <p:cNvSpPr>
            <a:spLocks noGrp="1"/>
          </p:cNvSpPr>
          <p:nvPr>
            <p:ph type="pic" sz="quarter" idx="88"/>
          </p:nvPr>
        </p:nvSpPr>
        <p:spPr>
          <a:xfrm>
            <a:off x="324000" y="1348851"/>
            <a:ext cx="1856371" cy="1254845"/>
          </a:xfrm>
          <a:prstGeom prst="rect">
            <a:avLst/>
          </a:prstGeom>
        </p:spPr>
        <p:txBody>
          <a:bodyPr/>
          <a:lstStyle>
            <a:lvl1pPr marL="0" indent="0">
              <a:buNone/>
              <a:defRPr sz="900"/>
            </a:lvl1pPr>
          </a:lstStyle>
          <a:p>
            <a:r>
              <a:rPr lang="en-US"/>
              <a:t>Click icon to add picture</a:t>
            </a:r>
            <a:endParaRPr lang="en-RO"/>
          </a:p>
        </p:txBody>
      </p:sp>
      <p:sp>
        <p:nvSpPr>
          <p:cNvPr id="59" name="Text Placeholder 3">
            <a:extLst>
              <a:ext uri="{FF2B5EF4-FFF2-40B4-BE49-F238E27FC236}">
                <a16:creationId xmlns:a16="http://schemas.microsoft.com/office/drawing/2014/main" id="{98E312F7-CACE-A741-B384-2516A3915B0F}"/>
              </a:ext>
            </a:extLst>
          </p:cNvPr>
          <p:cNvSpPr>
            <a:spLocks noGrp="1"/>
          </p:cNvSpPr>
          <p:nvPr>
            <p:ph type="body" sz="quarter" idx="89" hasCustomPrompt="1"/>
          </p:nvPr>
        </p:nvSpPr>
        <p:spPr>
          <a:xfrm>
            <a:off x="442930" y="2724021"/>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60" name="Text Placeholder 3">
            <a:extLst>
              <a:ext uri="{FF2B5EF4-FFF2-40B4-BE49-F238E27FC236}">
                <a16:creationId xmlns:a16="http://schemas.microsoft.com/office/drawing/2014/main" id="{9131DBE4-91BF-7C47-938F-1ACA1F36C902}"/>
              </a:ext>
            </a:extLst>
          </p:cNvPr>
          <p:cNvSpPr>
            <a:spLocks noGrp="1"/>
          </p:cNvSpPr>
          <p:nvPr>
            <p:ph type="body" sz="quarter" idx="90" hasCustomPrompt="1"/>
          </p:nvPr>
        </p:nvSpPr>
        <p:spPr>
          <a:xfrm>
            <a:off x="442930" y="2900515"/>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61" name="Text Placeholder 3">
            <a:extLst>
              <a:ext uri="{FF2B5EF4-FFF2-40B4-BE49-F238E27FC236}">
                <a16:creationId xmlns:a16="http://schemas.microsoft.com/office/drawing/2014/main" id="{057AF479-A903-C14A-A31F-CCA84B03D3F4}"/>
              </a:ext>
            </a:extLst>
          </p:cNvPr>
          <p:cNvSpPr>
            <a:spLocks noGrp="1"/>
          </p:cNvSpPr>
          <p:nvPr>
            <p:ph type="body" sz="quarter" idx="91" hasCustomPrompt="1"/>
          </p:nvPr>
        </p:nvSpPr>
        <p:spPr>
          <a:xfrm>
            <a:off x="442930" y="3535167"/>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62" name="Text Placeholder 3">
            <a:extLst>
              <a:ext uri="{FF2B5EF4-FFF2-40B4-BE49-F238E27FC236}">
                <a16:creationId xmlns:a16="http://schemas.microsoft.com/office/drawing/2014/main" id="{392BFB2B-7823-764C-A48B-9E2092ED2CF8}"/>
              </a:ext>
            </a:extLst>
          </p:cNvPr>
          <p:cNvSpPr>
            <a:spLocks noGrp="1"/>
          </p:cNvSpPr>
          <p:nvPr>
            <p:ph type="body" sz="quarter" idx="92" hasCustomPrompt="1"/>
          </p:nvPr>
        </p:nvSpPr>
        <p:spPr>
          <a:xfrm>
            <a:off x="442930" y="3661233"/>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34" name="Date Placeholder 2">
            <a:extLst>
              <a:ext uri="{FF2B5EF4-FFF2-40B4-BE49-F238E27FC236}">
                <a16:creationId xmlns:a16="http://schemas.microsoft.com/office/drawing/2014/main" id="{A508ED61-1475-9549-9AC2-DE6A3761518A}"/>
              </a:ext>
            </a:extLst>
          </p:cNvPr>
          <p:cNvSpPr>
            <a:spLocks noGrp="1"/>
          </p:cNvSpPr>
          <p:nvPr>
            <p:ph type="dt" sz="half" idx="10"/>
          </p:nvPr>
        </p:nvSpPr>
        <p:spPr>
          <a:xfrm>
            <a:off x="324002" y="4972079"/>
            <a:ext cx="494319" cy="92455"/>
          </a:xfrm>
        </p:spPr>
        <p:txBody>
          <a:bodyPr/>
          <a:lstStyle/>
          <a:p>
            <a:fld id="{AF0935A8-1CC1-4E3D-B69B-7F4E6B663620}" type="datetime1">
              <a:rPr lang="de-DE" smtClean="0"/>
              <a:t>24.01.2024</a:t>
            </a:fld>
            <a:endParaRPr lang="en-US"/>
          </a:p>
        </p:txBody>
      </p:sp>
      <p:sp>
        <p:nvSpPr>
          <p:cNvPr id="39" name="Footer Placeholder 2">
            <a:extLst>
              <a:ext uri="{FF2B5EF4-FFF2-40B4-BE49-F238E27FC236}">
                <a16:creationId xmlns:a16="http://schemas.microsoft.com/office/drawing/2014/main" id="{1749DC97-C29C-6F46-9491-142978EFBCA5}"/>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40" name="Graphic 39">
            <a:extLst>
              <a:ext uri="{FF2B5EF4-FFF2-40B4-BE49-F238E27FC236}">
                <a16:creationId xmlns:a16="http://schemas.microsoft.com/office/drawing/2014/main" id="{DE449E4D-618E-754C-AFED-A484A03911E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43" name="Slide Number Placeholder 4">
            <a:extLst>
              <a:ext uri="{FF2B5EF4-FFF2-40B4-BE49-F238E27FC236}">
                <a16:creationId xmlns:a16="http://schemas.microsoft.com/office/drawing/2014/main" id="{DD3A4977-DB91-6243-B41E-C41AC83B9415}"/>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
        <p:nvSpPr>
          <p:cNvPr id="48" name="Text Placeholder 2">
            <a:extLst>
              <a:ext uri="{FF2B5EF4-FFF2-40B4-BE49-F238E27FC236}">
                <a16:creationId xmlns:a16="http://schemas.microsoft.com/office/drawing/2014/main" id="{4DC2C600-F284-C34F-BD34-83A0A3383006}"/>
              </a:ext>
            </a:extLst>
          </p:cNvPr>
          <p:cNvSpPr>
            <a:spLocks noGrp="1"/>
          </p:cNvSpPr>
          <p:nvPr>
            <p:ph type="body" sz="quarter" idx="79" hasCustomPrompt="1"/>
          </p:nvPr>
        </p:nvSpPr>
        <p:spPr>
          <a:xfrm>
            <a:off x="324000" y="1029129"/>
            <a:ext cx="3255381"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ontact persons</a:t>
            </a:r>
          </a:p>
        </p:txBody>
      </p:sp>
      <p:sp>
        <p:nvSpPr>
          <p:cNvPr id="35" name="Text Placeholder 4">
            <a:extLst>
              <a:ext uri="{FF2B5EF4-FFF2-40B4-BE49-F238E27FC236}">
                <a16:creationId xmlns:a16="http://schemas.microsoft.com/office/drawing/2014/main" id="{C8453F9E-A48F-3A47-B623-86B674A9C872}"/>
              </a:ext>
            </a:extLst>
          </p:cNvPr>
          <p:cNvSpPr>
            <a:spLocks noGrp="1"/>
          </p:cNvSpPr>
          <p:nvPr>
            <p:ph type="body" sz="quarter" idx="112" hasCustomPrompt="1"/>
          </p:nvPr>
        </p:nvSpPr>
        <p:spPr>
          <a:xfrm>
            <a:off x="7215117" y="2027790"/>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36" name="Text Placeholder 4">
            <a:extLst>
              <a:ext uri="{FF2B5EF4-FFF2-40B4-BE49-F238E27FC236}">
                <a16:creationId xmlns:a16="http://schemas.microsoft.com/office/drawing/2014/main" id="{8AB6E055-3BEE-C143-A5A9-C0747C59B64D}"/>
              </a:ext>
            </a:extLst>
          </p:cNvPr>
          <p:cNvSpPr>
            <a:spLocks noGrp="1"/>
          </p:cNvSpPr>
          <p:nvPr>
            <p:ph type="body" sz="quarter" idx="113" hasCustomPrompt="1"/>
          </p:nvPr>
        </p:nvSpPr>
        <p:spPr>
          <a:xfrm>
            <a:off x="7215117" y="2538397"/>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5" name="Textfeld 4">
            <a:extLst>
              <a:ext uri="{FF2B5EF4-FFF2-40B4-BE49-F238E27FC236}">
                <a16:creationId xmlns:a16="http://schemas.microsoft.com/office/drawing/2014/main" id="{C458A74E-8DC6-4248-95A5-7B49F95AAB00}"/>
              </a:ext>
            </a:extLst>
          </p:cNvPr>
          <p:cNvSpPr txBox="1"/>
          <p:nvPr userDrawn="1"/>
        </p:nvSpPr>
        <p:spPr>
          <a:xfrm>
            <a:off x="7215117" y="1310312"/>
            <a:ext cx="1610427" cy="200055"/>
          </a:xfrm>
          <a:prstGeom prst="rect">
            <a:avLst/>
          </a:prstGeom>
          <a:noFill/>
        </p:spPr>
        <p:txBody>
          <a:bodyPr wrap="square" lIns="0" rtlCol="0">
            <a:noAutofit/>
          </a:bodyPr>
          <a:lstStyle/>
          <a:p>
            <a:r>
              <a:rPr lang="en-US" sz="700">
                <a:solidFill>
                  <a:srgbClr val="3399FF"/>
                </a:solidFill>
              </a:rPr>
              <a:t>ADDRESS:</a:t>
            </a:r>
          </a:p>
        </p:txBody>
      </p:sp>
      <p:sp>
        <p:nvSpPr>
          <p:cNvPr id="42" name="Textfeld 41">
            <a:extLst>
              <a:ext uri="{FF2B5EF4-FFF2-40B4-BE49-F238E27FC236}">
                <a16:creationId xmlns:a16="http://schemas.microsoft.com/office/drawing/2014/main" id="{A93CA1AF-41D3-F943-A040-8DD3EFD76579}"/>
              </a:ext>
            </a:extLst>
          </p:cNvPr>
          <p:cNvSpPr txBox="1"/>
          <p:nvPr userDrawn="1"/>
        </p:nvSpPr>
        <p:spPr>
          <a:xfrm>
            <a:off x="7215281" y="3601232"/>
            <a:ext cx="1610427" cy="200055"/>
          </a:xfrm>
          <a:prstGeom prst="rect">
            <a:avLst/>
          </a:prstGeom>
          <a:noFill/>
        </p:spPr>
        <p:txBody>
          <a:bodyPr wrap="square" lIns="0" rtlCol="0">
            <a:noAutofit/>
          </a:bodyPr>
          <a:lstStyle/>
          <a:p>
            <a:r>
              <a:rPr lang="en-US" sz="700">
                <a:solidFill>
                  <a:srgbClr val="3399FF"/>
                </a:solidFill>
              </a:rPr>
              <a:t>WEBSITE:</a:t>
            </a:r>
          </a:p>
        </p:txBody>
      </p:sp>
      <p:sp>
        <p:nvSpPr>
          <p:cNvPr id="47" name="Textfeld 46">
            <a:extLst>
              <a:ext uri="{FF2B5EF4-FFF2-40B4-BE49-F238E27FC236}">
                <a16:creationId xmlns:a16="http://schemas.microsoft.com/office/drawing/2014/main" id="{D111BA77-2647-FB42-A87E-C89EBD4ACC8B}"/>
              </a:ext>
            </a:extLst>
          </p:cNvPr>
          <p:cNvSpPr txBox="1"/>
          <p:nvPr userDrawn="1"/>
        </p:nvSpPr>
        <p:spPr>
          <a:xfrm>
            <a:off x="7215281" y="3744636"/>
            <a:ext cx="1610427" cy="200055"/>
          </a:xfrm>
          <a:prstGeom prst="rect">
            <a:avLst/>
          </a:prstGeom>
          <a:noFill/>
        </p:spPr>
        <p:txBody>
          <a:bodyPr wrap="square" lIns="0" rtlCol="0">
            <a:noAutofit/>
          </a:bodyPr>
          <a:lstStyle/>
          <a:p>
            <a:r>
              <a:rPr lang="en-US" sz="751">
                <a:solidFill>
                  <a:schemeClr val="bg1"/>
                </a:solidFill>
              </a:rPr>
              <a:t>www.p3-group.com</a:t>
            </a:r>
          </a:p>
        </p:txBody>
      </p:sp>
      <p:sp>
        <p:nvSpPr>
          <p:cNvPr id="6" name="Textfeld 5">
            <a:extLst>
              <a:ext uri="{FF2B5EF4-FFF2-40B4-BE49-F238E27FC236}">
                <a16:creationId xmlns:a16="http://schemas.microsoft.com/office/drawing/2014/main" id="{A5629E6E-9519-8644-87A0-DF831C2FB3EC}"/>
              </a:ext>
            </a:extLst>
          </p:cNvPr>
          <p:cNvSpPr txBox="1"/>
          <p:nvPr userDrawn="1"/>
        </p:nvSpPr>
        <p:spPr>
          <a:xfrm>
            <a:off x="324000" y="4198588"/>
            <a:ext cx="677430" cy="200055"/>
          </a:xfrm>
          <a:prstGeom prst="rect">
            <a:avLst/>
          </a:prstGeom>
          <a:noFill/>
        </p:spPr>
        <p:txBody>
          <a:bodyPr wrap="none" lIns="0" rtlCol="0">
            <a:spAutoFit/>
          </a:bodyPr>
          <a:lstStyle/>
          <a:p>
            <a:r>
              <a:rPr lang="en-US" sz="700" spc="60" baseline="0">
                <a:solidFill>
                  <a:schemeClr val="accent3"/>
                </a:solidFill>
                <a:latin typeface="+mj-lt"/>
              </a:rPr>
              <a:t>DISCLAIMER</a:t>
            </a:r>
          </a:p>
        </p:txBody>
      </p:sp>
      <p:sp>
        <p:nvSpPr>
          <p:cNvPr id="7" name="Rechteck 6">
            <a:extLst>
              <a:ext uri="{FF2B5EF4-FFF2-40B4-BE49-F238E27FC236}">
                <a16:creationId xmlns:a16="http://schemas.microsoft.com/office/drawing/2014/main" id="{6AE37B20-46A1-E246-99E4-94E15C5B8727}"/>
              </a:ext>
            </a:extLst>
          </p:cNvPr>
          <p:cNvSpPr/>
          <p:nvPr userDrawn="1"/>
        </p:nvSpPr>
        <p:spPr>
          <a:xfrm>
            <a:off x="324001" y="4390005"/>
            <a:ext cx="6250971" cy="257058"/>
          </a:xfrm>
          <a:prstGeom prst="rect">
            <a:avLst/>
          </a:prstGeom>
        </p:spPr>
        <p:txBody>
          <a:bodyPr wrap="square" lIns="0">
            <a:noAutofit/>
          </a:bodyPr>
          <a:lstStyle/>
          <a:p>
            <a:pPr marL="4763" marR="1905" lvl="0" indent="0" algn="l" defTabSz="457159" rtl="0" eaLnBrk="1" fontAlgn="auto" latinLnBrk="0" hangingPunct="1">
              <a:lnSpc>
                <a:spcPct val="123700"/>
              </a:lnSpc>
              <a:spcBef>
                <a:spcPts val="37"/>
              </a:spcBef>
              <a:spcAft>
                <a:spcPts val="0"/>
              </a:spcAft>
              <a:buClrTx/>
              <a:buSzTx/>
              <a:buFontTx/>
              <a:buNone/>
              <a:tabLst/>
              <a:defRPr/>
            </a:pP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ll</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formatio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tain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herei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ol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No</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tellectual</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right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grant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by</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delivery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isclosur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 </a:t>
            </a:r>
            <a:r>
              <a:rPr kumimoji="0" lang="en-GB" sz="451" b="0" i="0" u="none" strike="noStrike" kern="1200" cap="none" spc="-7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reproduc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disclosed</a:t>
            </a:r>
            <a:r>
              <a:rPr kumimoji="0" lang="en-GB" sz="451" b="0" i="0" u="none" strike="noStrike" kern="1200" cap="none" spc="15"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to</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rd</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party</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ithout</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express</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ritten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s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a:t>
            </a:r>
            <a:r>
              <a:rPr kumimoji="0" lang="en-GB" sz="451" b="0" i="0" u="none" strike="noStrike" kern="1200" cap="none" spc="8" normalizeH="0" baseline="0" noProof="0">
                <a:ln>
                  <a:noFill/>
                </a:ln>
                <a:solidFill>
                  <a:srgbClr val="000000"/>
                </a:solidFill>
                <a:effectLst/>
                <a:uLnTx/>
                <a:uFillTx/>
                <a:latin typeface="Roboto Light" panose="02000000000000000000" pitchFamily="2" charset="0"/>
                <a:ea typeface="+mn-ea"/>
                <a:cs typeface="Maison Neue Light"/>
              </a:rPr>
              <a:t>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us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n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purpos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the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n</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hich</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i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upplied.</a:t>
            </a:r>
            <a:endParaRPr lang="en-RO" sz="451"/>
          </a:p>
        </p:txBody>
      </p:sp>
    </p:spTree>
    <p:extLst>
      <p:ext uri="{BB962C8B-B14F-4D97-AF65-F5344CB8AC3E}">
        <p14:creationId xmlns:p14="http://schemas.microsoft.com/office/powerpoint/2010/main" val="31439926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ntac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B2FC668-CB17-0443-B0CB-879A43EB2AC8}"/>
              </a:ext>
            </a:extLst>
          </p:cNvPr>
          <p:cNvSpPr/>
          <p:nvPr userDrawn="1"/>
        </p:nvSpPr>
        <p:spPr>
          <a:xfrm>
            <a:off x="322771" y="2603862"/>
            <a:ext cx="1857600" cy="127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hteck 36">
            <a:extLst>
              <a:ext uri="{FF2B5EF4-FFF2-40B4-BE49-F238E27FC236}">
                <a16:creationId xmlns:a16="http://schemas.microsoft.com/office/drawing/2014/main" id="{AE9CC3A1-589D-8B45-B1B3-63C21EFF948E}"/>
              </a:ext>
            </a:extLst>
          </p:cNvPr>
          <p:cNvSpPr/>
          <p:nvPr userDrawn="1"/>
        </p:nvSpPr>
        <p:spPr>
          <a:xfrm>
            <a:off x="2531684" y="2603862"/>
            <a:ext cx="1857600" cy="127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Rechteck 40">
            <a:extLst>
              <a:ext uri="{FF2B5EF4-FFF2-40B4-BE49-F238E27FC236}">
                <a16:creationId xmlns:a16="http://schemas.microsoft.com/office/drawing/2014/main" id="{C4A64578-E3FA-5742-8CC7-E11F777C8F5E}"/>
              </a:ext>
            </a:extLst>
          </p:cNvPr>
          <p:cNvSpPr/>
          <p:nvPr userDrawn="1"/>
        </p:nvSpPr>
        <p:spPr>
          <a:xfrm>
            <a:off x="4716223" y="2603862"/>
            <a:ext cx="1857600" cy="1270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Rectangle 37">
            <a:extLst>
              <a:ext uri="{FF2B5EF4-FFF2-40B4-BE49-F238E27FC236}">
                <a16:creationId xmlns:a16="http://schemas.microsoft.com/office/drawing/2014/main" id="{07BD2D6A-0B22-412B-A69A-26BF76B21F86}"/>
              </a:ext>
            </a:extLst>
          </p:cNvPr>
          <p:cNvSpPr/>
          <p:nvPr userDrawn="1"/>
        </p:nvSpPr>
        <p:spPr>
          <a:xfrm>
            <a:off x="6919629" y="0"/>
            <a:ext cx="2224371" cy="514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0" name="Text Placeholder 4"/>
          <p:cNvSpPr>
            <a:spLocks noGrp="1"/>
          </p:cNvSpPr>
          <p:nvPr>
            <p:ph type="body" sz="quarter" idx="59" hasCustomPrompt="1"/>
          </p:nvPr>
        </p:nvSpPr>
        <p:spPr>
          <a:xfrm>
            <a:off x="7215117" y="1517184"/>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24" name="Text Placeholder 4">
            <a:extLst>
              <a:ext uri="{FF2B5EF4-FFF2-40B4-BE49-F238E27FC236}">
                <a16:creationId xmlns:a16="http://schemas.microsoft.com/office/drawing/2014/main" id="{8C2E3C36-F45D-3940-BF1E-D589AC988926}"/>
              </a:ext>
            </a:extLst>
          </p:cNvPr>
          <p:cNvSpPr>
            <a:spLocks noGrp="1"/>
          </p:cNvSpPr>
          <p:nvPr>
            <p:ph type="body" sz="quarter" idx="77" hasCustomPrompt="1"/>
          </p:nvPr>
        </p:nvSpPr>
        <p:spPr>
          <a:xfrm>
            <a:off x="324000" y="569828"/>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Contact</a:t>
            </a:r>
          </a:p>
        </p:txBody>
      </p:sp>
      <p:sp>
        <p:nvSpPr>
          <p:cNvPr id="30" name="Text Placeholder 4">
            <a:extLst>
              <a:ext uri="{FF2B5EF4-FFF2-40B4-BE49-F238E27FC236}">
                <a16:creationId xmlns:a16="http://schemas.microsoft.com/office/drawing/2014/main" id="{A35144F1-1A1D-8C45-B58D-D68CDF0AE130}"/>
              </a:ext>
            </a:extLst>
          </p:cNvPr>
          <p:cNvSpPr>
            <a:spLocks noGrp="1"/>
          </p:cNvSpPr>
          <p:nvPr>
            <p:ph type="body" sz="quarter" idx="78" hasCustomPrompt="1"/>
          </p:nvPr>
        </p:nvSpPr>
        <p:spPr>
          <a:xfrm>
            <a:off x="324000" y="170008"/>
            <a:ext cx="579552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Company</a:t>
            </a:r>
          </a:p>
        </p:txBody>
      </p:sp>
      <p:sp>
        <p:nvSpPr>
          <p:cNvPr id="19" name="Picture Placeholder 18">
            <a:extLst>
              <a:ext uri="{FF2B5EF4-FFF2-40B4-BE49-F238E27FC236}">
                <a16:creationId xmlns:a16="http://schemas.microsoft.com/office/drawing/2014/main" id="{80E65E04-521E-B047-A6DA-653B411EFC55}"/>
              </a:ext>
            </a:extLst>
          </p:cNvPr>
          <p:cNvSpPr>
            <a:spLocks noGrp="1"/>
          </p:cNvSpPr>
          <p:nvPr>
            <p:ph type="pic" sz="quarter" idx="83"/>
          </p:nvPr>
        </p:nvSpPr>
        <p:spPr>
          <a:xfrm>
            <a:off x="2532913" y="1354726"/>
            <a:ext cx="1856371" cy="1254845"/>
          </a:xfrm>
          <a:prstGeom prst="rect">
            <a:avLst/>
          </a:prstGeom>
        </p:spPr>
        <p:txBody>
          <a:bodyPr/>
          <a:lstStyle>
            <a:lvl1pPr marL="0" indent="0">
              <a:buNone/>
              <a:defRPr sz="900"/>
            </a:lvl1pPr>
          </a:lstStyle>
          <a:p>
            <a:r>
              <a:rPr lang="en-US"/>
              <a:t>Click icon to add picture</a:t>
            </a:r>
            <a:endParaRPr lang="en-RO"/>
          </a:p>
        </p:txBody>
      </p:sp>
      <p:sp>
        <p:nvSpPr>
          <p:cNvPr id="53" name="Text Placeholder 3">
            <a:extLst>
              <a:ext uri="{FF2B5EF4-FFF2-40B4-BE49-F238E27FC236}">
                <a16:creationId xmlns:a16="http://schemas.microsoft.com/office/drawing/2014/main" id="{BB94DFDB-D795-0B48-8E3D-05B7CD8204C4}"/>
              </a:ext>
            </a:extLst>
          </p:cNvPr>
          <p:cNvSpPr>
            <a:spLocks noGrp="1"/>
          </p:cNvSpPr>
          <p:nvPr>
            <p:ph type="body" sz="quarter" idx="84" hasCustomPrompt="1"/>
          </p:nvPr>
        </p:nvSpPr>
        <p:spPr>
          <a:xfrm>
            <a:off x="2638257" y="2729896"/>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54" name="Text Placeholder 3">
            <a:extLst>
              <a:ext uri="{FF2B5EF4-FFF2-40B4-BE49-F238E27FC236}">
                <a16:creationId xmlns:a16="http://schemas.microsoft.com/office/drawing/2014/main" id="{8392E237-D476-744A-BA09-148CA9569825}"/>
              </a:ext>
            </a:extLst>
          </p:cNvPr>
          <p:cNvSpPr>
            <a:spLocks noGrp="1"/>
          </p:cNvSpPr>
          <p:nvPr>
            <p:ph type="body" sz="quarter" idx="85" hasCustomPrompt="1"/>
          </p:nvPr>
        </p:nvSpPr>
        <p:spPr>
          <a:xfrm>
            <a:off x="2638257" y="2906390"/>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55" name="Text Placeholder 3">
            <a:extLst>
              <a:ext uri="{FF2B5EF4-FFF2-40B4-BE49-F238E27FC236}">
                <a16:creationId xmlns:a16="http://schemas.microsoft.com/office/drawing/2014/main" id="{230A38FD-4501-4542-AD61-D18E4EC61E46}"/>
              </a:ext>
            </a:extLst>
          </p:cNvPr>
          <p:cNvSpPr>
            <a:spLocks noGrp="1"/>
          </p:cNvSpPr>
          <p:nvPr>
            <p:ph type="body" sz="quarter" idx="86" hasCustomPrompt="1"/>
          </p:nvPr>
        </p:nvSpPr>
        <p:spPr>
          <a:xfrm>
            <a:off x="2638257" y="3541042"/>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56" name="Text Placeholder 3">
            <a:extLst>
              <a:ext uri="{FF2B5EF4-FFF2-40B4-BE49-F238E27FC236}">
                <a16:creationId xmlns:a16="http://schemas.microsoft.com/office/drawing/2014/main" id="{A6BF194F-EA57-CE47-8B02-205E06D1439A}"/>
              </a:ext>
            </a:extLst>
          </p:cNvPr>
          <p:cNvSpPr>
            <a:spLocks noGrp="1"/>
          </p:cNvSpPr>
          <p:nvPr>
            <p:ph type="body" sz="quarter" idx="87" hasCustomPrompt="1"/>
          </p:nvPr>
        </p:nvSpPr>
        <p:spPr>
          <a:xfrm>
            <a:off x="2638257" y="3667108"/>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58" name="Picture Placeholder 18">
            <a:extLst>
              <a:ext uri="{FF2B5EF4-FFF2-40B4-BE49-F238E27FC236}">
                <a16:creationId xmlns:a16="http://schemas.microsoft.com/office/drawing/2014/main" id="{E5B832A6-C242-7D48-A06E-D0943FD04A62}"/>
              </a:ext>
            </a:extLst>
          </p:cNvPr>
          <p:cNvSpPr>
            <a:spLocks noGrp="1"/>
          </p:cNvSpPr>
          <p:nvPr>
            <p:ph type="pic" sz="quarter" idx="88"/>
          </p:nvPr>
        </p:nvSpPr>
        <p:spPr>
          <a:xfrm>
            <a:off x="324000" y="1348851"/>
            <a:ext cx="1856371" cy="1254845"/>
          </a:xfrm>
          <a:prstGeom prst="rect">
            <a:avLst/>
          </a:prstGeom>
        </p:spPr>
        <p:txBody>
          <a:bodyPr/>
          <a:lstStyle>
            <a:lvl1pPr marL="0" indent="0">
              <a:buNone/>
              <a:defRPr sz="900"/>
            </a:lvl1pPr>
          </a:lstStyle>
          <a:p>
            <a:r>
              <a:rPr lang="en-US"/>
              <a:t>Click icon to add picture</a:t>
            </a:r>
            <a:endParaRPr lang="en-RO"/>
          </a:p>
        </p:txBody>
      </p:sp>
      <p:sp>
        <p:nvSpPr>
          <p:cNvPr id="59" name="Text Placeholder 3">
            <a:extLst>
              <a:ext uri="{FF2B5EF4-FFF2-40B4-BE49-F238E27FC236}">
                <a16:creationId xmlns:a16="http://schemas.microsoft.com/office/drawing/2014/main" id="{98E312F7-CACE-A741-B384-2516A3915B0F}"/>
              </a:ext>
            </a:extLst>
          </p:cNvPr>
          <p:cNvSpPr>
            <a:spLocks noGrp="1"/>
          </p:cNvSpPr>
          <p:nvPr>
            <p:ph type="body" sz="quarter" idx="89" hasCustomPrompt="1"/>
          </p:nvPr>
        </p:nvSpPr>
        <p:spPr>
          <a:xfrm>
            <a:off x="442930" y="2724021"/>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60" name="Text Placeholder 3">
            <a:extLst>
              <a:ext uri="{FF2B5EF4-FFF2-40B4-BE49-F238E27FC236}">
                <a16:creationId xmlns:a16="http://schemas.microsoft.com/office/drawing/2014/main" id="{9131DBE4-91BF-7C47-938F-1ACA1F36C902}"/>
              </a:ext>
            </a:extLst>
          </p:cNvPr>
          <p:cNvSpPr>
            <a:spLocks noGrp="1"/>
          </p:cNvSpPr>
          <p:nvPr>
            <p:ph type="body" sz="quarter" idx="90" hasCustomPrompt="1"/>
          </p:nvPr>
        </p:nvSpPr>
        <p:spPr>
          <a:xfrm>
            <a:off x="442930" y="2900515"/>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61" name="Text Placeholder 3">
            <a:extLst>
              <a:ext uri="{FF2B5EF4-FFF2-40B4-BE49-F238E27FC236}">
                <a16:creationId xmlns:a16="http://schemas.microsoft.com/office/drawing/2014/main" id="{057AF479-A903-C14A-A31F-CCA84B03D3F4}"/>
              </a:ext>
            </a:extLst>
          </p:cNvPr>
          <p:cNvSpPr>
            <a:spLocks noGrp="1"/>
          </p:cNvSpPr>
          <p:nvPr>
            <p:ph type="body" sz="quarter" idx="91" hasCustomPrompt="1"/>
          </p:nvPr>
        </p:nvSpPr>
        <p:spPr>
          <a:xfrm>
            <a:off x="442930" y="3535167"/>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62" name="Text Placeholder 3">
            <a:extLst>
              <a:ext uri="{FF2B5EF4-FFF2-40B4-BE49-F238E27FC236}">
                <a16:creationId xmlns:a16="http://schemas.microsoft.com/office/drawing/2014/main" id="{392BFB2B-7823-764C-A48B-9E2092ED2CF8}"/>
              </a:ext>
            </a:extLst>
          </p:cNvPr>
          <p:cNvSpPr>
            <a:spLocks noGrp="1"/>
          </p:cNvSpPr>
          <p:nvPr>
            <p:ph type="body" sz="quarter" idx="92" hasCustomPrompt="1"/>
          </p:nvPr>
        </p:nvSpPr>
        <p:spPr>
          <a:xfrm>
            <a:off x="442930" y="3661233"/>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70" name="Picture Placeholder 18">
            <a:extLst>
              <a:ext uri="{FF2B5EF4-FFF2-40B4-BE49-F238E27FC236}">
                <a16:creationId xmlns:a16="http://schemas.microsoft.com/office/drawing/2014/main" id="{9655DF52-D435-4840-AC73-A557942380D4}"/>
              </a:ext>
            </a:extLst>
          </p:cNvPr>
          <p:cNvSpPr>
            <a:spLocks noGrp="1"/>
          </p:cNvSpPr>
          <p:nvPr>
            <p:ph type="pic" sz="quarter" idx="98"/>
          </p:nvPr>
        </p:nvSpPr>
        <p:spPr>
          <a:xfrm>
            <a:off x="4717453" y="1360601"/>
            <a:ext cx="1856371" cy="1254845"/>
          </a:xfrm>
          <a:prstGeom prst="rect">
            <a:avLst/>
          </a:prstGeom>
        </p:spPr>
        <p:txBody>
          <a:bodyPr/>
          <a:lstStyle>
            <a:lvl1pPr marL="0" indent="0">
              <a:buNone/>
              <a:defRPr sz="900"/>
            </a:lvl1pPr>
          </a:lstStyle>
          <a:p>
            <a:r>
              <a:rPr lang="en-US"/>
              <a:t>Click icon to add picture</a:t>
            </a:r>
            <a:endParaRPr lang="en-RO"/>
          </a:p>
        </p:txBody>
      </p:sp>
      <p:sp>
        <p:nvSpPr>
          <p:cNvPr id="71" name="Text Placeholder 3">
            <a:extLst>
              <a:ext uri="{FF2B5EF4-FFF2-40B4-BE49-F238E27FC236}">
                <a16:creationId xmlns:a16="http://schemas.microsoft.com/office/drawing/2014/main" id="{CDB0CDDC-289D-624A-AF1E-26C48CA2B3B6}"/>
              </a:ext>
            </a:extLst>
          </p:cNvPr>
          <p:cNvSpPr>
            <a:spLocks noGrp="1"/>
          </p:cNvSpPr>
          <p:nvPr>
            <p:ph type="body" sz="quarter" idx="99" hasCustomPrompt="1"/>
          </p:nvPr>
        </p:nvSpPr>
        <p:spPr>
          <a:xfrm>
            <a:off x="4822796" y="2735771"/>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72" name="Text Placeholder 3">
            <a:extLst>
              <a:ext uri="{FF2B5EF4-FFF2-40B4-BE49-F238E27FC236}">
                <a16:creationId xmlns:a16="http://schemas.microsoft.com/office/drawing/2014/main" id="{7793A527-18FE-5549-9561-D652A5680394}"/>
              </a:ext>
            </a:extLst>
          </p:cNvPr>
          <p:cNvSpPr>
            <a:spLocks noGrp="1"/>
          </p:cNvSpPr>
          <p:nvPr>
            <p:ph type="body" sz="quarter" idx="100" hasCustomPrompt="1"/>
          </p:nvPr>
        </p:nvSpPr>
        <p:spPr>
          <a:xfrm>
            <a:off x="4822796" y="2912265"/>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73" name="Text Placeholder 3">
            <a:extLst>
              <a:ext uri="{FF2B5EF4-FFF2-40B4-BE49-F238E27FC236}">
                <a16:creationId xmlns:a16="http://schemas.microsoft.com/office/drawing/2014/main" id="{5A715DC3-39E7-764C-99B9-F796A312477C}"/>
              </a:ext>
            </a:extLst>
          </p:cNvPr>
          <p:cNvSpPr>
            <a:spLocks noGrp="1"/>
          </p:cNvSpPr>
          <p:nvPr>
            <p:ph type="body" sz="quarter" idx="101" hasCustomPrompt="1"/>
          </p:nvPr>
        </p:nvSpPr>
        <p:spPr>
          <a:xfrm>
            <a:off x="4822796" y="3546918"/>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74" name="Text Placeholder 3">
            <a:extLst>
              <a:ext uri="{FF2B5EF4-FFF2-40B4-BE49-F238E27FC236}">
                <a16:creationId xmlns:a16="http://schemas.microsoft.com/office/drawing/2014/main" id="{256BAF67-B4A7-5740-9617-DBC6F1D938C0}"/>
              </a:ext>
            </a:extLst>
          </p:cNvPr>
          <p:cNvSpPr>
            <a:spLocks noGrp="1"/>
          </p:cNvSpPr>
          <p:nvPr>
            <p:ph type="body" sz="quarter" idx="102" hasCustomPrompt="1"/>
          </p:nvPr>
        </p:nvSpPr>
        <p:spPr>
          <a:xfrm>
            <a:off x="4822796" y="3672984"/>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34" name="Date Placeholder 2">
            <a:extLst>
              <a:ext uri="{FF2B5EF4-FFF2-40B4-BE49-F238E27FC236}">
                <a16:creationId xmlns:a16="http://schemas.microsoft.com/office/drawing/2014/main" id="{A508ED61-1475-9549-9AC2-DE6A3761518A}"/>
              </a:ext>
            </a:extLst>
          </p:cNvPr>
          <p:cNvSpPr>
            <a:spLocks noGrp="1"/>
          </p:cNvSpPr>
          <p:nvPr>
            <p:ph type="dt" sz="half" idx="10"/>
          </p:nvPr>
        </p:nvSpPr>
        <p:spPr>
          <a:xfrm>
            <a:off x="324002" y="4972079"/>
            <a:ext cx="494319" cy="92455"/>
          </a:xfrm>
        </p:spPr>
        <p:txBody>
          <a:bodyPr/>
          <a:lstStyle/>
          <a:p>
            <a:fld id="{8074EB52-BB57-40EA-B577-933C73F90689}" type="datetime1">
              <a:rPr lang="de-DE" smtClean="0"/>
              <a:t>24.01.2024</a:t>
            </a:fld>
            <a:endParaRPr lang="en-US"/>
          </a:p>
        </p:txBody>
      </p:sp>
      <p:sp>
        <p:nvSpPr>
          <p:cNvPr id="39" name="Footer Placeholder 2">
            <a:extLst>
              <a:ext uri="{FF2B5EF4-FFF2-40B4-BE49-F238E27FC236}">
                <a16:creationId xmlns:a16="http://schemas.microsoft.com/office/drawing/2014/main" id="{1749DC97-C29C-6F46-9491-142978EFBCA5}"/>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40" name="Graphic 39">
            <a:extLst>
              <a:ext uri="{FF2B5EF4-FFF2-40B4-BE49-F238E27FC236}">
                <a16:creationId xmlns:a16="http://schemas.microsoft.com/office/drawing/2014/main" id="{DE449E4D-618E-754C-AFED-A484A03911E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43" name="Slide Number Placeholder 4">
            <a:extLst>
              <a:ext uri="{FF2B5EF4-FFF2-40B4-BE49-F238E27FC236}">
                <a16:creationId xmlns:a16="http://schemas.microsoft.com/office/drawing/2014/main" id="{DD3A4977-DB91-6243-B41E-C41AC83B9415}"/>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
        <p:nvSpPr>
          <p:cNvPr id="48" name="Text Placeholder 2">
            <a:extLst>
              <a:ext uri="{FF2B5EF4-FFF2-40B4-BE49-F238E27FC236}">
                <a16:creationId xmlns:a16="http://schemas.microsoft.com/office/drawing/2014/main" id="{4DC2C600-F284-C34F-BD34-83A0A3383006}"/>
              </a:ext>
            </a:extLst>
          </p:cNvPr>
          <p:cNvSpPr>
            <a:spLocks noGrp="1"/>
          </p:cNvSpPr>
          <p:nvPr>
            <p:ph type="body" sz="quarter" idx="79" hasCustomPrompt="1"/>
          </p:nvPr>
        </p:nvSpPr>
        <p:spPr>
          <a:xfrm>
            <a:off x="324000" y="1029129"/>
            <a:ext cx="3255381"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ontact persons</a:t>
            </a:r>
          </a:p>
        </p:txBody>
      </p:sp>
      <p:sp>
        <p:nvSpPr>
          <p:cNvPr id="35" name="Text Placeholder 4">
            <a:extLst>
              <a:ext uri="{FF2B5EF4-FFF2-40B4-BE49-F238E27FC236}">
                <a16:creationId xmlns:a16="http://schemas.microsoft.com/office/drawing/2014/main" id="{C8453F9E-A48F-3A47-B623-86B674A9C872}"/>
              </a:ext>
            </a:extLst>
          </p:cNvPr>
          <p:cNvSpPr>
            <a:spLocks noGrp="1"/>
          </p:cNvSpPr>
          <p:nvPr>
            <p:ph type="body" sz="quarter" idx="112" hasCustomPrompt="1"/>
          </p:nvPr>
        </p:nvSpPr>
        <p:spPr>
          <a:xfrm>
            <a:off x="7215117" y="2027790"/>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36" name="Text Placeholder 4">
            <a:extLst>
              <a:ext uri="{FF2B5EF4-FFF2-40B4-BE49-F238E27FC236}">
                <a16:creationId xmlns:a16="http://schemas.microsoft.com/office/drawing/2014/main" id="{8AB6E055-3BEE-C143-A5A9-C0747C59B64D}"/>
              </a:ext>
            </a:extLst>
          </p:cNvPr>
          <p:cNvSpPr>
            <a:spLocks noGrp="1"/>
          </p:cNvSpPr>
          <p:nvPr>
            <p:ph type="body" sz="quarter" idx="113" hasCustomPrompt="1"/>
          </p:nvPr>
        </p:nvSpPr>
        <p:spPr>
          <a:xfrm>
            <a:off x="7215117" y="2538397"/>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5" name="Textfeld 4">
            <a:extLst>
              <a:ext uri="{FF2B5EF4-FFF2-40B4-BE49-F238E27FC236}">
                <a16:creationId xmlns:a16="http://schemas.microsoft.com/office/drawing/2014/main" id="{C458A74E-8DC6-4248-95A5-7B49F95AAB00}"/>
              </a:ext>
            </a:extLst>
          </p:cNvPr>
          <p:cNvSpPr txBox="1"/>
          <p:nvPr userDrawn="1"/>
        </p:nvSpPr>
        <p:spPr>
          <a:xfrm>
            <a:off x="7215117" y="1310312"/>
            <a:ext cx="1610427" cy="200055"/>
          </a:xfrm>
          <a:prstGeom prst="rect">
            <a:avLst/>
          </a:prstGeom>
          <a:noFill/>
        </p:spPr>
        <p:txBody>
          <a:bodyPr wrap="square" lIns="0" rtlCol="0">
            <a:noAutofit/>
          </a:bodyPr>
          <a:lstStyle/>
          <a:p>
            <a:r>
              <a:rPr lang="en-US" sz="700">
                <a:solidFill>
                  <a:srgbClr val="3399FF"/>
                </a:solidFill>
              </a:rPr>
              <a:t>ADDRESS:</a:t>
            </a:r>
          </a:p>
        </p:txBody>
      </p:sp>
      <p:sp>
        <p:nvSpPr>
          <p:cNvPr id="42" name="Textfeld 41">
            <a:extLst>
              <a:ext uri="{FF2B5EF4-FFF2-40B4-BE49-F238E27FC236}">
                <a16:creationId xmlns:a16="http://schemas.microsoft.com/office/drawing/2014/main" id="{A93CA1AF-41D3-F943-A040-8DD3EFD76579}"/>
              </a:ext>
            </a:extLst>
          </p:cNvPr>
          <p:cNvSpPr txBox="1"/>
          <p:nvPr userDrawn="1"/>
        </p:nvSpPr>
        <p:spPr>
          <a:xfrm>
            <a:off x="7215281" y="3601232"/>
            <a:ext cx="1610427" cy="200055"/>
          </a:xfrm>
          <a:prstGeom prst="rect">
            <a:avLst/>
          </a:prstGeom>
          <a:noFill/>
        </p:spPr>
        <p:txBody>
          <a:bodyPr wrap="square" lIns="0" rtlCol="0">
            <a:noAutofit/>
          </a:bodyPr>
          <a:lstStyle/>
          <a:p>
            <a:r>
              <a:rPr lang="en-US" sz="700">
                <a:solidFill>
                  <a:srgbClr val="3399FF"/>
                </a:solidFill>
              </a:rPr>
              <a:t>WEBSITE:</a:t>
            </a:r>
          </a:p>
        </p:txBody>
      </p:sp>
      <p:sp>
        <p:nvSpPr>
          <p:cNvPr id="47" name="Textfeld 46">
            <a:extLst>
              <a:ext uri="{FF2B5EF4-FFF2-40B4-BE49-F238E27FC236}">
                <a16:creationId xmlns:a16="http://schemas.microsoft.com/office/drawing/2014/main" id="{D111BA77-2647-FB42-A87E-C89EBD4ACC8B}"/>
              </a:ext>
            </a:extLst>
          </p:cNvPr>
          <p:cNvSpPr txBox="1"/>
          <p:nvPr userDrawn="1"/>
        </p:nvSpPr>
        <p:spPr>
          <a:xfrm>
            <a:off x="7215281" y="3744636"/>
            <a:ext cx="1610427" cy="200055"/>
          </a:xfrm>
          <a:prstGeom prst="rect">
            <a:avLst/>
          </a:prstGeom>
          <a:noFill/>
        </p:spPr>
        <p:txBody>
          <a:bodyPr wrap="square" lIns="0" rtlCol="0">
            <a:noAutofit/>
          </a:bodyPr>
          <a:lstStyle/>
          <a:p>
            <a:r>
              <a:rPr lang="en-US" sz="751">
                <a:solidFill>
                  <a:schemeClr val="bg1"/>
                </a:solidFill>
              </a:rPr>
              <a:t>www.p3-group.com</a:t>
            </a:r>
          </a:p>
        </p:txBody>
      </p:sp>
      <p:sp>
        <p:nvSpPr>
          <p:cNvPr id="6" name="Textfeld 5">
            <a:extLst>
              <a:ext uri="{FF2B5EF4-FFF2-40B4-BE49-F238E27FC236}">
                <a16:creationId xmlns:a16="http://schemas.microsoft.com/office/drawing/2014/main" id="{A5629E6E-9519-8644-87A0-DF831C2FB3EC}"/>
              </a:ext>
            </a:extLst>
          </p:cNvPr>
          <p:cNvSpPr txBox="1"/>
          <p:nvPr userDrawn="1"/>
        </p:nvSpPr>
        <p:spPr>
          <a:xfrm>
            <a:off x="324000" y="4198588"/>
            <a:ext cx="677430" cy="200055"/>
          </a:xfrm>
          <a:prstGeom prst="rect">
            <a:avLst/>
          </a:prstGeom>
          <a:noFill/>
        </p:spPr>
        <p:txBody>
          <a:bodyPr wrap="none" lIns="0" rtlCol="0">
            <a:spAutoFit/>
          </a:bodyPr>
          <a:lstStyle/>
          <a:p>
            <a:r>
              <a:rPr lang="en-US" sz="700" spc="60" baseline="0">
                <a:solidFill>
                  <a:schemeClr val="accent3"/>
                </a:solidFill>
                <a:latin typeface="+mj-lt"/>
              </a:rPr>
              <a:t>DISCLAIMER</a:t>
            </a:r>
          </a:p>
        </p:txBody>
      </p:sp>
      <p:sp>
        <p:nvSpPr>
          <p:cNvPr id="7" name="Rechteck 6">
            <a:extLst>
              <a:ext uri="{FF2B5EF4-FFF2-40B4-BE49-F238E27FC236}">
                <a16:creationId xmlns:a16="http://schemas.microsoft.com/office/drawing/2014/main" id="{6AE37B20-46A1-E246-99E4-94E15C5B8727}"/>
              </a:ext>
            </a:extLst>
          </p:cNvPr>
          <p:cNvSpPr/>
          <p:nvPr userDrawn="1"/>
        </p:nvSpPr>
        <p:spPr>
          <a:xfrm>
            <a:off x="324001" y="4390005"/>
            <a:ext cx="6250971" cy="257058"/>
          </a:xfrm>
          <a:prstGeom prst="rect">
            <a:avLst/>
          </a:prstGeom>
        </p:spPr>
        <p:txBody>
          <a:bodyPr wrap="square" lIns="0">
            <a:noAutofit/>
          </a:bodyPr>
          <a:lstStyle/>
          <a:p>
            <a:pPr marL="4763" marR="1905" lvl="0" indent="0" algn="l" defTabSz="457159" rtl="0" eaLnBrk="1" fontAlgn="auto" latinLnBrk="0" hangingPunct="1">
              <a:lnSpc>
                <a:spcPct val="123700"/>
              </a:lnSpc>
              <a:spcBef>
                <a:spcPts val="37"/>
              </a:spcBef>
              <a:spcAft>
                <a:spcPts val="0"/>
              </a:spcAft>
              <a:buClrTx/>
              <a:buSzTx/>
              <a:buFontTx/>
              <a:buNone/>
              <a:tabLst/>
              <a:defRPr/>
            </a:pP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ll</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formatio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tain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herei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ol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No</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tellectual</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right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grant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by</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delivery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isclosur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 </a:t>
            </a:r>
            <a:r>
              <a:rPr kumimoji="0" lang="en-GB" sz="451" b="0" i="0" u="none" strike="noStrike" kern="1200" cap="none" spc="-7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reproduc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disclosed</a:t>
            </a:r>
            <a:r>
              <a:rPr kumimoji="0" lang="en-GB" sz="451" b="0" i="0" u="none" strike="noStrike" kern="1200" cap="none" spc="15"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to</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rd</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party</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ithout</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express</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ritten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s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a:t>
            </a:r>
            <a:r>
              <a:rPr kumimoji="0" lang="en-GB" sz="451" b="0" i="0" u="none" strike="noStrike" kern="1200" cap="none" spc="8" normalizeH="0" baseline="0" noProof="0">
                <a:ln>
                  <a:noFill/>
                </a:ln>
                <a:solidFill>
                  <a:srgbClr val="000000"/>
                </a:solidFill>
                <a:effectLst/>
                <a:uLnTx/>
                <a:uFillTx/>
                <a:latin typeface="Roboto Light" panose="02000000000000000000" pitchFamily="2" charset="0"/>
                <a:ea typeface="+mn-ea"/>
                <a:cs typeface="Maison Neue Light"/>
              </a:rPr>
              <a:t>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us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n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purpos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the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n</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hich</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i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upplied.</a:t>
            </a:r>
            <a:endParaRPr lang="en-RO" sz="451"/>
          </a:p>
        </p:txBody>
      </p:sp>
    </p:spTree>
    <p:extLst>
      <p:ext uri="{BB962C8B-B14F-4D97-AF65-F5344CB8AC3E}">
        <p14:creationId xmlns:p14="http://schemas.microsoft.com/office/powerpoint/2010/main" val="937733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asic">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2E38D53-B9C2-8C4D-9B4D-2DCA657FC538}"/>
              </a:ext>
            </a:extLst>
          </p:cNvPr>
          <p:cNvSpPr>
            <a:spLocks noGrp="1"/>
          </p:cNvSpPr>
          <p:nvPr>
            <p:ph type="dt" sz="half" idx="10"/>
          </p:nvPr>
        </p:nvSpPr>
        <p:spPr>
          <a:xfrm>
            <a:off x="323851" y="4972079"/>
            <a:ext cx="494319" cy="92455"/>
          </a:xfrm>
        </p:spPr>
        <p:txBody>
          <a:bodyPr/>
          <a:lstStyle/>
          <a:p>
            <a:fld id="{84D1173E-85D8-47CC-8D62-4B7A6BA0AB67}" type="datetime1">
              <a:rPr lang="de-DE" smtClean="0"/>
              <a:t>24.01.2024</a:t>
            </a:fld>
            <a:endParaRPr lang="en-US"/>
          </a:p>
        </p:txBody>
      </p:sp>
      <p:sp>
        <p:nvSpPr>
          <p:cNvPr id="4" name="Footer Placeholder 3">
            <a:extLst>
              <a:ext uri="{FF2B5EF4-FFF2-40B4-BE49-F238E27FC236}">
                <a16:creationId xmlns:a16="http://schemas.microsoft.com/office/drawing/2014/main" id="{3BE681BA-592A-5047-9AD9-7EA40D099B0A}"/>
              </a:ext>
            </a:extLst>
          </p:cNvPr>
          <p:cNvSpPr>
            <a:spLocks noGrp="1"/>
          </p:cNvSpPr>
          <p:nvPr>
            <p:ph type="ftr" sz="quarter" idx="11"/>
          </p:nvPr>
        </p:nvSpPr>
        <p:spPr>
          <a:xfrm>
            <a:off x="2424056" y="4972079"/>
            <a:ext cx="4295888" cy="92455"/>
          </a:xfrm>
        </p:spPr>
        <p:txBody>
          <a:bodyPr/>
          <a:lstStyle/>
          <a:p>
            <a:pPr marL="4763" algn="ctr">
              <a:spcBef>
                <a:spcPts val="51"/>
              </a:spcBef>
            </a:pPr>
            <a:r>
              <a:rPr lang="en-US" spc="7"/>
              <a:t>P3 | Master Thesis Update | Arav Barot</a:t>
            </a:r>
            <a:endParaRPr lang="en-US" spc="-7"/>
          </a:p>
        </p:txBody>
      </p:sp>
      <p:sp>
        <p:nvSpPr>
          <p:cNvPr id="5" name="Slide Number Placeholder 4">
            <a:extLst>
              <a:ext uri="{FF2B5EF4-FFF2-40B4-BE49-F238E27FC236}">
                <a16:creationId xmlns:a16="http://schemas.microsoft.com/office/drawing/2014/main" id="{F3A1D6D2-74E2-CD43-A62B-E74FF4DF68FF}"/>
              </a:ext>
            </a:extLst>
          </p:cNvPr>
          <p:cNvSpPr>
            <a:spLocks noGrp="1"/>
          </p:cNvSpPr>
          <p:nvPr>
            <p:ph type="sldNum" sz="quarter" idx="12"/>
          </p:nvPr>
        </p:nvSpPr>
        <p:spPr>
          <a:xfrm>
            <a:off x="8482628" y="4972079"/>
            <a:ext cx="337523" cy="92455"/>
          </a:xfrm>
        </p:spPr>
        <p:txBody>
          <a:bodyPr/>
          <a:lstStyle/>
          <a:p>
            <a:pPr algn="r"/>
            <a:fld id="{B6F15528-21DE-4FAA-801E-634DDDAF4B2B}" type="slidenum">
              <a:rPr lang="en-RO" smtClean="0"/>
              <a:pPr algn="r"/>
              <a:t>‹#›</a:t>
            </a:fld>
            <a:endParaRPr lang="en-RO"/>
          </a:p>
        </p:txBody>
      </p:sp>
      <p:sp>
        <p:nvSpPr>
          <p:cNvPr id="16" name="Text Placeholder 14">
            <a:extLst>
              <a:ext uri="{FF2B5EF4-FFF2-40B4-BE49-F238E27FC236}">
                <a16:creationId xmlns:a16="http://schemas.microsoft.com/office/drawing/2014/main" id="{1A4AA961-EEC0-B242-A2EB-258EC808F765}"/>
              </a:ext>
            </a:extLst>
          </p:cNvPr>
          <p:cNvSpPr>
            <a:spLocks noGrp="1"/>
          </p:cNvSpPr>
          <p:nvPr>
            <p:ph idx="1"/>
          </p:nvPr>
        </p:nvSpPr>
        <p:spPr>
          <a:xfrm>
            <a:off x="323851" y="884041"/>
            <a:ext cx="8496299" cy="3748683"/>
          </a:xfrm>
          <a:prstGeom prst="rect">
            <a:avLst/>
          </a:prstGeom>
        </p:spPr>
        <p:txBody>
          <a:bodyPr vert="horz" lIns="0" tIns="45720" rIns="91440" bIns="45720" rtlCol="0">
            <a:normAutofit/>
          </a:bodyPr>
          <a:lstStyle>
            <a:lvl1pPr marL="89998" indent="-89998">
              <a:defRPr/>
            </a:lvl1pPr>
            <a:lvl2pPr indent="-89998">
              <a:defRPr/>
            </a:lvl2pPr>
            <a:lvl3pPr indent="-89998">
              <a:defRPr/>
            </a:lvl3pPr>
            <a:lvl4pPr indent="-89998">
              <a:defRPr/>
            </a:lvl4pPr>
            <a:lvl5pPr indent="-8999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8" name="Text Placeholder 4">
            <a:extLst>
              <a:ext uri="{FF2B5EF4-FFF2-40B4-BE49-F238E27FC236}">
                <a16:creationId xmlns:a16="http://schemas.microsoft.com/office/drawing/2014/main" id="{1601C9F1-E284-0545-8320-360C4DB5B7C5}"/>
              </a:ext>
            </a:extLst>
          </p:cNvPr>
          <p:cNvSpPr>
            <a:spLocks noGrp="1"/>
          </p:cNvSpPr>
          <p:nvPr>
            <p:ph type="body" sz="quarter" idx="77" hasCustomPrompt="1"/>
          </p:nvPr>
        </p:nvSpPr>
        <p:spPr>
          <a:xfrm>
            <a:off x="323851" y="570062"/>
            <a:ext cx="6982437"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19" name="Text Placeholder 4">
            <a:extLst>
              <a:ext uri="{FF2B5EF4-FFF2-40B4-BE49-F238E27FC236}">
                <a16:creationId xmlns:a16="http://schemas.microsoft.com/office/drawing/2014/main" id="{E08A88AE-F782-7648-A6F6-47846F5DC0DF}"/>
              </a:ext>
            </a:extLst>
          </p:cNvPr>
          <p:cNvSpPr>
            <a:spLocks noGrp="1"/>
          </p:cNvSpPr>
          <p:nvPr>
            <p:ph type="body" sz="quarter" idx="78" hasCustomPrompt="1"/>
          </p:nvPr>
        </p:nvSpPr>
        <p:spPr>
          <a:xfrm>
            <a:off x="323852" y="169202"/>
            <a:ext cx="6987753" cy="373949"/>
          </a:xfrm>
          <a:prstGeom prst="rect">
            <a:avLst/>
          </a:prstGeom>
        </p:spPr>
        <p:txBody>
          <a:bodyPr wrap="square" lIns="0" tIns="0" rIns="0" bIns="0">
            <a:spAutoFit/>
          </a:bodyPr>
          <a:lstStyle>
            <a:lvl1pPr marL="0" indent="0">
              <a:lnSpc>
                <a:spcPct val="90000"/>
              </a:lnSpc>
              <a:spcBef>
                <a:spcPts val="0"/>
              </a:spcBef>
              <a:buFont typeface="Arial" panose="020B0604020202020204" pitchFamily="34" charset="0"/>
              <a:buNone/>
              <a:defRPr sz="2700" spc="-151" baseline="0">
                <a:solidFill>
                  <a:schemeClr val="accent1"/>
                </a:solidFill>
                <a:latin typeface="+mn-lt"/>
              </a:defRPr>
            </a:lvl1pPr>
          </a:lstStyle>
          <a:p>
            <a:pPr lvl="0"/>
            <a:r>
              <a:rPr lang="en-US"/>
              <a:t>Title</a:t>
            </a:r>
          </a:p>
        </p:txBody>
      </p:sp>
      <p:pic>
        <p:nvPicPr>
          <p:cNvPr id="20" name="Graphic 19">
            <a:extLst>
              <a:ext uri="{FF2B5EF4-FFF2-40B4-BE49-F238E27FC236}">
                <a16:creationId xmlns:a16="http://schemas.microsoft.com/office/drawing/2014/main" id="{4F0A64D2-4697-0A40-9A6B-8DD8A78004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33595911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07BD2D6A-0B22-412B-A69A-26BF76B21F86}"/>
              </a:ext>
            </a:extLst>
          </p:cNvPr>
          <p:cNvSpPr/>
          <p:nvPr userDrawn="1"/>
        </p:nvSpPr>
        <p:spPr>
          <a:xfrm>
            <a:off x="6919629" y="0"/>
            <a:ext cx="2224371" cy="514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45" name="Content Placeholder 2">
            <a:extLst>
              <a:ext uri="{FF2B5EF4-FFF2-40B4-BE49-F238E27FC236}">
                <a16:creationId xmlns:a16="http://schemas.microsoft.com/office/drawing/2014/main" id="{A3B81ECE-AC6D-8C42-B58C-254D90D14A12}"/>
              </a:ext>
            </a:extLst>
          </p:cNvPr>
          <p:cNvSpPr>
            <a:spLocks noGrp="1"/>
          </p:cNvSpPr>
          <p:nvPr>
            <p:ph sz="quarter" idx="106" hasCustomPrompt="1"/>
          </p:nvPr>
        </p:nvSpPr>
        <p:spPr>
          <a:xfrm>
            <a:off x="4717196" y="2602661"/>
            <a:ext cx="1856305" cy="1272469"/>
          </a:xfrm>
          <a:solidFill>
            <a:schemeClr val="bg2"/>
          </a:solidFill>
        </p:spPr>
        <p:txBody>
          <a:bodyPr/>
          <a:lstStyle>
            <a:lvl1pPr marL="0" indent="0">
              <a:buNone/>
              <a:defRPr/>
            </a:lvl1pPr>
          </a:lstStyle>
          <a:p>
            <a:pPr lvl="0"/>
            <a:r>
              <a:rPr lang="en-RO"/>
              <a:t> </a:t>
            </a:r>
          </a:p>
        </p:txBody>
      </p:sp>
      <p:sp>
        <p:nvSpPr>
          <p:cNvPr id="44" name="Content Placeholder 2">
            <a:extLst>
              <a:ext uri="{FF2B5EF4-FFF2-40B4-BE49-F238E27FC236}">
                <a16:creationId xmlns:a16="http://schemas.microsoft.com/office/drawing/2014/main" id="{00434664-A4BD-2B45-A5B4-3200F95D008A}"/>
              </a:ext>
            </a:extLst>
          </p:cNvPr>
          <p:cNvSpPr>
            <a:spLocks noGrp="1"/>
          </p:cNvSpPr>
          <p:nvPr>
            <p:ph sz="quarter" idx="105" hasCustomPrompt="1"/>
          </p:nvPr>
        </p:nvSpPr>
        <p:spPr>
          <a:xfrm>
            <a:off x="2532826" y="2602661"/>
            <a:ext cx="1856305" cy="1272469"/>
          </a:xfrm>
          <a:solidFill>
            <a:schemeClr val="bg2"/>
          </a:solidFill>
        </p:spPr>
        <p:txBody>
          <a:bodyPr/>
          <a:lstStyle>
            <a:lvl1pPr marL="0" indent="0">
              <a:buNone/>
              <a:defRPr/>
            </a:lvl1pPr>
          </a:lstStyle>
          <a:p>
            <a:pPr lvl="0"/>
            <a:r>
              <a:rPr lang="en-RO"/>
              <a:t> </a:t>
            </a:r>
          </a:p>
        </p:txBody>
      </p:sp>
      <p:sp>
        <p:nvSpPr>
          <p:cNvPr id="3" name="Content Placeholder 2">
            <a:extLst>
              <a:ext uri="{FF2B5EF4-FFF2-40B4-BE49-F238E27FC236}">
                <a16:creationId xmlns:a16="http://schemas.microsoft.com/office/drawing/2014/main" id="{65E75C25-5F95-8243-81F1-D0658043154E}"/>
              </a:ext>
            </a:extLst>
          </p:cNvPr>
          <p:cNvSpPr>
            <a:spLocks noGrp="1"/>
          </p:cNvSpPr>
          <p:nvPr>
            <p:ph sz="quarter" idx="104" hasCustomPrompt="1"/>
          </p:nvPr>
        </p:nvSpPr>
        <p:spPr>
          <a:xfrm>
            <a:off x="323999" y="2602661"/>
            <a:ext cx="1857600" cy="1270800"/>
          </a:xfrm>
          <a:solidFill>
            <a:schemeClr val="bg2"/>
          </a:solidFill>
        </p:spPr>
        <p:txBody>
          <a:bodyPr/>
          <a:lstStyle>
            <a:lvl1pPr marL="0" indent="0">
              <a:buNone/>
              <a:defRPr/>
            </a:lvl1pPr>
          </a:lstStyle>
          <a:p>
            <a:pPr lvl="0"/>
            <a:r>
              <a:rPr lang="en-RO"/>
              <a:t> </a:t>
            </a:r>
          </a:p>
        </p:txBody>
      </p:sp>
      <p:sp>
        <p:nvSpPr>
          <p:cNvPr id="20" name="Text Placeholder 4"/>
          <p:cNvSpPr>
            <a:spLocks noGrp="1"/>
          </p:cNvSpPr>
          <p:nvPr>
            <p:ph type="body" sz="quarter" idx="59" hasCustomPrompt="1"/>
          </p:nvPr>
        </p:nvSpPr>
        <p:spPr>
          <a:xfrm>
            <a:off x="7215117" y="1517184"/>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25" name="Text Placeholder 4"/>
          <p:cNvSpPr>
            <a:spLocks noGrp="1"/>
          </p:cNvSpPr>
          <p:nvPr>
            <p:ph type="body" sz="quarter" idx="60" hasCustomPrompt="1"/>
          </p:nvPr>
        </p:nvSpPr>
        <p:spPr>
          <a:xfrm>
            <a:off x="7215117" y="1348849"/>
            <a:ext cx="1605035"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baseline="0">
                <a:solidFill>
                  <a:srgbClr val="3399FF"/>
                </a:solidFill>
                <a:latin typeface="+mn-lt"/>
              </a:defRPr>
            </a:lvl1pPr>
          </a:lstStyle>
          <a:p>
            <a:pPr lvl="0"/>
            <a:r>
              <a:rPr lang="en-US"/>
              <a:t>Address:</a:t>
            </a:r>
          </a:p>
        </p:txBody>
      </p:sp>
      <p:sp>
        <p:nvSpPr>
          <p:cNvPr id="28" name="Text Placeholder 4"/>
          <p:cNvSpPr>
            <a:spLocks noGrp="1"/>
          </p:cNvSpPr>
          <p:nvPr>
            <p:ph type="body" sz="quarter" idx="75" hasCustomPrompt="1"/>
          </p:nvPr>
        </p:nvSpPr>
        <p:spPr>
          <a:xfrm>
            <a:off x="7215283" y="3789394"/>
            <a:ext cx="1605600" cy="115544"/>
          </a:xfrm>
          <a:prstGeom prst="rect">
            <a:avLst/>
          </a:prstGeom>
        </p:spPr>
        <p:txBody>
          <a:bodyPr wrap="square" lIns="0" tIns="0" rIns="0" bIns="0">
            <a:spAutoFit/>
          </a:bodyPr>
          <a:lstStyle>
            <a:lvl1pPr marL="0" indent="0" algn="l">
              <a:lnSpc>
                <a:spcPct val="100000"/>
              </a:lnSpc>
              <a:spcBef>
                <a:spcPts val="0"/>
              </a:spcBef>
              <a:buFontTx/>
              <a:buNone/>
              <a:defRPr sz="751">
                <a:solidFill>
                  <a:schemeClr val="bg1"/>
                </a:solidFill>
                <a:latin typeface="+mn-lt"/>
              </a:defRPr>
            </a:lvl1pPr>
          </a:lstStyle>
          <a:p>
            <a:r>
              <a:rPr lang="en-US">
                <a:solidFill>
                  <a:schemeClr val="bg1"/>
                </a:solidFill>
              </a:rPr>
              <a:t>www.p3-group.com</a:t>
            </a:r>
          </a:p>
        </p:txBody>
      </p:sp>
      <p:sp>
        <p:nvSpPr>
          <p:cNvPr id="29" name="Text Placeholder 4"/>
          <p:cNvSpPr>
            <a:spLocks noGrp="1"/>
          </p:cNvSpPr>
          <p:nvPr>
            <p:ph type="body" sz="quarter" idx="76" hasCustomPrompt="1"/>
          </p:nvPr>
        </p:nvSpPr>
        <p:spPr>
          <a:xfrm>
            <a:off x="7215117" y="3635322"/>
            <a:ext cx="1605600"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baseline="0">
                <a:solidFill>
                  <a:srgbClr val="3399FF"/>
                </a:solidFill>
                <a:latin typeface="+mn-lt"/>
              </a:defRPr>
            </a:lvl1pPr>
          </a:lstStyle>
          <a:p>
            <a:pPr lvl="0"/>
            <a:r>
              <a:rPr lang="en-US"/>
              <a:t>Website:</a:t>
            </a:r>
          </a:p>
        </p:txBody>
      </p:sp>
      <p:sp>
        <p:nvSpPr>
          <p:cNvPr id="24" name="Text Placeholder 4">
            <a:extLst>
              <a:ext uri="{FF2B5EF4-FFF2-40B4-BE49-F238E27FC236}">
                <a16:creationId xmlns:a16="http://schemas.microsoft.com/office/drawing/2014/main" id="{8C2E3C36-F45D-3940-BF1E-D589AC988926}"/>
              </a:ext>
            </a:extLst>
          </p:cNvPr>
          <p:cNvSpPr>
            <a:spLocks noGrp="1"/>
          </p:cNvSpPr>
          <p:nvPr>
            <p:ph type="body" sz="quarter" idx="77" hasCustomPrompt="1"/>
          </p:nvPr>
        </p:nvSpPr>
        <p:spPr>
          <a:xfrm>
            <a:off x="324000" y="569828"/>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Contact</a:t>
            </a:r>
          </a:p>
        </p:txBody>
      </p:sp>
      <p:sp>
        <p:nvSpPr>
          <p:cNvPr id="30" name="Text Placeholder 4">
            <a:extLst>
              <a:ext uri="{FF2B5EF4-FFF2-40B4-BE49-F238E27FC236}">
                <a16:creationId xmlns:a16="http://schemas.microsoft.com/office/drawing/2014/main" id="{A35144F1-1A1D-8C45-B58D-D68CDF0AE130}"/>
              </a:ext>
            </a:extLst>
          </p:cNvPr>
          <p:cNvSpPr>
            <a:spLocks noGrp="1"/>
          </p:cNvSpPr>
          <p:nvPr>
            <p:ph type="body" sz="quarter" idx="78" hasCustomPrompt="1"/>
          </p:nvPr>
        </p:nvSpPr>
        <p:spPr>
          <a:xfrm>
            <a:off x="324000" y="170008"/>
            <a:ext cx="579552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Company</a:t>
            </a:r>
          </a:p>
        </p:txBody>
      </p:sp>
      <p:sp>
        <p:nvSpPr>
          <p:cNvPr id="19" name="Picture Placeholder 18">
            <a:extLst>
              <a:ext uri="{FF2B5EF4-FFF2-40B4-BE49-F238E27FC236}">
                <a16:creationId xmlns:a16="http://schemas.microsoft.com/office/drawing/2014/main" id="{80E65E04-521E-B047-A6DA-653B411EFC55}"/>
              </a:ext>
            </a:extLst>
          </p:cNvPr>
          <p:cNvSpPr>
            <a:spLocks noGrp="1"/>
          </p:cNvSpPr>
          <p:nvPr>
            <p:ph type="pic" sz="quarter" idx="83"/>
          </p:nvPr>
        </p:nvSpPr>
        <p:spPr>
          <a:xfrm>
            <a:off x="2532913" y="1354726"/>
            <a:ext cx="1856371" cy="1254845"/>
          </a:xfrm>
          <a:prstGeom prst="rect">
            <a:avLst/>
          </a:prstGeom>
        </p:spPr>
        <p:txBody>
          <a:bodyPr/>
          <a:lstStyle>
            <a:lvl1pPr marL="0" indent="0">
              <a:buNone/>
              <a:defRPr sz="900"/>
            </a:lvl1pPr>
          </a:lstStyle>
          <a:p>
            <a:r>
              <a:rPr lang="en-US"/>
              <a:t>Click icon to add picture</a:t>
            </a:r>
            <a:endParaRPr lang="en-RO"/>
          </a:p>
        </p:txBody>
      </p:sp>
      <p:sp>
        <p:nvSpPr>
          <p:cNvPr id="53" name="Text Placeholder 3">
            <a:extLst>
              <a:ext uri="{FF2B5EF4-FFF2-40B4-BE49-F238E27FC236}">
                <a16:creationId xmlns:a16="http://schemas.microsoft.com/office/drawing/2014/main" id="{BB94DFDB-D795-0B48-8E3D-05B7CD8204C4}"/>
              </a:ext>
            </a:extLst>
          </p:cNvPr>
          <p:cNvSpPr>
            <a:spLocks noGrp="1"/>
          </p:cNvSpPr>
          <p:nvPr>
            <p:ph type="body" sz="quarter" idx="84" hasCustomPrompt="1"/>
          </p:nvPr>
        </p:nvSpPr>
        <p:spPr>
          <a:xfrm>
            <a:off x="2638257" y="2729896"/>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54" name="Text Placeholder 3">
            <a:extLst>
              <a:ext uri="{FF2B5EF4-FFF2-40B4-BE49-F238E27FC236}">
                <a16:creationId xmlns:a16="http://schemas.microsoft.com/office/drawing/2014/main" id="{8392E237-D476-744A-BA09-148CA9569825}"/>
              </a:ext>
            </a:extLst>
          </p:cNvPr>
          <p:cNvSpPr>
            <a:spLocks noGrp="1"/>
          </p:cNvSpPr>
          <p:nvPr>
            <p:ph type="body" sz="quarter" idx="85" hasCustomPrompt="1"/>
          </p:nvPr>
        </p:nvSpPr>
        <p:spPr>
          <a:xfrm>
            <a:off x="2638257" y="2906390"/>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55" name="Text Placeholder 3">
            <a:extLst>
              <a:ext uri="{FF2B5EF4-FFF2-40B4-BE49-F238E27FC236}">
                <a16:creationId xmlns:a16="http://schemas.microsoft.com/office/drawing/2014/main" id="{230A38FD-4501-4542-AD61-D18E4EC61E46}"/>
              </a:ext>
            </a:extLst>
          </p:cNvPr>
          <p:cNvSpPr>
            <a:spLocks noGrp="1"/>
          </p:cNvSpPr>
          <p:nvPr>
            <p:ph type="body" sz="quarter" idx="86" hasCustomPrompt="1"/>
          </p:nvPr>
        </p:nvSpPr>
        <p:spPr>
          <a:xfrm>
            <a:off x="2638257" y="3541042"/>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56" name="Text Placeholder 3">
            <a:extLst>
              <a:ext uri="{FF2B5EF4-FFF2-40B4-BE49-F238E27FC236}">
                <a16:creationId xmlns:a16="http://schemas.microsoft.com/office/drawing/2014/main" id="{A6BF194F-EA57-CE47-8B02-205E06D1439A}"/>
              </a:ext>
            </a:extLst>
          </p:cNvPr>
          <p:cNvSpPr>
            <a:spLocks noGrp="1"/>
          </p:cNvSpPr>
          <p:nvPr>
            <p:ph type="body" sz="quarter" idx="87" hasCustomPrompt="1"/>
          </p:nvPr>
        </p:nvSpPr>
        <p:spPr>
          <a:xfrm>
            <a:off x="2638257" y="3667108"/>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58" name="Picture Placeholder 18">
            <a:extLst>
              <a:ext uri="{FF2B5EF4-FFF2-40B4-BE49-F238E27FC236}">
                <a16:creationId xmlns:a16="http://schemas.microsoft.com/office/drawing/2014/main" id="{E5B832A6-C242-7D48-A06E-D0943FD04A62}"/>
              </a:ext>
            </a:extLst>
          </p:cNvPr>
          <p:cNvSpPr>
            <a:spLocks noGrp="1"/>
          </p:cNvSpPr>
          <p:nvPr>
            <p:ph type="pic" sz="quarter" idx="88"/>
          </p:nvPr>
        </p:nvSpPr>
        <p:spPr>
          <a:xfrm>
            <a:off x="324000" y="1348851"/>
            <a:ext cx="1856371" cy="1254845"/>
          </a:xfrm>
          <a:prstGeom prst="rect">
            <a:avLst/>
          </a:prstGeom>
        </p:spPr>
        <p:txBody>
          <a:bodyPr/>
          <a:lstStyle>
            <a:lvl1pPr marL="0" indent="0">
              <a:buNone/>
              <a:defRPr sz="900"/>
            </a:lvl1pPr>
          </a:lstStyle>
          <a:p>
            <a:r>
              <a:rPr lang="en-US"/>
              <a:t>Click icon to add picture</a:t>
            </a:r>
            <a:endParaRPr lang="en-RO"/>
          </a:p>
        </p:txBody>
      </p:sp>
      <p:sp>
        <p:nvSpPr>
          <p:cNvPr id="59" name="Text Placeholder 3">
            <a:extLst>
              <a:ext uri="{FF2B5EF4-FFF2-40B4-BE49-F238E27FC236}">
                <a16:creationId xmlns:a16="http://schemas.microsoft.com/office/drawing/2014/main" id="{98E312F7-CACE-A741-B384-2516A3915B0F}"/>
              </a:ext>
            </a:extLst>
          </p:cNvPr>
          <p:cNvSpPr>
            <a:spLocks noGrp="1"/>
          </p:cNvSpPr>
          <p:nvPr>
            <p:ph type="body" sz="quarter" idx="89" hasCustomPrompt="1"/>
          </p:nvPr>
        </p:nvSpPr>
        <p:spPr>
          <a:xfrm>
            <a:off x="442930" y="2724021"/>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60" name="Text Placeholder 3">
            <a:extLst>
              <a:ext uri="{FF2B5EF4-FFF2-40B4-BE49-F238E27FC236}">
                <a16:creationId xmlns:a16="http://schemas.microsoft.com/office/drawing/2014/main" id="{9131DBE4-91BF-7C47-938F-1ACA1F36C902}"/>
              </a:ext>
            </a:extLst>
          </p:cNvPr>
          <p:cNvSpPr>
            <a:spLocks noGrp="1"/>
          </p:cNvSpPr>
          <p:nvPr>
            <p:ph type="body" sz="quarter" idx="90" hasCustomPrompt="1"/>
          </p:nvPr>
        </p:nvSpPr>
        <p:spPr>
          <a:xfrm>
            <a:off x="442930" y="2900515"/>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61" name="Text Placeholder 3">
            <a:extLst>
              <a:ext uri="{FF2B5EF4-FFF2-40B4-BE49-F238E27FC236}">
                <a16:creationId xmlns:a16="http://schemas.microsoft.com/office/drawing/2014/main" id="{057AF479-A903-C14A-A31F-CCA84B03D3F4}"/>
              </a:ext>
            </a:extLst>
          </p:cNvPr>
          <p:cNvSpPr>
            <a:spLocks noGrp="1"/>
          </p:cNvSpPr>
          <p:nvPr>
            <p:ph type="body" sz="quarter" idx="91" hasCustomPrompt="1"/>
          </p:nvPr>
        </p:nvSpPr>
        <p:spPr>
          <a:xfrm>
            <a:off x="442930" y="3535167"/>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62" name="Text Placeholder 3">
            <a:extLst>
              <a:ext uri="{FF2B5EF4-FFF2-40B4-BE49-F238E27FC236}">
                <a16:creationId xmlns:a16="http://schemas.microsoft.com/office/drawing/2014/main" id="{392BFB2B-7823-764C-A48B-9E2092ED2CF8}"/>
              </a:ext>
            </a:extLst>
          </p:cNvPr>
          <p:cNvSpPr>
            <a:spLocks noGrp="1"/>
          </p:cNvSpPr>
          <p:nvPr>
            <p:ph type="body" sz="quarter" idx="92" hasCustomPrompt="1"/>
          </p:nvPr>
        </p:nvSpPr>
        <p:spPr>
          <a:xfrm>
            <a:off x="442930" y="3661233"/>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70" name="Picture Placeholder 18">
            <a:extLst>
              <a:ext uri="{FF2B5EF4-FFF2-40B4-BE49-F238E27FC236}">
                <a16:creationId xmlns:a16="http://schemas.microsoft.com/office/drawing/2014/main" id="{9655DF52-D435-4840-AC73-A557942380D4}"/>
              </a:ext>
            </a:extLst>
          </p:cNvPr>
          <p:cNvSpPr>
            <a:spLocks noGrp="1"/>
          </p:cNvSpPr>
          <p:nvPr>
            <p:ph type="pic" sz="quarter" idx="98"/>
          </p:nvPr>
        </p:nvSpPr>
        <p:spPr>
          <a:xfrm>
            <a:off x="4717453" y="1360601"/>
            <a:ext cx="1856371" cy="1254845"/>
          </a:xfrm>
          <a:prstGeom prst="rect">
            <a:avLst/>
          </a:prstGeom>
        </p:spPr>
        <p:txBody>
          <a:bodyPr/>
          <a:lstStyle>
            <a:lvl1pPr marL="0" indent="0">
              <a:buNone/>
              <a:defRPr sz="900"/>
            </a:lvl1pPr>
          </a:lstStyle>
          <a:p>
            <a:r>
              <a:rPr lang="en-US"/>
              <a:t>Click icon to add picture</a:t>
            </a:r>
            <a:endParaRPr lang="en-RO"/>
          </a:p>
        </p:txBody>
      </p:sp>
      <p:sp>
        <p:nvSpPr>
          <p:cNvPr id="71" name="Text Placeholder 3">
            <a:extLst>
              <a:ext uri="{FF2B5EF4-FFF2-40B4-BE49-F238E27FC236}">
                <a16:creationId xmlns:a16="http://schemas.microsoft.com/office/drawing/2014/main" id="{CDB0CDDC-289D-624A-AF1E-26C48CA2B3B6}"/>
              </a:ext>
            </a:extLst>
          </p:cNvPr>
          <p:cNvSpPr>
            <a:spLocks noGrp="1"/>
          </p:cNvSpPr>
          <p:nvPr>
            <p:ph type="body" sz="quarter" idx="99" hasCustomPrompt="1"/>
          </p:nvPr>
        </p:nvSpPr>
        <p:spPr>
          <a:xfrm>
            <a:off x="4822796" y="2735771"/>
            <a:ext cx="1622225" cy="156322"/>
          </a:xfrm>
          <a:prstGeom prst="rect">
            <a:avLst/>
          </a:prstGeom>
        </p:spPr>
        <p:txBody>
          <a:bodyPr vert="horz" lIns="0" tIns="0" rIns="91440" bIns="0" rtlCol="0">
            <a:noAutofit/>
          </a:bodyPr>
          <a:lstStyle>
            <a:lvl1pPr>
              <a:defRPr lang="en-RO" sz="1000" spc="-56" dirty="0">
                <a:solidFill>
                  <a:schemeClr val="accent1"/>
                </a:solidFill>
              </a:defRPr>
            </a:lvl1pPr>
          </a:lstStyle>
          <a:p>
            <a:pPr marL="0" lvl="0" indent="0">
              <a:buNone/>
            </a:pPr>
            <a:r>
              <a:rPr lang="en-GB"/>
              <a:t>Name Surname</a:t>
            </a:r>
            <a:endParaRPr lang="en-RO"/>
          </a:p>
        </p:txBody>
      </p:sp>
      <p:sp>
        <p:nvSpPr>
          <p:cNvPr id="72" name="Text Placeholder 3">
            <a:extLst>
              <a:ext uri="{FF2B5EF4-FFF2-40B4-BE49-F238E27FC236}">
                <a16:creationId xmlns:a16="http://schemas.microsoft.com/office/drawing/2014/main" id="{7793A527-18FE-5549-9561-D652A5680394}"/>
              </a:ext>
            </a:extLst>
          </p:cNvPr>
          <p:cNvSpPr>
            <a:spLocks noGrp="1"/>
          </p:cNvSpPr>
          <p:nvPr>
            <p:ph type="body" sz="quarter" idx="100" hasCustomPrompt="1"/>
          </p:nvPr>
        </p:nvSpPr>
        <p:spPr>
          <a:xfrm>
            <a:off x="4822796" y="2912265"/>
            <a:ext cx="1622225" cy="100157"/>
          </a:xfrm>
          <a:prstGeom prst="rect">
            <a:avLst/>
          </a:prstGeom>
        </p:spPr>
        <p:txBody>
          <a:bodyPr lIns="0" tIns="0" rIns="0" bIns="0">
            <a:normAutofit/>
          </a:bodyPr>
          <a:lstStyle>
            <a:lvl1pPr marL="0" indent="0">
              <a:buNone/>
              <a:defRPr sz="7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73" name="Text Placeholder 3">
            <a:extLst>
              <a:ext uri="{FF2B5EF4-FFF2-40B4-BE49-F238E27FC236}">
                <a16:creationId xmlns:a16="http://schemas.microsoft.com/office/drawing/2014/main" id="{5A715DC3-39E7-764C-99B9-F796A312477C}"/>
              </a:ext>
            </a:extLst>
          </p:cNvPr>
          <p:cNvSpPr>
            <a:spLocks noGrp="1"/>
          </p:cNvSpPr>
          <p:nvPr>
            <p:ph type="body" sz="quarter" idx="101" hasCustomPrompt="1"/>
          </p:nvPr>
        </p:nvSpPr>
        <p:spPr>
          <a:xfrm>
            <a:off x="4822796" y="3546918"/>
            <a:ext cx="1622225" cy="100157"/>
          </a:xfrm>
          <a:prstGeom prst="rect">
            <a:avLst/>
          </a:prstGeom>
        </p:spPr>
        <p:txBody>
          <a:bodyPr lIns="0" tIns="0" rIns="0" bIns="0">
            <a:normAutofit/>
          </a:bodyPr>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74" name="Text Placeholder 3">
            <a:extLst>
              <a:ext uri="{FF2B5EF4-FFF2-40B4-BE49-F238E27FC236}">
                <a16:creationId xmlns:a16="http://schemas.microsoft.com/office/drawing/2014/main" id="{256BAF67-B4A7-5740-9617-DBC6F1D938C0}"/>
              </a:ext>
            </a:extLst>
          </p:cNvPr>
          <p:cNvSpPr>
            <a:spLocks noGrp="1"/>
          </p:cNvSpPr>
          <p:nvPr>
            <p:ph type="body" sz="quarter" idx="102" hasCustomPrompt="1"/>
          </p:nvPr>
        </p:nvSpPr>
        <p:spPr>
          <a:xfrm>
            <a:off x="4822796" y="3672984"/>
            <a:ext cx="1622225" cy="100157"/>
          </a:xfrm>
          <a:prstGeom prst="rect">
            <a:avLst/>
          </a:prstGeom>
        </p:spPr>
        <p:txBody>
          <a:bodyPr lIns="0" tIns="0" rIns="0" bIns="0"/>
          <a:lstStyle>
            <a:lvl1pPr marL="0" indent="0">
              <a:buNone/>
              <a:defRPr sz="600">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46" name="Text Placeholder 4">
            <a:extLst>
              <a:ext uri="{FF2B5EF4-FFF2-40B4-BE49-F238E27FC236}">
                <a16:creationId xmlns:a16="http://schemas.microsoft.com/office/drawing/2014/main" id="{82A970BF-CE1B-8746-B38A-CAF45253C5F8}"/>
              </a:ext>
            </a:extLst>
          </p:cNvPr>
          <p:cNvSpPr>
            <a:spLocks noGrp="1"/>
          </p:cNvSpPr>
          <p:nvPr>
            <p:ph type="body" sz="quarter" idx="103" hasCustomPrompt="1"/>
          </p:nvPr>
        </p:nvSpPr>
        <p:spPr>
          <a:xfrm>
            <a:off x="324000" y="4230552"/>
            <a:ext cx="6244584"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Disclaimer</a:t>
            </a:r>
          </a:p>
        </p:txBody>
      </p:sp>
      <p:sp>
        <p:nvSpPr>
          <p:cNvPr id="34" name="Date Placeholder 2">
            <a:extLst>
              <a:ext uri="{FF2B5EF4-FFF2-40B4-BE49-F238E27FC236}">
                <a16:creationId xmlns:a16="http://schemas.microsoft.com/office/drawing/2014/main" id="{A508ED61-1475-9549-9AC2-DE6A3761518A}"/>
              </a:ext>
            </a:extLst>
          </p:cNvPr>
          <p:cNvSpPr>
            <a:spLocks noGrp="1"/>
          </p:cNvSpPr>
          <p:nvPr>
            <p:ph type="dt" sz="half" idx="10"/>
          </p:nvPr>
        </p:nvSpPr>
        <p:spPr>
          <a:xfrm>
            <a:off x="324002" y="4972079"/>
            <a:ext cx="494319" cy="92455"/>
          </a:xfrm>
        </p:spPr>
        <p:txBody>
          <a:bodyPr/>
          <a:lstStyle/>
          <a:p>
            <a:fld id="{BCFDD97F-2AFC-4272-8187-3A4F60F2CE44}" type="datetime1">
              <a:rPr lang="de-DE" smtClean="0"/>
              <a:t>24.01.2024</a:t>
            </a:fld>
            <a:endParaRPr lang="en-US"/>
          </a:p>
        </p:txBody>
      </p:sp>
      <p:sp>
        <p:nvSpPr>
          <p:cNvPr id="4" name="Text Placeholder 3">
            <a:extLst>
              <a:ext uri="{FF2B5EF4-FFF2-40B4-BE49-F238E27FC236}">
                <a16:creationId xmlns:a16="http://schemas.microsoft.com/office/drawing/2014/main" id="{EAA91C71-70B1-DD44-8EB2-4C1134334049}"/>
              </a:ext>
            </a:extLst>
          </p:cNvPr>
          <p:cNvSpPr>
            <a:spLocks noGrp="1"/>
          </p:cNvSpPr>
          <p:nvPr>
            <p:ph type="body" sz="quarter" idx="111" hasCustomPrompt="1"/>
          </p:nvPr>
        </p:nvSpPr>
        <p:spPr>
          <a:xfrm>
            <a:off x="324000" y="4389334"/>
            <a:ext cx="6243637" cy="295275"/>
          </a:xfrm>
        </p:spPr>
        <p:txBody>
          <a:bodyPr>
            <a:normAutofit/>
          </a:bodyPr>
          <a:lstStyle>
            <a:lvl1pPr marL="4763" marR="1905" indent="0" algn="l" defTabSz="457159" rtl="0" eaLnBrk="1" fontAlgn="auto" latinLnBrk="0" hangingPunct="1">
              <a:lnSpc>
                <a:spcPct val="123700"/>
              </a:lnSpc>
              <a:spcBef>
                <a:spcPts val="37"/>
              </a:spcBef>
              <a:spcAft>
                <a:spcPts val="0"/>
              </a:spcAft>
              <a:buClrTx/>
              <a:buSzTx/>
              <a:buFontTx/>
              <a:buNone/>
              <a:tabLst/>
              <a:defRPr sz="500"/>
            </a:lvl1pPr>
          </a:lstStyle>
          <a:p>
            <a:pPr marL="4763" marR="1905" lvl="0" indent="0" algn="l" defTabSz="457159" rtl="0" eaLnBrk="1" fontAlgn="auto" latinLnBrk="0" hangingPunct="1">
              <a:lnSpc>
                <a:spcPct val="123700"/>
              </a:lnSpc>
              <a:spcBef>
                <a:spcPts val="37"/>
              </a:spcBef>
              <a:spcAft>
                <a:spcPts val="0"/>
              </a:spcAft>
              <a:buClrTx/>
              <a:buSzTx/>
              <a:buFontTx/>
              <a:buNone/>
              <a:tabLst/>
              <a:defRPr/>
            </a:pP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ll</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formatio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tain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herein</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ol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No</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ntellectual</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propert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right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r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grant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by</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delivery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isclosur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 </a:t>
            </a:r>
            <a:r>
              <a:rPr kumimoji="0" lang="en-GB" sz="451" b="0" i="0" u="none" strike="noStrike" kern="1200" cap="none" spc="-7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reproduc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or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disclosed</a:t>
            </a:r>
            <a:r>
              <a:rPr kumimoji="0" lang="en-GB" sz="451" b="0" i="0" u="none" strike="noStrike" kern="1200" cap="none" spc="15"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to</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rd</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party</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ithout</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e</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express</a:t>
            </a:r>
            <a:r>
              <a:rPr kumimoji="0" lang="en-GB" sz="451" b="0" i="0" u="none" strike="noStrike" kern="1200" cap="none" spc="1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ritten </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cons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f</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P</a:t>
            </a:r>
            <a:r>
              <a:rPr kumimoji="0" lang="en-GB" sz="451" b="0" i="0" u="none" strike="noStrike" kern="1200" cap="none" spc="8" normalizeH="0" baseline="0" noProof="0">
                <a:ln>
                  <a:noFill/>
                </a:ln>
                <a:solidFill>
                  <a:srgbClr val="000000"/>
                </a:solidFill>
                <a:effectLst/>
                <a:uLnTx/>
                <a:uFillTx/>
                <a:latin typeface="Roboto Light" panose="02000000000000000000" pitchFamily="2" charset="0"/>
                <a:ea typeface="+mn-ea"/>
                <a:cs typeface="Maison Neue Light"/>
              </a:rPr>
              <a:t>3</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i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docum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an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s</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conten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shall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not</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be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used</a:t>
            </a:r>
            <a:r>
              <a:rPr kumimoji="0" lang="en-GB" sz="451" b="0" i="0" u="none" strike="noStrike" kern="1200" cap="none" spc="4"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any</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purpose</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othe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n</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tha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for</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which</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it</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0" normalizeH="0" baseline="0" noProof="0">
                <a:ln>
                  <a:noFill/>
                </a:ln>
                <a:solidFill>
                  <a:srgbClr val="000000"/>
                </a:solidFill>
                <a:effectLst/>
                <a:uLnTx/>
                <a:uFillTx/>
                <a:latin typeface="Roboto Light" panose="02000000000000000000" pitchFamily="2" charset="0"/>
                <a:ea typeface="+mn-ea"/>
                <a:cs typeface="Maison Neue Light"/>
              </a:rPr>
              <a:t>is</a:t>
            </a:r>
            <a:r>
              <a:rPr kumimoji="0" lang="en-GB" sz="451" b="0" i="0" u="none" strike="noStrike" kern="1200" cap="none" spc="7" normalizeH="0" baseline="0" noProof="0">
                <a:ln>
                  <a:noFill/>
                </a:ln>
                <a:solidFill>
                  <a:srgbClr val="000000"/>
                </a:solidFill>
                <a:effectLst/>
                <a:uLnTx/>
                <a:uFillTx/>
                <a:latin typeface="Roboto Light" panose="02000000000000000000" pitchFamily="2" charset="0"/>
                <a:ea typeface="+mn-ea"/>
                <a:cs typeface="Maison Neue Light"/>
              </a:rPr>
              <a:t> </a:t>
            </a:r>
            <a:r>
              <a:rPr kumimoji="0" lang="en-GB" sz="451" b="0" i="0" u="none" strike="noStrike" kern="1200" cap="none" spc="3" normalizeH="0" baseline="0" noProof="0">
                <a:ln>
                  <a:noFill/>
                </a:ln>
                <a:solidFill>
                  <a:srgbClr val="000000"/>
                </a:solidFill>
                <a:effectLst/>
                <a:uLnTx/>
                <a:uFillTx/>
                <a:latin typeface="Roboto Light" panose="02000000000000000000" pitchFamily="2" charset="0"/>
                <a:ea typeface="+mn-ea"/>
                <a:cs typeface="Maison Neue Light"/>
              </a:rPr>
              <a:t>supplied.</a:t>
            </a:r>
            <a:endParaRPr lang="en-RO"/>
          </a:p>
        </p:txBody>
      </p:sp>
      <p:sp>
        <p:nvSpPr>
          <p:cNvPr id="39" name="Footer Placeholder 2">
            <a:extLst>
              <a:ext uri="{FF2B5EF4-FFF2-40B4-BE49-F238E27FC236}">
                <a16:creationId xmlns:a16="http://schemas.microsoft.com/office/drawing/2014/main" id="{1749DC97-C29C-6F46-9491-142978EFBCA5}"/>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40" name="Graphic 39">
            <a:extLst>
              <a:ext uri="{FF2B5EF4-FFF2-40B4-BE49-F238E27FC236}">
                <a16:creationId xmlns:a16="http://schemas.microsoft.com/office/drawing/2014/main" id="{DE449E4D-618E-754C-AFED-A484A03911E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43" name="Slide Number Placeholder 4">
            <a:extLst>
              <a:ext uri="{FF2B5EF4-FFF2-40B4-BE49-F238E27FC236}">
                <a16:creationId xmlns:a16="http://schemas.microsoft.com/office/drawing/2014/main" id="{DD3A4977-DB91-6243-B41E-C41AC83B9415}"/>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
        <p:nvSpPr>
          <p:cNvPr id="48" name="Text Placeholder 2">
            <a:extLst>
              <a:ext uri="{FF2B5EF4-FFF2-40B4-BE49-F238E27FC236}">
                <a16:creationId xmlns:a16="http://schemas.microsoft.com/office/drawing/2014/main" id="{4DC2C600-F284-C34F-BD34-83A0A3383006}"/>
              </a:ext>
            </a:extLst>
          </p:cNvPr>
          <p:cNvSpPr>
            <a:spLocks noGrp="1"/>
          </p:cNvSpPr>
          <p:nvPr>
            <p:ph type="body" sz="quarter" idx="79" hasCustomPrompt="1"/>
          </p:nvPr>
        </p:nvSpPr>
        <p:spPr>
          <a:xfrm>
            <a:off x="324000" y="1029129"/>
            <a:ext cx="3255381"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ontact persons</a:t>
            </a:r>
          </a:p>
        </p:txBody>
      </p:sp>
      <p:sp>
        <p:nvSpPr>
          <p:cNvPr id="35" name="Text Placeholder 4">
            <a:extLst>
              <a:ext uri="{FF2B5EF4-FFF2-40B4-BE49-F238E27FC236}">
                <a16:creationId xmlns:a16="http://schemas.microsoft.com/office/drawing/2014/main" id="{C8453F9E-A48F-3A47-B623-86B674A9C872}"/>
              </a:ext>
            </a:extLst>
          </p:cNvPr>
          <p:cNvSpPr>
            <a:spLocks noGrp="1"/>
          </p:cNvSpPr>
          <p:nvPr>
            <p:ph type="body" sz="quarter" idx="112" hasCustomPrompt="1"/>
          </p:nvPr>
        </p:nvSpPr>
        <p:spPr>
          <a:xfrm>
            <a:off x="7215117" y="2027790"/>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
        <p:nvSpPr>
          <p:cNvPr id="36" name="Text Placeholder 4">
            <a:extLst>
              <a:ext uri="{FF2B5EF4-FFF2-40B4-BE49-F238E27FC236}">
                <a16:creationId xmlns:a16="http://schemas.microsoft.com/office/drawing/2014/main" id="{8AB6E055-3BEE-C143-A5A9-C0747C59B64D}"/>
              </a:ext>
            </a:extLst>
          </p:cNvPr>
          <p:cNvSpPr>
            <a:spLocks noGrp="1"/>
          </p:cNvSpPr>
          <p:nvPr>
            <p:ph type="body" sz="quarter" idx="113" hasCustomPrompt="1"/>
          </p:nvPr>
        </p:nvSpPr>
        <p:spPr>
          <a:xfrm>
            <a:off x="7215117" y="2538397"/>
            <a:ext cx="1605035" cy="462178"/>
          </a:xfrm>
          <a:prstGeom prst="rect">
            <a:avLst/>
          </a:prstGeom>
          <a:noFill/>
        </p:spPr>
        <p:txBody>
          <a:bodyPr wrap="square" lIns="0" tIns="0" rIns="0" bIns="0">
            <a:spAutoFit/>
          </a:bodyPr>
          <a:lstStyle>
            <a:lvl1pPr marL="0" indent="0">
              <a:lnSpc>
                <a:spcPct val="100000"/>
              </a:lnSpc>
              <a:spcBef>
                <a:spcPts val="0"/>
              </a:spcBef>
              <a:spcAft>
                <a:spcPts val="0"/>
              </a:spcAft>
              <a:buFontTx/>
              <a:buNone/>
              <a:defRPr sz="751">
                <a:solidFill>
                  <a:schemeClr val="bg1"/>
                </a:solidFill>
                <a:latin typeface="+mn-lt"/>
              </a:defRPr>
            </a:lvl1pPr>
          </a:lstStyle>
          <a:p>
            <a:pPr lvl="0"/>
            <a:r>
              <a:rPr lang="en-US"/>
              <a:t>P3 group GmbH</a:t>
            </a:r>
            <a:br>
              <a:rPr lang="en-US"/>
            </a:br>
            <a:r>
              <a:rPr lang="en-US" err="1"/>
              <a:t>Heilbronner</a:t>
            </a:r>
            <a:r>
              <a:rPr lang="en-US"/>
              <a:t> Str. 86</a:t>
            </a:r>
            <a:br>
              <a:rPr lang="en-US"/>
            </a:br>
            <a:r>
              <a:rPr lang="en-US"/>
              <a:t>70191 Stuttgart</a:t>
            </a:r>
            <a:br>
              <a:rPr lang="en-US"/>
            </a:br>
            <a:r>
              <a:rPr lang="en-US"/>
              <a:t>Germany</a:t>
            </a:r>
          </a:p>
        </p:txBody>
      </p:sp>
    </p:spTree>
    <p:extLst>
      <p:ext uri="{BB962C8B-B14F-4D97-AF65-F5344CB8AC3E}">
        <p14:creationId xmlns:p14="http://schemas.microsoft.com/office/powerpoint/2010/main" val="3061151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file white &amp; blu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A0D62F3-9FFE-4F53-8F40-9F608147A3A1}"/>
              </a:ext>
            </a:extLst>
          </p:cNvPr>
          <p:cNvSpPr/>
          <p:nvPr userDrawn="1"/>
        </p:nvSpPr>
        <p:spPr>
          <a:xfrm>
            <a:off x="6395242" y="0"/>
            <a:ext cx="2748759" cy="514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4" name="Text Placeholder 4">
            <a:extLst>
              <a:ext uri="{FF2B5EF4-FFF2-40B4-BE49-F238E27FC236}">
                <a16:creationId xmlns:a16="http://schemas.microsoft.com/office/drawing/2014/main" id="{8C2E3C36-F45D-3940-BF1E-D589AC988926}"/>
              </a:ext>
            </a:extLst>
          </p:cNvPr>
          <p:cNvSpPr>
            <a:spLocks noGrp="1"/>
          </p:cNvSpPr>
          <p:nvPr>
            <p:ph type="body" sz="quarter" idx="77" hasCustomPrompt="1"/>
          </p:nvPr>
        </p:nvSpPr>
        <p:spPr>
          <a:xfrm>
            <a:off x="1069075" y="569700"/>
            <a:ext cx="498864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Position</a:t>
            </a:r>
          </a:p>
        </p:txBody>
      </p:sp>
      <p:sp>
        <p:nvSpPr>
          <p:cNvPr id="30" name="Text Placeholder 4">
            <a:extLst>
              <a:ext uri="{FF2B5EF4-FFF2-40B4-BE49-F238E27FC236}">
                <a16:creationId xmlns:a16="http://schemas.microsoft.com/office/drawing/2014/main" id="{A35144F1-1A1D-8C45-B58D-D68CDF0AE130}"/>
              </a:ext>
            </a:extLst>
          </p:cNvPr>
          <p:cNvSpPr>
            <a:spLocks noGrp="1"/>
          </p:cNvSpPr>
          <p:nvPr>
            <p:ph type="body" sz="quarter" idx="78" hasCustomPrompt="1"/>
          </p:nvPr>
        </p:nvSpPr>
        <p:spPr>
          <a:xfrm>
            <a:off x="1069074" y="170008"/>
            <a:ext cx="4988647"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Name Surname</a:t>
            </a:r>
          </a:p>
        </p:txBody>
      </p:sp>
      <p:sp>
        <p:nvSpPr>
          <p:cNvPr id="3" name="Text Placeholder 2">
            <a:extLst>
              <a:ext uri="{FF2B5EF4-FFF2-40B4-BE49-F238E27FC236}">
                <a16:creationId xmlns:a16="http://schemas.microsoft.com/office/drawing/2014/main" id="{82A9CB27-C6B6-E64D-AC97-1F9FC192EA01}"/>
              </a:ext>
            </a:extLst>
          </p:cNvPr>
          <p:cNvSpPr>
            <a:spLocks noGrp="1"/>
          </p:cNvSpPr>
          <p:nvPr>
            <p:ph type="body" sz="quarter" idx="79" hasCustomPrompt="1"/>
          </p:nvPr>
        </p:nvSpPr>
        <p:spPr>
          <a:xfrm>
            <a:off x="324000" y="1108472"/>
            <a:ext cx="3255381" cy="205978"/>
          </a:xfrm>
          <a:prstGeom prst="rect">
            <a:avLst/>
          </a:prstGeom>
        </p:spPr>
        <p:txBody>
          <a:bodyPr lIns="0"/>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Professional experience</a:t>
            </a:r>
          </a:p>
        </p:txBody>
      </p:sp>
      <p:sp>
        <p:nvSpPr>
          <p:cNvPr id="11" name="Text Placeholder 2">
            <a:extLst>
              <a:ext uri="{FF2B5EF4-FFF2-40B4-BE49-F238E27FC236}">
                <a16:creationId xmlns:a16="http://schemas.microsoft.com/office/drawing/2014/main" id="{1AD5711E-A1AE-3341-B330-2A33C814E7C6}"/>
              </a:ext>
            </a:extLst>
          </p:cNvPr>
          <p:cNvSpPr>
            <a:spLocks noGrp="1"/>
          </p:cNvSpPr>
          <p:nvPr>
            <p:ph type="body" sz="quarter" idx="80" hasCustomPrompt="1"/>
          </p:nvPr>
        </p:nvSpPr>
        <p:spPr>
          <a:xfrm>
            <a:off x="6760193" y="1108472"/>
            <a:ext cx="2059809" cy="205978"/>
          </a:xfrm>
          <a:prstGeom prst="rect">
            <a:avLst/>
          </a:prstGeom>
        </p:spPr>
        <p:txBody>
          <a:bodyPr lIns="0"/>
          <a:lstStyle>
            <a:lvl1pPr marL="0" indent="0">
              <a:buNone/>
              <a:defRPr sz="1200" spc="-56">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Methods</a:t>
            </a:r>
          </a:p>
        </p:txBody>
      </p:sp>
      <p:sp>
        <p:nvSpPr>
          <p:cNvPr id="12" name="Text Placeholder 2">
            <a:extLst>
              <a:ext uri="{FF2B5EF4-FFF2-40B4-BE49-F238E27FC236}">
                <a16:creationId xmlns:a16="http://schemas.microsoft.com/office/drawing/2014/main" id="{F58AE8E5-B763-C34A-875F-F05114822075}"/>
              </a:ext>
            </a:extLst>
          </p:cNvPr>
          <p:cNvSpPr>
            <a:spLocks noGrp="1"/>
          </p:cNvSpPr>
          <p:nvPr>
            <p:ph type="body" sz="quarter" idx="81" hasCustomPrompt="1"/>
          </p:nvPr>
        </p:nvSpPr>
        <p:spPr>
          <a:xfrm>
            <a:off x="324000" y="1348502"/>
            <a:ext cx="5720197" cy="2015728"/>
          </a:xfrm>
          <a:prstGeom prst="rect">
            <a:avLst/>
          </a:prstGeom>
        </p:spPr>
        <p:txBody>
          <a:bodyPr lIns="0"/>
          <a:lstStyle>
            <a:lvl1pPr marL="89154" indent="-89998">
              <a:lnSpc>
                <a:spcPct val="110000"/>
              </a:lnSpc>
              <a:spcBef>
                <a:spcPts val="225"/>
              </a:spcBef>
              <a:buClr>
                <a:schemeClr val="accent1"/>
              </a:buClr>
              <a:buFont typeface="Arial" panose="020B0604020202020204" pitchFamily="34" charset="0"/>
              <a:buChar char="•"/>
              <a:defRPr sz="900" spc="0">
                <a:solidFill>
                  <a:srgbClr val="000000"/>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Professional </a:t>
            </a:r>
            <a:br>
              <a:rPr lang="en-GB"/>
            </a:br>
            <a:r>
              <a:rPr lang="en-GB"/>
              <a:t>experience</a:t>
            </a:r>
          </a:p>
        </p:txBody>
      </p:sp>
      <p:sp>
        <p:nvSpPr>
          <p:cNvPr id="13" name="Text Placeholder 2">
            <a:extLst>
              <a:ext uri="{FF2B5EF4-FFF2-40B4-BE49-F238E27FC236}">
                <a16:creationId xmlns:a16="http://schemas.microsoft.com/office/drawing/2014/main" id="{76C28222-DC60-4844-B41A-185FEDEB9EB8}"/>
              </a:ext>
            </a:extLst>
          </p:cNvPr>
          <p:cNvSpPr>
            <a:spLocks noGrp="1"/>
          </p:cNvSpPr>
          <p:nvPr>
            <p:ph type="body" sz="quarter" idx="82" hasCustomPrompt="1"/>
          </p:nvPr>
        </p:nvSpPr>
        <p:spPr>
          <a:xfrm>
            <a:off x="6760193" y="1348502"/>
            <a:ext cx="2059809" cy="1345168"/>
          </a:xfrm>
          <a:prstGeom prst="rect">
            <a:avLst/>
          </a:prstGeom>
        </p:spPr>
        <p:txBody>
          <a:bodyPr lIns="0">
            <a:normAutofit/>
          </a:bodyPr>
          <a:lstStyle>
            <a:lvl1pPr marL="89998" indent="-89998">
              <a:lnSpc>
                <a:spcPct val="110000"/>
              </a:lnSpc>
              <a:spcBef>
                <a:spcPts val="225"/>
              </a:spcBef>
              <a:buClr>
                <a:srgbClr val="00B0F0"/>
              </a:buClr>
              <a:buFont typeface="Arial" panose="020B0604020202020204" pitchFamily="34" charset="0"/>
              <a:buChar char="•"/>
              <a:defRPr sz="700" spc="0">
                <a:solidFill>
                  <a:srgbClr val="F1F1F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Methods</a:t>
            </a:r>
          </a:p>
        </p:txBody>
      </p:sp>
      <p:sp>
        <p:nvSpPr>
          <p:cNvPr id="14" name="Text Placeholder 2">
            <a:extLst>
              <a:ext uri="{FF2B5EF4-FFF2-40B4-BE49-F238E27FC236}">
                <a16:creationId xmlns:a16="http://schemas.microsoft.com/office/drawing/2014/main" id="{3CE33F74-C3F8-1543-B0C5-F7FE8C6DFB3B}"/>
              </a:ext>
            </a:extLst>
          </p:cNvPr>
          <p:cNvSpPr>
            <a:spLocks noGrp="1"/>
          </p:cNvSpPr>
          <p:nvPr>
            <p:ph type="body" sz="quarter" idx="83" hasCustomPrompt="1"/>
          </p:nvPr>
        </p:nvSpPr>
        <p:spPr>
          <a:xfrm>
            <a:off x="6760193" y="2881021"/>
            <a:ext cx="2059809" cy="205978"/>
          </a:xfrm>
          <a:prstGeom prst="rect">
            <a:avLst/>
          </a:prstGeom>
        </p:spPr>
        <p:txBody>
          <a:bodyPr lIns="0"/>
          <a:lstStyle>
            <a:lvl1pPr marL="0" indent="0">
              <a:buNone/>
              <a:defRPr sz="1200" spc="-56">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Education</a:t>
            </a:r>
          </a:p>
        </p:txBody>
      </p:sp>
      <p:sp>
        <p:nvSpPr>
          <p:cNvPr id="15" name="Text Placeholder 2">
            <a:extLst>
              <a:ext uri="{FF2B5EF4-FFF2-40B4-BE49-F238E27FC236}">
                <a16:creationId xmlns:a16="http://schemas.microsoft.com/office/drawing/2014/main" id="{BB24AC82-4FF5-9E49-A7CA-4A35BDF3CFB5}"/>
              </a:ext>
            </a:extLst>
          </p:cNvPr>
          <p:cNvSpPr>
            <a:spLocks noGrp="1"/>
          </p:cNvSpPr>
          <p:nvPr>
            <p:ph type="body" sz="quarter" idx="84" hasCustomPrompt="1"/>
          </p:nvPr>
        </p:nvSpPr>
        <p:spPr>
          <a:xfrm>
            <a:off x="6760193" y="3121051"/>
            <a:ext cx="2059809" cy="548878"/>
          </a:xfrm>
          <a:prstGeom prst="rect">
            <a:avLst/>
          </a:prstGeom>
        </p:spPr>
        <p:txBody>
          <a:bodyPr lIns="0">
            <a:normAutofit/>
          </a:bodyPr>
          <a:lstStyle>
            <a:lvl1pPr marL="89998" indent="-89998">
              <a:lnSpc>
                <a:spcPct val="110000"/>
              </a:lnSpc>
              <a:spcBef>
                <a:spcPts val="225"/>
              </a:spcBef>
              <a:buClr>
                <a:srgbClr val="00B0F0"/>
              </a:buClr>
              <a:buFont typeface="Arial" panose="020B0604020202020204" pitchFamily="34" charset="0"/>
              <a:buChar char="•"/>
              <a:defRPr sz="700" spc="0">
                <a:solidFill>
                  <a:srgbClr val="F1F1F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Education</a:t>
            </a:r>
          </a:p>
        </p:txBody>
      </p:sp>
      <p:sp>
        <p:nvSpPr>
          <p:cNvPr id="16" name="Text Placeholder 2">
            <a:extLst>
              <a:ext uri="{FF2B5EF4-FFF2-40B4-BE49-F238E27FC236}">
                <a16:creationId xmlns:a16="http://schemas.microsoft.com/office/drawing/2014/main" id="{4B5C48A3-2CA5-9C4A-85BF-442252F45E52}"/>
              </a:ext>
            </a:extLst>
          </p:cNvPr>
          <p:cNvSpPr>
            <a:spLocks noGrp="1"/>
          </p:cNvSpPr>
          <p:nvPr>
            <p:ph type="body" sz="quarter" idx="85" hasCustomPrompt="1"/>
          </p:nvPr>
        </p:nvSpPr>
        <p:spPr>
          <a:xfrm>
            <a:off x="6760193" y="3857280"/>
            <a:ext cx="2059809" cy="205978"/>
          </a:xfrm>
          <a:prstGeom prst="rect">
            <a:avLst/>
          </a:prstGeom>
        </p:spPr>
        <p:txBody>
          <a:bodyPr lIns="0"/>
          <a:lstStyle>
            <a:lvl1pPr marL="0" indent="0">
              <a:buNone/>
              <a:defRPr sz="1200" spc="-56">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Languages</a:t>
            </a:r>
          </a:p>
        </p:txBody>
      </p:sp>
      <p:sp>
        <p:nvSpPr>
          <p:cNvPr id="17" name="Text Placeholder 2">
            <a:extLst>
              <a:ext uri="{FF2B5EF4-FFF2-40B4-BE49-F238E27FC236}">
                <a16:creationId xmlns:a16="http://schemas.microsoft.com/office/drawing/2014/main" id="{05C88C04-4272-C44C-B735-888F6AB76F46}"/>
              </a:ext>
            </a:extLst>
          </p:cNvPr>
          <p:cNvSpPr>
            <a:spLocks noGrp="1"/>
          </p:cNvSpPr>
          <p:nvPr>
            <p:ph type="body" sz="quarter" idx="86" hasCustomPrompt="1"/>
          </p:nvPr>
        </p:nvSpPr>
        <p:spPr>
          <a:xfrm>
            <a:off x="6760193" y="4097310"/>
            <a:ext cx="2059809" cy="643132"/>
          </a:xfrm>
          <a:prstGeom prst="rect">
            <a:avLst/>
          </a:prstGeom>
        </p:spPr>
        <p:txBody>
          <a:bodyPr lIns="0">
            <a:normAutofit/>
          </a:bodyPr>
          <a:lstStyle>
            <a:lvl1pPr marL="89998" indent="-89998">
              <a:lnSpc>
                <a:spcPct val="110000"/>
              </a:lnSpc>
              <a:spcBef>
                <a:spcPts val="225"/>
              </a:spcBef>
              <a:buClr>
                <a:srgbClr val="00B0F0"/>
              </a:buClr>
              <a:buFont typeface="Arial" panose="020B0604020202020204" pitchFamily="34" charset="0"/>
              <a:buChar char="•"/>
              <a:defRPr sz="700" spc="0">
                <a:solidFill>
                  <a:srgbClr val="F1F1F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Languages</a:t>
            </a:r>
          </a:p>
        </p:txBody>
      </p:sp>
      <p:sp>
        <p:nvSpPr>
          <p:cNvPr id="18" name="Text Placeholder 2">
            <a:extLst>
              <a:ext uri="{FF2B5EF4-FFF2-40B4-BE49-F238E27FC236}">
                <a16:creationId xmlns:a16="http://schemas.microsoft.com/office/drawing/2014/main" id="{A39D851A-F8D4-7D4D-AC43-EF81D36A3C67}"/>
              </a:ext>
            </a:extLst>
          </p:cNvPr>
          <p:cNvSpPr>
            <a:spLocks noGrp="1"/>
          </p:cNvSpPr>
          <p:nvPr>
            <p:ph type="body" sz="quarter" idx="87" hasCustomPrompt="1"/>
          </p:nvPr>
        </p:nvSpPr>
        <p:spPr>
          <a:xfrm>
            <a:off x="324000" y="3857280"/>
            <a:ext cx="1509869" cy="205978"/>
          </a:xfrm>
          <a:prstGeom prst="rect">
            <a:avLst/>
          </a:prstGeom>
        </p:spPr>
        <p:txBody>
          <a:bodyPr lIns="0"/>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ustomers</a:t>
            </a:r>
          </a:p>
        </p:txBody>
      </p:sp>
      <p:sp>
        <p:nvSpPr>
          <p:cNvPr id="19" name="Text Placeholder 2">
            <a:extLst>
              <a:ext uri="{FF2B5EF4-FFF2-40B4-BE49-F238E27FC236}">
                <a16:creationId xmlns:a16="http://schemas.microsoft.com/office/drawing/2014/main" id="{36B0B85F-ECA7-764B-8BF0-8A1762C5D033}"/>
              </a:ext>
            </a:extLst>
          </p:cNvPr>
          <p:cNvSpPr>
            <a:spLocks noGrp="1"/>
          </p:cNvSpPr>
          <p:nvPr>
            <p:ph type="body" sz="quarter" idx="88" hasCustomPrompt="1"/>
          </p:nvPr>
        </p:nvSpPr>
        <p:spPr>
          <a:xfrm>
            <a:off x="324000" y="4097310"/>
            <a:ext cx="5720197" cy="643132"/>
          </a:xfrm>
          <a:prstGeom prst="rect">
            <a:avLst/>
          </a:prstGeom>
        </p:spPr>
        <p:txBody>
          <a:bodyPr vert="horz" lIns="0" tIns="45720" rIns="91440" bIns="45720" numCol="3" rtlCol="0">
            <a:normAutofit/>
          </a:bodyPr>
          <a:lstStyle>
            <a:lvl1pPr>
              <a:lnSpc>
                <a:spcPct val="60000"/>
              </a:lnSpc>
              <a:defRPr lang="en-GB" sz="700" spc="0" dirty="0"/>
            </a:lvl1pPr>
          </a:lstStyle>
          <a:p>
            <a:pPr marL="89154" lvl="0" indent="-89998">
              <a:lnSpc>
                <a:spcPct val="110000"/>
              </a:lnSpc>
              <a:spcBef>
                <a:spcPts val="225"/>
              </a:spcBef>
            </a:pPr>
            <a:r>
              <a:rPr lang="en-GB"/>
              <a:t>Customers</a:t>
            </a:r>
          </a:p>
        </p:txBody>
      </p:sp>
      <p:sp>
        <p:nvSpPr>
          <p:cNvPr id="25" name="Picture Placeholder 5">
            <a:extLst>
              <a:ext uri="{FF2B5EF4-FFF2-40B4-BE49-F238E27FC236}">
                <a16:creationId xmlns:a16="http://schemas.microsoft.com/office/drawing/2014/main" id="{406854AB-B13D-F24B-ABF8-47A509FD5634}"/>
              </a:ext>
            </a:extLst>
          </p:cNvPr>
          <p:cNvSpPr>
            <a:spLocks noGrp="1"/>
          </p:cNvSpPr>
          <p:nvPr>
            <p:ph type="pic" sz="quarter" idx="89"/>
          </p:nvPr>
        </p:nvSpPr>
        <p:spPr>
          <a:xfrm>
            <a:off x="324001" y="202501"/>
            <a:ext cx="626049" cy="626009"/>
          </a:xfrm>
          <a:prstGeom prst="ellipse">
            <a:avLst/>
          </a:prstGeom>
        </p:spPr>
        <p:txBody>
          <a:bodyPr anchor="ctr"/>
          <a:lstStyle>
            <a:lvl1pPr marL="0" indent="0" algn="ctr">
              <a:buNone/>
              <a:defRPr sz="600"/>
            </a:lvl1pPr>
          </a:lstStyle>
          <a:p>
            <a:r>
              <a:rPr lang="en-US"/>
              <a:t>Click icon to add picture</a:t>
            </a:r>
            <a:endParaRPr lang="en-RO"/>
          </a:p>
        </p:txBody>
      </p:sp>
      <p:sp>
        <p:nvSpPr>
          <p:cNvPr id="21" name="Date Placeholder 2">
            <a:extLst>
              <a:ext uri="{FF2B5EF4-FFF2-40B4-BE49-F238E27FC236}">
                <a16:creationId xmlns:a16="http://schemas.microsoft.com/office/drawing/2014/main" id="{7427AEC2-A128-404A-9FF7-24FCB2B19E50}"/>
              </a:ext>
            </a:extLst>
          </p:cNvPr>
          <p:cNvSpPr>
            <a:spLocks noGrp="1"/>
          </p:cNvSpPr>
          <p:nvPr>
            <p:ph type="dt" sz="half" idx="10"/>
          </p:nvPr>
        </p:nvSpPr>
        <p:spPr>
          <a:xfrm>
            <a:off x="324002" y="4972079"/>
            <a:ext cx="494319" cy="92455"/>
          </a:xfrm>
        </p:spPr>
        <p:txBody>
          <a:bodyPr/>
          <a:lstStyle/>
          <a:p>
            <a:fld id="{4517B717-8C25-4740-A6CD-1B4DBC89E0A3}" type="datetime1">
              <a:rPr lang="de-DE" smtClean="0"/>
              <a:t>24.01.2024</a:t>
            </a:fld>
            <a:endParaRPr lang="en-US"/>
          </a:p>
        </p:txBody>
      </p:sp>
      <p:sp>
        <p:nvSpPr>
          <p:cNvPr id="28" name="Footer Placeholder 2">
            <a:extLst>
              <a:ext uri="{FF2B5EF4-FFF2-40B4-BE49-F238E27FC236}">
                <a16:creationId xmlns:a16="http://schemas.microsoft.com/office/drawing/2014/main" id="{7004EBDE-1D9D-3C45-8BF0-50988A074260}"/>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9" name="Graphic 28">
            <a:extLst>
              <a:ext uri="{FF2B5EF4-FFF2-40B4-BE49-F238E27FC236}">
                <a16:creationId xmlns:a16="http://schemas.microsoft.com/office/drawing/2014/main" id="{CCB57C49-3B1C-4946-8751-5B5A5ABD4FE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2" name="Slide Number Placeholder 4">
            <a:extLst>
              <a:ext uri="{FF2B5EF4-FFF2-40B4-BE49-F238E27FC236}">
                <a16:creationId xmlns:a16="http://schemas.microsoft.com/office/drawing/2014/main" id="{76B67DAE-5D19-5E4A-B811-358498A8AF1F}"/>
              </a:ext>
            </a:extLst>
          </p:cNvPr>
          <p:cNvSpPr>
            <a:spLocks noGrp="1"/>
          </p:cNvSpPr>
          <p:nvPr>
            <p:ph type="sldNum" sz="quarter" idx="90"/>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3757105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mpensasion white &amp; gre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9DCD6DD-C149-4D18-A3D3-76022A9D23D9}"/>
              </a:ext>
            </a:extLst>
          </p:cNvPr>
          <p:cNvSpPr/>
          <p:nvPr userDrawn="1"/>
        </p:nvSpPr>
        <p:spPr>
          <a:xfrm>
            <a:off x="5494378" y="0"/>
            <a:ext cx="3649623"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0" name="Rectangle 19">
            <a:extLst>
              <a:ext uri="{FF2B5EF4-FFF2-40B4-BE49-F238E27FC236}">
                <a16:creationId xmlns:a16="http://schemas.microsoft.com/office/drawing/2014/main" id="{7F425851-6672-AF4F-8813-B4B35CD8B937}"/>
              </a:ext>
            </a:extLst>
          </p:cNvPr>
          <p:cNvSpPr/>
          <p:nvPr/>
        </p:nvSpPr>
        <p:spPr>
          <a:xfrm>
            <a:off x="5494378" y="0"/>
            <a:ext cx="3649623"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1" name="Text Placeholder 4">
            <a:extLst>
              <a:ext uri="{FF2B5EF4-FFF2-40B4-BE49-F238E27FC236}">
                <a16:creationId xmlns:a16="http://schemas.microsoft.com/office/drawing/2014/main" id="{6C1E079A-EE69-F749-B6B1-C9EA1AFBA7CD}"/>
              </a:ext>
            </a:extLst>
          </p:cNvPr>
          <p:cNvSpPr>
            <a:spLocks noGrp="1"/>
          </p:cNvSpPr>
          <p:nvPr>
            <p:ph type="body" sz="quarter" idx="77" hasCustomPrompt="1"/>
          </p:nvPr>
        </p:nvSpPr>
        <p:spPr>
          <a:xfrm>
            <a:off x="324001" y="569829"/>
            <a:ext cx="4391452"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We offer you our services under the following conditions</a:t>
            </a:r>
          </a:p>
        </p:txBody>
      </p:sp>
      <p:sp>
        <p:nvSpPr>
          <p:cNvPr id="22" name="Text Placeholder 4">
            <a:extLst>
              <a:ext uri="{FF2B5EF4-FFF2-40B4-BE49-F238E27FC236}">
                <a16:creationId xmlns:a16="http://schemas.microsoft.com/office/drawing/2014/main" id="{CB6C9036-0A8B-7349-8D52-7E2AAB615DFF}"/>
              </a:ext>
            </a:extLst>
          </p:cNvPr>
          <p:cNvSpPr>
            <a:spLocks noGrp="1"/>
          </p:cNvSpPr>
          <p:nvPr>
            <p:ph type="body" sz="quarter" idx="78" hasCustomPrompt="1"/>
          </p:nvPr>
        </p:nvSpPr>
        <p:spPr>
          <a:xfrm>
            <a:off x="324001" y="170008"/>
            <a:ext cx="4391452"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Compensation</a:t>
            </a:r>
          </a:p>
        </p:txBody>
      </p:sp>
      <p:sp>
        <p:nvSpPr>
          <p:cNvPr id="10" name="Date Placeholder 2">
            <a:extLst>
              <a:ext uri="{FF2B5EF4-FFF2-40B4-BE49-F238E27FC236}">
                <a16:creationId xmlns:a16="http://schemas.microsoft.com/office/drawing/2014/main" id="{0258F526-2991-654E-89CE-090024A18EE9}"/>
              </a:ext>
            </a:extLst>
          </p:cNvPr>
          <p:cNvSpPr>
            <a:spLocks noGrp="1"/>
          </p:cNvSpPr>
          <p:nvPr>
            <p:ph type="dt" sz="half" idx="10"/>
          </p:nvPr>
        </p:nvSpPr>
        <p:spPr>
          <a:xfrm>
            <a:off x="324002" y="4972079"/>
            <a:ext cx="494319" cy="92455"/>
          </a:xfrm>
        </p:spPr>
        <p:txBody>
          <a:bodyPr/>
          <a:lstStyle/>
          <a:p>
            <a:fld id="{BBED623D-918C-46B2-99BB-D28A69FEBE0A}" type="datetime1">
              <a:rPr lang="de-DE" smtClean="0"/>
              <a:t>24.01.2024</a:t>
            </a:fld>
            <a:endParaRPr lang="en-US"/>
          </a:p>
        </p:txBody>
      </p:sp>
      <p:sp>
        <p:nvSpPr>
          <p:cNvPr id="14" name="Text Placeholder 2">
            <a:extLst>
              <a:ext uri="{FF2B5EF4-FFF2-40B4-BE49-F238E27FC236}">
                <a16:creationId xmlns:a16="http://schemas.microsoft.com/office/drawing/2014/main" id="{5A4297E3-6BA1-5146-BB36-6201098555B1}"/>
              </a:ext>
            </a:extLst>
          </p:cNvPr>
          <p:cNvSpPr>
            <a:spLocks noGrp="1"/>
          </p:cNvSpPr>
          <p:nvPr>
            <p:ph type="body" sz="quarter" idx="81" hasCustomPrompt="1"/>
          </p:nvPr>
        </p:nvSpPr>
        <p:spPr>
          <a:xfrm>
            <a:off x="324001" y="1108472"/>
            <a:ext cx="4812971" cy="3387603"/>
          </a:xfrm>
          <a:prstGeom prst="rect">
            <a:avLst/>
          </a:prstGeom>
        </p:spPr>
        <p:txBody>
          <a:bodyPr lIns="0">
            <a:noAutofit/>
          </a:bodyPr>
          <a:lstStyle>
            <a:lvl1pPr marL="0" indent="0">
              <a:lnSpc>
                <a:spcPct val="110000"/>
              </a:lnSpc>
              <a:spcBef>
                <a:spcPts val="225"/>
              </a:spcBef>
              <a:buClr>
                <a:schemeClr val="accent1"/>
              </a:buClr>
              <a:buFont typeface="Arial" panose="020B0604020202020204" pitchFamily="34" charset="0"/>
              <a:buNone/>
              <a:defRPr sz="900" spc="0">
                <a:solidFill>
                  <a:srgbClr val="000000"/>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The statement of work described was estimated in detail  based on the current state of knowledge and offered according to effort in a time &amp; materials offer. Project duration is 30 working days between: 26.04.2021 and 11.05.2021.</a:t>
            </a:r>
          </a:p>
          <a:p>
            <a:pPr lvl="0"/>
            <a:endParaRPr lang="en-GB"/>
          </a:p>
          <a:p>
            <a:pPr lvl="0"/>
            <a:r>
              <a:rPr lang="en-GB"/>
              <a:t>From the time the order is received, P3 guarantees a project start within two weeks at the latest. Travel expenses will be invoiced based on client demands.</a:t>
            </a:r>
          </a:p>
          <a:p>
            <a:pPr lvl="0"/>
            <a:endParaRPr lang="en-GB"/>
          </a:p>
          <a:p>
            <a:pPr lvl="0"/>
            <a:r>
              <a:rPr lang="en-GB"/>
              <a:t>Any kind of changes in any way which influents the project scope must be subject to written agreement between client and P3.</a:t>
            </a:r>
          </a:p>
          <a:p>
            <a:pPr lvl="0"/>
            <a:endParaRPr lang="en-GB"/>
          </a:p>
          <a:p>
            <a:pPr lvl="0"/>
            <a:r>
              <a:rPr lang="en-GB"/>
              <a:t>We guarantee you an efficient and effective project process and look forward to your order.</a:t>
            </a:r>
          </a:p>
          <a:p>
            <a:pPr lvl="0"/>
            <a:endParaRPr lang="en-GB"/>
          </a:p>
          <a:p>
            <a:pPr lvl="0"/>
            <a:endParaRPr lang="en-GB"/>
          </a:p>
          <a:p>
            <a:pPr lvl="0"/>
            <a:endParaRPr lang="en-GB"/>
          </a:p>
          <a:p>
            <a:pPr lvl="0"/>
            <a:r>
              <a:rPr lang="en-GB"/>
              <a:t>Best regards,</a:t>
            </a:r>
          </a:p>
          <a:p>
            <a:pPr lvl="0"/>
            <a:endParaRPr lang="en-GB"/>
          </a:p>
          <a:p>
            <a:pPr lvl="0"/>
            <a:r>
              <a:rPr lang="en-GB"/>
              <a:t>Marius </a:t>
            </a:r>
            <a:r>
              <a:rPr lang="en-GB" err="1"/>
              <a:t>Mailat</a:t>
            </a:r>
            <a:endParaRPr lang="en-GB"/>
          </a:p>
          <a:p>
            <a:pPr lvl="0"/>
            <a:r>
              <a:rPr lang="en-GB"/>
              <a:t>P3 digital services GmbH</a:t>
            </a:r>
          </a:p>
        </p:txBody>
      </p:sp>
      <p:sp>
        <p:nvSpPr>
          <p:cNvPr id="16" name="Footer Placeholder 2">
            <a:extLst>
              <a:ext uri="{FF2B5EF4-FFF2-40B4-BE49-F238E27FC236}">
                <a16:creationId xmlns:a16="http://schemas.microsoft.com/office/drawing/2014/main" id="{85E10EA1-C22F-B441-BD2A-F9AFBF15378C}"/>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19" name="Graphic 18">
            <a:extLst>
              <a:ext uri="{FF2B5EF4-FFF2-40B4-BE49-F238E27FC236}">
                <a16:creationId xmlns:a16="http://schemas.microsoft.com/office/drawing/2014/main" id="{CF84B5ED-5CE8-F54D-8804-49716AD930A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3" name="Slide Number Placeholder 3">
            <a:extLst>
              <a:ext uri="{FF2B5EF4-FFF2-40B4-BE49-F238E27FC236}">
                <a16:creationId xmlns:a16="http://schemas.microsoft.com/office/drawing/2014/main" id="{003F6D15-23DE-A749-ADA3-C4B529DB239B}"/>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2795913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jec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A9CB27-C6B6-E64D-AC97-1F9FC192EA01}"/>
              </a:ext>
            </a:extLst>
          </p:cNvPr>
          <p:cNvSpPr>
            <a:spLocks noGrp="1"/>
          </p:cNvSpPr>
          <p:nvPr>
            <p:ph type="body" sz="quarter" idx="79" hasCustomPrompt="1"/>
          </p:nvPr>
        </p:nvSpPr>
        <p:spPr>
          <a:xfrm>
            <a:off x="324000" y="1108472"/>
            <a:ext cx="3614739" cy="205978"/>
          </a:xfrm>
          <a:prstGeom prst="rect">
            <a:avLst/>
          </a:prstGeom>
        </p:spPr>
        <p:txBody>
          <a:bodyPr lIns="0">
            <a:normAutofit/>
          </a:bodyPr>
          <a:lstStyle>
            <a:lvl1pPr marL="0" indent="0">
              <a:buNone/>
              <a:defRPr sz="1200" spc="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Project description</a:t>
            </a:r>
          </a:p>
        </p:txBody>
      </p:sp>
      <p:sp>
        <p:nvSpPr>
          <p:cNvPr id="12" name="Text Placeholder 2">
            <a:extLst>
              <a:ext uri="{FF2B5EF4-FFF2-40B4-BE49-F238E27FC236}">
                <a16:creationId xmlns:a16="http://schemas.microsoft.com/office/drawing/2014/main" id="{F58AE8E5-B763-C34A-875F-F05114822075}"/>
              </a:ext>
            </a:extLst>
          </p:cNvPr>
          <p:cNvSpPr>
            <a:spLocks noGrp="1"/>
          </p:cNvSpPr>
          <p:nvPr>
            <p:ph type="body" sz="quarter" idx="81" hasCustomPrompt="1"/>
          </p:nvPr>
        </p:nvSpPr>
        <p:spPr>
          <a:xfrm>
            <a:off x="324002" y="1348502"/>
            <a:ext cx="6192727" cy="543986"/>
          </a:xfrm>
          <a:prstGeom prst="rect">
            <a:avLst/>
          </a:prstGeom>
        </p:spPr>
        <p:txBody>
          <a:bodyPr lIns="0" numCol="1"/>
          <a:lstStyle>
            <a:lvl1pPr marL="0" indent="0">
              <a:lnSpc>
                <a:spcPct val="110000"/>
              </a:lnSpc>
              <a:spcBef>
                <a:spcPts val="225"/>
              </a:spcBef>
              <a:buClr>
                <a:schemeClr val="accent1"/>
              </a:buClr>
              <a:buFont typeface="Arial" panose="020B0604020202020204" pitchFamily="34" charset="0"/>
              <a:buNone/>
              <a:defRPr sz="900" spc="0">
                <a:solidFill>
                  <a:srgbClr val="000000"/>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Project description</a:t>
            </a:r>
          </a:p>
          <a:p>
            <a:pPr lvl="0"/>
            <a:endParaRPr lang="en-GB"/>
          </a:p>
        </p:txBody>
      </p:sp>
      <p:sp>
        <p:nvSpPr>
          <p:cNvPr id="18" name="Text Placeholder 2">
            <a:extLst>
              <a:ext uri="{FF2B5EF4-FFF2-40B4-BE49-F238E27FC236}">
                <a16:creationId xmlns:a16="http://schemas.microsoft.com/office/drawing/2014/main" id="{A39D851A-F8D4-7D4D-AC43-EF81D36A3C67}"/>
              </a:ext>
            </a:extLst>
          </p:cNvPr>
          <p:cNvSpPr>
            <a:spLocks noGrp="1"/>
          </p:cNvSpPr>
          <p:nvPr>
            <p:ph type="body" sz="quarter" idx="87" hasCustomPrompt="1"/>
          </p:nvPr>
        </p:nvSpPr>
        <p:spPr>
          <a:xfrm>
            <a:off x="324000" y="2111292"/>
            <a:ext cx="1869227" cy="205978"/>
          </a:xfrm>
          <a:prstGeom prst="rect">
            <a:avLst/>
          </a:prstGeom>
        </p:spPr>
        <p:txBody>
          <a:bodyPr lIns="0"/>
          <a:lstStyle>
            <a:lvl1pPr marL="0" indent="0">
              <a:buNone/>
              <a:defRPr sz="1200" spc="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Features</a:t>
            </a:r>
          </a:p>
        </p:txBody>
      </p:sp>
      <p:sp>
        <p:nvSpPr>
          <p:cNvPr id="19" name="Text Placeholder 2">
            <a:extLst>
              <a:ext uri="{FF2B5EF4-FFF2-40B4-BE49-F238E27FC236}">
                <a16:creationId xmlns:a16="http://schemas.microsoft.com/office/drawing/2014/main" id="{36B0B85F-ECA7-764B-8BF0-8A1762C5D033}"/>
              </a:ext>
            </a:extLst>
          </p:cNvPr>
          <p:cNvSpPr>
            <a:spLocks noGrp="1"/>
          </p:cNvSpPr>
          <p:nvPr>
            <p:ph type="body" sz="quarter" idx="88" hasCustomPrompt="1"/>
          </p:nvPr>
        </p:nvSpPr>
        <p:spPr>
          <a:xfrm>
            <a:off x="324000" y="2351322"/>
            <a:ext cx="6192728" cy="1724514"/>
          </a:xfrm>
          <a:prstGeom prst="rect">
            <a:avLst/>
          </a:prstGeom>
        </p:spPr>
        <p:txBody>
          <a:bodyPr lIns="0" numCol="1">
            <a:normAutofit/>
          </a:bodyPr>
          <a:lstStyle>
            <a:lvl1pPr marL="89998" indent="-89998">
              <a:lnSpc>
                <a:spcPct val="110000"/>
              </a:lnSpc>
              <a:spcBef>
                <a:spcPts val="225"/>
              </a:spcBef>
              <a:buClr>
                <a:schemeClr val="accent1"/>
              </a:buClr>
              <a:buFont typeface="Arial" panose="020B0604020202020204" pitchFamily="34" charset="0"/>
              <a:buChar char="•"/>
              <a:defRPr sz="900" spc="0">
                <a:solidFill>
                  <a:srgbClr val="000000"/>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Features</a:t>
            </a:r>
          </a:p>
        </p:txBody>
      </p:sp>
      <p:sp>
        <p:nvSpPr>
          <p:cNvPr id="20" name="Text Placeholder 4">
            <a:extLst>
              <a:ext uri="{FF2B5EF4-FFF2-40B4-BE49-F238E27FC236}">
                <a16:creationId xmlns:a16="http://schemas.microsoft.com/office/drawing/2014/main" id="{0295E9D2-9FF8-AF4C-BE3E-3ECF6CFD962E}"/>
              </a:ext>
            </a:extLst>
          </p:cNvPr>
          <p:cNvSpPr>
            <a:spLocks noGrp="1"/>
          </p:cNvSpPr>
          <p:nvPr>
            <p:ph type="body" sz="quarter" idx="77" hasCustomPrompt="1"/>
          </p:nvPr>
        </p:nvSpPr>
        <p:spPr>
          <a:xfrm>
            <a:off x="324000" y="569828"/>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21" name="Text Placeholder 4">
            <a:extLst>
              <a:ext uri="{FF2B5EF4-FFF2-40B4-BE49-F238E27FC236}">
                <a16:creationId xmlns:a16="http://schemas.microsoft.com/office/drawing/2014/main" id="{4ADEF343-A7B4-CC43-8BBE-19DC639866DB}"/>
              </a:ext>
            </a:extLst>
          </p:cNvPr>
          <p:cNvSpPr>
            <a:spLocks noGrp="1"/>
          </p:cNvSpPr>
          <p:nvPr>
            <p:ph type="body" sz="quarter" idx="78" hasCustomPrompt="1"/>
          </p:nvPr>
        </p:nvSpPr>
        <p:spPr>
          <a:xfrm>
            <a:off x="324000" y="170008"/>
            <a:ext cx="579552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28" name="Rounded Rectangle 27">
            <a:extLst>
              <a:ext uri="{FF2B5EF4-FFF2-40B4-BE49-F238E27FC236}">
                <a16:creationId xmlns:a16="http://schemas.microsoft.com/office/drawing/2014/main" id="{66FAF3BA-7869-2342-8875-AD6B97F7CD72}"/>
              </a:ext>
            </a:extLst>
          </p:cNvPr>
          <p:cNvSpPr/>
          <p:nvPr/>
        </p:nvSpPr>
        <p:spPr>
          <a:xfrm>
            <a:off x="7073861" y="996372"/>
            <a:ext cx="1492587" cy="3079464"/>
          </a:xfrm>
          <a:prstGeom prst="roundRect">
            <a:avLst>
              <a:gd name="adj" fmla="val 12486"/>
            </a:avLst>
          </a:prstGeom>
          <a:solidFill>
            <a:srgbClr val="FFFFFF"/>
          </a:solidFill>
          <a:ln w="12700" cap="flat" cmpd="sng" algn="ctr">
            <a:noFill/>
            <a:prstDash val="solid"/>
            <a:miter lim="800000"/>
          </a:ln>
          <a:effectLst>
            <a:outerShdw blurRad="266700" dist="50800" dir="2700000" sx="101000" sy="101000" algn="ctr" rotWithShape="0">
              <a:srgbClr val="000000">
                <a:alpha val="25000"/>
              </a:srgbClr>
            </a:outerShdw>
          </a:effectLst>
        </p:spPr>
        <p:txBody>
          <a:bodyPr rtlCol="0" anchor="ctr"/>
          <a:lstStyle/>
          <a:p>
            <a:pPr marL="0" marR="0" lvl="0" indent="0" algn="ctr" defTabSz="171446" eaLnBrk="1" fontAlgn="auto" latinLnBrk="0" hangingPunct="1">
              <a:lnSpc>
                <a:spcPct val="100000"/>
              </a:lnSpc>
              <a:spcBef>
                <a:spcPts val="0"/>
              </a:spcBef>
              <a:spcAft>
                <a:spcPts val="0"/>
              </a:spcAft>
              <a:buClrTx/>
              <a:buSzTx/>
              <a:buFontTx/>
              <a:buNone/>
              <a:tabLst/>
              <a:defRPr/>
            </a:pPr>
            <a:endParaRPr kumimoji="0" lang="en-RO" sz="675" b="0" i="0" u="none" strike="noStrike" kern="0" cap="none" spc="0" normalizeH="0" baseline="0" noProof="0">
              <a:ln>
                <a:noFill/>
              </a:ln>
              <a:solidFill>
                <a:srgbClr val="FFFFFF"/>
              </a:solidFill>
              <a:effectLst/>
              <a:uLnTx/>
              <a:uFillTx/>
              <a:latin typeface="Roboto Light" panose="02000000000000000000" pitchFamily="2" charset="0"/>
              <a:ea typeface="+mn-ea"/>
              <a:cs typeface="+mn-cs"/>
            </a:endParaRPr>
          </a:p>
        </p:txBody>
      </p:sp>
      <p:sp>
        <p:nvSpPr>
          <p:cNvPr id="32" name="Picture Placeholder 3">
            <a:extLst>
              <a:ext uri="{FF2B5EF4-FFF2-40B4-BE49-F238E27FC236}">
                <a16:creationId xmlns:a16="http://schemas.microsoft.com/office/drawing/2014/main" id="{8C2622FB-5CAD-A241-95B2-916E8EA6E8EF}"/>
              </a:ext>
            </a:extLst>
          </p:cNvPr>
          <p:cNvSpPr>
            <a:spLocks noGrp="1"/>
          </p:cNvSpPr>
          <p:nvPr>
            <p:ph type="pic" sz="quarter" idx="89"/>
          </p:nvPr>
        </p:nvSpPr>
        <p:spPr>
          <a:xfrm>
            <a:off x="7147942" y="1067665"/>
            <a:ext cx="1344431" cy="2926112"/>
          </a:xfrm>
          <a:prstGeom prst="roundRect">
            <a:avLst>
              <a:gd name="adj" fmla="val 9540"/>
            </a:avLst>
          </a:prstGeom>
          <a:ln w="19050">
            <a:solidFill>
              <a:srgbClr val="424242"/>
            </a:solidFill>
          </a:ln>
        </p:spPr>
        <p:txBody>
          <a:bodyPr anchor="ctr"/>
          <a:lstStyle>
            <a:lvl1pPr marL="0" indent="0" algn="ctr">
              <a:buNone/>
              <a:defRPr sz="751"/>
            </a:lvl1pPr>
          </a:lstStyle>
          <a:p>
            <a:r>
              <a:rPr lang="en-US"/>
              <a:t>Click icon to add picture</a:t>
            </a:r>
            <a:endParaRPr lang="en-RO"/>
          </a:p>
        </p:txBody>
      </p:sp>
      <p:sp>
        <p:nvSpPr>
          <p:cNvPr id="22" name="Date Placeholder 2">
            <a:extLst>
              <a:ext uri="{FF2B5EF4-FFF2-40B4-BE49-F238E27FC236}">
                <a16:creationId xmlns:a16="http://schemas.microsoft.com/office/drawing/2014/main" id="{BD1AF8A8-DCE9-DA40-9139-F35CE66F4D34}"/>
              </a:ext>
            </a:extLst>
          </p:cNvPr>
          <p:cNvSpPr>
            <a:spLocks noGrp="1"/>
          </p:cNvSpPr>
          <p:nvPr>
            <p:ph type="dt" sz="half" idx="10"/>
          </p:nvPr>
        </p:nvSpPr>
        <p:spPr>
          <a:xfrm>
            <a:off x="324002" y="4972079"/>
            <a:ext cx="494319" cy="92455"/>
          </a:xfrm>
        </p:spPr>
        <p:txBody>
          <a:bodyPr/>
          <a:lstStyle/>
          <a:p>
            <a:fld id="{525A0CA6-B885-43E3-A2D3-2DE8F2B82957}" type="datetime1">
              <a:rPr lang="de-DE" smtClean="0"/>
              <a:t>24.01.2024</a:t>
            </a:fld>
            <a:endParaRPr lang="en-US"/>
          </a:p>
        </p:txBody>
      </p:sp>
      <p:sp>
        <p:nvSpPr>
          <p:cNvPr id="25" name="Rounded Rectangle 27">
            <a:extLst>
              <a:ext uri="{FF2B5EF4-FFF2-40B4-BE49-F238E27FC236}">
                <a16:creationId xmlns:a16="http://schemas.microsoft.com/office/drawing/2014/main" id="{72576185-0B8D-455D-BAD6-0FA56E2622C8}"/>
              </a:ext>
            </a:extLst>
          </p:cNvPr>
          <p:cNvSpPr/>
          <p:nvPr userDrawn="1"/>
        </p:nvSpPr>
        <p:spPr>
          <a:xfrm>
            <a:off x="7073861" y="996372"/>
            <a:ext cx="1492587" cy="3079464"/>
          </a:xfrm>
          <a:prstGeom prst="roundRect">
            <a:avLst>
              <a:gd name="adj" fmla="val 12486"/>
            </a:avLst>
          </a:prstGeom>
          <a:solidFill>
            <a:srgbClr val="FFFFFF"/>
          </a:solidFill>
          <a:ln w="12700" cap="flat" cmpd="sng" algn="ctr">
            <a:noFill/>
            <a:prstDash val="solid"/>
            <a:miter lim="800000"/>
          </a:ln>
          <a:effectLst>
            <a:outerShdw blurRad="266700" dist="50800" dir="2700000" sx="101000" sy="101000" algn="ctr" rotWithShape="0">
              <a:srgbClr val="000000">
                <a:alpha val="25000"/>
              </a:srgbClr>
            </a:outerShdw>
          </a:effectLst>
        </p:spPr>
        <p:txBody>
          <a:bodyPr rtlCol="0" anchor="ctr"/>
          <a:lstStyle/>
          <a:p>
            <a:pPr marL="0" marR="0" lvl="0" indent="0" algn="ctr" defTabSz="171446" eaLnBrk="1" fontAlgn="auto" latinLnBrk="0" hangingPunct="1">
              <a:lnSpc>
                <a:spcPct val="100000"/>
              </a:lnSpc>
              <a:spcBef>
                <a:spcPts val="0"/>
              </a:spcBef>
              <a:spcAft>
                <a:spcPts val="0"/>
              </a:spcAft>
              <a:buClrTx/>
              <a:buSzTx/>
              <a:buFontTx/>
              <a:buNone/>
              <a:tabLst/>
              <a:defRPr/>
            </a:pPr>
            <a:endParaRPr kumimoji="0" lang="en-RO" sz="675" b="0" i="0" u="none" strike="noStrike" kern="0" cap="none" spc="0" normalizeH="0" baseline="0" noProof="0">
              <a:ln>
                <a:noFill/>
              </a:ln>
              <a:solidFill>
                <a:srgbClr val="FFFFFF"/>
              </a:solidFill>
              <a:effectLst/>
              <a:uLnTx/>
              <a:uFillTx/>
              <a:latin typeface="Roboto Light" panose="02000000000000000000" pitchFamily="2" charset="0"/>
              <a:ea typeface="+mn-ea"/>
              <a:cs typeface="+mn-cs"/>
            </a:endParaRPr>
          </a:p>
        </p:txBody>
      </p:sp>
      <p:sp>
        <p:nvSpPr>
          <p:cNvPr id="4" name="Text Placeholder 3">
            <a:extLst>
              <a:ext uri="{FF2B5EF4-FFF2-40B4-BE49-F238E27FC236}">
                <a16:creationId xmlns:a16="http://schemas.microsoft.com/office/drawing/2014/main" id="{C4389B7A-1FA1-7A4D-A67C-9EEBBDE4DACA}"/>
              </a:ext>
            </a:extLst>
          </p:cNvPr>
          <p:cNvSpPr>
            <a:spLocks noGrp="1"/>
          </p:cNvSpPr>
          <p:nvPr>
            <p:ph type="body" sz="quarter" idx="95" hasCustomPrompt="1"/>
          </p:nvPr>
        </p:nvSpPr>
        <p:spPr>
          <a:xfrm>
            <a:off x="319872" y="4292261"/>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1</a:t>
            </a:r>
            <a:endParaRPr lang="en-RO"/>
          </a:p>
        </p:txBody>
      </p:sp>
      <p:sp>
        <p:nvSpPr>
          <p:cNvPr id="27" name="Text Placeholder 3">
            <a:extLst>
              <a:ext uri="{FF2B5EF4-FFF2-40B4-BE49-F238E27FC236}">
                <a16:creationId xmlns:a16="http://schemas.microsoft.com/office/drawing/2014/main" id="{94498614-8FF2-0C44-AA14-446A853A54B3}"/>
              </a:ext>
            </a:extLst>
          </p:cNvPr>
          <p:cNvSpPr>
            <a:spLocks noGrp="1"/>
          </p:cNvSpPr>
          <p:nvPr>
            <p:ph type="body" sz="quarter" idx="96" hasCustomPrompt="1"/>
          </p:nvPr>
        </p:nvSpPr>
        <p:spPr>
          <a:xfrm>
            <a:off x="1425005" y="4292261"/>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2</a:t>
            </a:r>
            <a:endParaRPr lang="en-RO"/>
          </a:p>
        </p:txBody>
      </p:sp>
      <p:sp>
        <p:nvSpPr>
          <p:cNvPr id="29" name="Text Placeholder 3">
            <a:extLst>
              <a:ext uri="{FF2B5EF4-FFF2-40B4-BE49-F238E27FC236}">
                <a16:creationId xmlns:a16="http://schemas.microsoft.com/office/drawing/2014/main" id="{46B8F709-7A6E-7D49-A31D-9D4EF10E8224}"/>
              </a:ext>
            </a:extLst>
          </p:cNvPr>
          <p:cNvSpPr>
            <a:spLocks noGrp="1"/>
          </p:cNvSpPr>
          <p:nvPr>
            <p:ph type="body" sz="quarter" idx="97" hasCustomPrompt="1"/>
          </p:nvPr>
        </p:nvSpPr>
        <p:spPr>
          <a:xfrm>
            <a:off x="2530137" y="4292261"/>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3</a:t>
            </a:r>
            <a:endParaRPr lang="en-RO"/>
          </a:p>
        </p:txBody>
      </p:sp>
      <p:sp>
        <p:nvSpPr>
          <p:cNvPr id="30" name="Text Placeholder 3">
            <a:extLst>
              <a:ext uri="{FF2B5EF4-FFF2-40B4-BE49-F238E27FC236}">
                <a16:creationId xmlns:a16="http://schemas.microsoft.com/office/drawing/2014/main" id="{DBAEC4A3-DDAD-6B47-A9E4-DD15727DC85C}"/>
              </a:ext>
            </a:extLst>
          </p:cNvPr>
          <p:cNvSpPr>
            <a:spLocks noGrp="1"/>
          </p:cNvSpPr>
          <p:nvPr>
            <p:ph type="body" sz="quarter" idx="98" hasCustomPrompt="1"/>
          </p:nvPr>
        </p:nvSpPr>
        <p:spPr>
          <a:xfrm>
            <a:off x="3635272" y="4292261"/>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4</a:t>
            </a:r>
            <a:endParaRPr lang="en-RO"/>
          </a:p>
        </p:txBody>
      </p:sp>
      <p:sp>
        <p:nvSpPr>
          <p:cNvPr id="26" name="Footer Placeholder 2">
            <a:extLst>
              <a:ext uri="{FF2B5EF4-FFF2-40B4-BE49-F238E27FC236}">
                <a16:creationId xmlns:a16="http://schemas.microsoft.com/office/drawing/2014/main" id="{BCD53B40-CBBA-B842-9B22-3AC38141B53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33" name="Graphic 32">
            <a:extLst>
              <a:ext uri="{FF2B5EF4-FFF2-40B4-BE49-F238E27FC236}">
                <a16:creationId xmlns:a16="http://schemas.microsoft.com/office/drawing/2014/main" id="{4501F85D-8B47-EA45-A4A2-1FD4B27BC3F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4" name="Slide Number Placeholder 3">
            <a:extLst>
              <a:ext uri="{FF2B5EF4-FFF2-40B4-BE49-F238E27FC236}">
                <a16:creationId xmlns:a16="http://schemas.microsoft.com/office/drawing/2014/main" id="{3FC57C3F-FB3E-4A42-896E-E3EB19DFABA5}"/>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9984458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ject v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A9CB27-C6B6-E64D-AC97-1F9FC192EA01}"/>
              </a:ext>
            </a:extLst>
          </p:cNvPr>
          <p:cNvSpPr>
            <a:spLocks noGrp="1"/>
          </p:cNvSpPr>
          <p:nvPr>
            <p:ph type="body" sz="quarter" idx="79" hasCustomPrompt="1"/>
          </p:nvPr>
        </p:nvSpPr>
        <p:spPr>
          <a:xfrm>
            <a:off x="324000" y="1108472"/>
            <a:ext cx="3255381"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Project description</a:t>
            </a:r>
          </a:p>
        </p:txBody>
      </p:sp>
      <p:sp>
        <p:nvSpPr>
          <p:cNvPr id="12" name="Text Placeholder 2">
            <a:extLst>
              <a:ext uri="{FF2B5EF4-FFF2-40B4-BE49-F238E27FC236}">
                <a16:creationId xmlns:a16="http://schemas.microsoft.com/office/drawing/2014/main" id="{F58AE8E5-B763-C34A-875F-F05114822075}"/>
              </a:ext>
            </a:extLst>
          </p:cNvPr>
          <p:cNvSpPr>
            <a:spLocks noGrp="1"/>
          </p:cNvSpPr>
          <p:nvPr>
            <p:ph type="body" sz="quarter" idx="81" hasCustomPrompt="1"/>
          </p:nvPr>
        </p:nvSpPr>
        <p:spPr>
          <a:xfrm>
            <a:off x="324002" y="1348505"/>
            <a:ext cx="6429007" cy="337245"/>
          </a:xfrm>
          <a:prstGeom prst="rect">
            <a:avLst/>
          </a:prstGeom>
        </p:spPr>
        <p:txBody>
          <a:bodyPr lIns="0">
            <a:normAutofit/>
          </a:bodyPr>
          <a:lstStyle>
            <a:lvl1pPr marL="0" indent="0">
              <a:lnSpc>
                <a:spcPct val="110000"/>
              </a:lnSpc>
              <a:spcBef>
                <a:spcPts val="225"/>
              </a:spcBef>
              <a:buClr>
                <a:schemeClr val="accent1"/>
              </a:buClr>
              <a:buFont typeface="Arial" panose="020B0604020202020204" pitchFamily="34" charset="0"/>
              <a:buNone/>
              <a:defRPr sz="900" spc="0">
                <a:solidFill>
                  <a:srgbClr val="000000"/>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Project description</a:t>
            </a:r>
          </a:p>
          <a:p>
            <a:pPr lvl="0"/>
            <a:endParaRPr lang="en-GB"/>
          </a:p>
        </p:txBody>
      </p:sp>
      <p:sp>
        <p:nvSpPr>
          <p:cNvPr id="18" name="Text Placeholder 2">
            <a:extLst>
              <a:ext uri="{FF2B5EF4-FFF2-40B4-BE49-F238E27FC236}">
                <a16:creationId xmlns:a16="http://schemas.microsoft.com/office/drawing/2014/main" id="{A39D851A-F8D4-7D4D-AC43-EF81D36A3C67}"/>
              </a:ext>
            </a:extLst>
          </p:cNvPr>
          <p:cNvSpPr>
            <a:spLocks noGrp="1"/>
          </p:cNvSpPr>
          <p:nvPr>
            <p:ph type="body" sz="quarter" idx="87" hasCustomPrompt="1"/>
          </p:nvPr>
        </p:nvSpPr>
        <p:spPr>
          <a:xfrm>
            <a:off x="324000" y="1875536"/>
            <a:ext cx="1509869"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Approach</a:t>
            </a:r>
          </a:p>
        </p:txBody>
      </p:sp>
      <p:sp>
        <p:nvSpPr>
          <p:cNvPr id="19" name="Text Placeholder 2">
            <a:extLst>
              <a:ext uri="{FF2B5EF4-FFF2-40B4-BE49-F238E27FC236}">
                <a16:creationId xmlns:a16="http://schemas.microsoft.com/office/drawing/2014/main" id="{36B0B85F-ECA7-764B-8BF0-8A1762C5D033}"/>
              </a:ext>
            </a:extLst>
          </p:cNvPr>
          <p:cNvSpPr>
            <a:spLocks noGrp="1"/>
          </p:cNvSpPr>
          <p:nvPr>
            <p:ph type="body" sz="quarter" idx="88" hasCustomPrompt="1"/>
          </p:nvPr>
        </p:nvSpPr>
        <p:spPr>
          <a:xfrm>
            <a:off x="324002" y="2115568"/>
            <a:ext cx="3406951" cy="1560887"/>
          </a:xfrm>
          <a:prstGeom prst="rect">
            <a:avLst/>
          </a:prstGeom>
        </p:spPr>
        <p:txBody>
          <a:bodyPr lIns="0" numCol="1"/>
          <a:lstStyle>
            <a:lvl1pPr marL="89998" indent="-89998">
              <a:lnSpc>
                <a:spcPct val="110000"/>
              </a:lnSpc>
              <a:spcBef>
                <a:spcPts val="225"/>
              </a:spcBef>
              <a:buClr>
                <a:schemeClr val="accent1"/>
              </a:buClr>
              <a:buFont typeface="Arial" panose="020B0604020202020204" pitchFamily="34" charset="0"/>
              <a:buChar char="•"/>
              <a:defRPr sz="900" spc="0">
                <a:solidFill>
                  <a:srgbClr val="000000"/>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Approach</a:t>
            </a:r>
          </a:p>
        </p:txBody>
      </p:sp>
      <p:sp>
        <p:nvSpPr>
          <p:cNvPr id="22" name="Text Placeholder 2">
            <a:extLst>
              <a:ext uri="{FF2B5EF4-FFF2-40B4-BE49-F238E27FC236}">
                <a16:creationId xmlns:a16="http://schemas.microsoft.com/office/drawing/2014/main" id="{CC28C8A4-9BD1-FF4B-A128-84FB4840BB05}"/>
              </a:ext>
            </a:extLst>
          </p:cNvPr>
          <p:cNvSpPr>
            <a:spLocks noGrp="1"/>
          </p:cNvSpPr>
          <p:nvPr>
            <p:ph type="body" sz="quarter" idx="94" hasCustomPrompt="1"/>
          </p:nvPr>
        </p:nvSpPr>
        <p:spPr>
          <a:xfrm>
            <a:off x="4135631" y="1875536"/>
            <a:ext cx="1509869"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Details</a:t>
            </a:r>
          </a:p>
        </p:txBody>
      </p:sp>
      <p:sp>
        <p:nvSpPr>
          <p:cNvPr id="23" name="Text Placeholder 2">
            <a:extLst>
              <a:ext uri="{FF2B5EF4-FFF2-40B4-BE49-F238E27FC236}">
                <a16:creationId xmlns:a16="http://schemas.microsoft.com/office/drawing/2014/main" id="{66BEE029-BA83-6042-8523-2DB4E70AA01F}"/>
              </a:ext>
            </a:extLst>
          </p:cNvPr>
          <p:cNvSpPr>
            <a:spLocks noGrp="1"/>
          </p:cNvSpPr>
          <p:nvPr>
            <p:ph type="body" sz="quarter" idx="95" hasCustomPrompt="1"/>
          </p:nvPr>
        </p:nvSpPr>
        <p:spPr>
          <a:xfrm>
            <a:off x="4135631" y="2115568"/>
            <a:ext cx="2630899" cy="1560887"/>
          </a:xfrm>
          <a:prstGeom prst="rect">
            <a:avLst/>
          </a:prstGeom>
        </p:spPr>
        <p:txBody>
          <a:bodyPr lIns="0" numCol="1"/>
          <a:lstStyle>
            <a:lvl1pPr marL="89998" indent="-89998">
              <a:lnSpc>
                <a:spcPct val="110000"/>
              </a:lnSpc>
              <a:spcBef>
                <a:spcPts val="225"/>
              </a:spcBef>
              <a:buClr>
                <a:schemeClr val="accent1"/>
              </a:buClr>
              <a:buFont typeface="Arial" panose="020B0604020202020204" pitchFamily="34" charset="0"/>
              <a:buChar char="•"/>
              <a:defRPr sz="900" spc="0">
                <a:solidFill>
                  <a:srgbClr val="000000"/>
                </a:solidFill>
              </a:defRPr>
            </a:lvl1pPr>
            <a:lvl2pPr marL="244345" indent="-66149">
              <a:buClr>
                <a:schemeClr val="accent1"/>
              </a:buClr>
              <a:buFont typeface="Arial" panose="020B0604020202020204" pitchFamily="34" charset="0"/>
              <a:buChar char="•"/>
              <a:defRPr sz="751">
                <a:solidFill>
                  <a:srgbClr val="000000"/>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Details</a:t>
            </a:r>
          </a:p>
        </p:txBody>
      </p:sp>
      <p:sp>
        <p:nvSpPr>
          <p:cNvPr id="24" name="Text Placeholder 2">
            <a:extLst>
              <a:ext uri="{FF2B5EF4-FFF2-40B4-BE49-F238E27FC236}">
                <a16:creationId xmlns:a16="http://schemas.microsoft.com/office/drawing/2014/main" id="{120EA07D-DEBB-EF4C-8895-B8571A639E3F}"/>
              </a:ext>
            </a:extLst>
          </p:cNvPr>
          <p:cNvSpPr>
            <a:spLocks noGrp="1"/>
          </p:cNvSpPr>
          <p:nvPr>
            <p:ph type="body" sz="quarter" idx="96" hasCustomPrompt="1"/>
          </p:nvPr>
        </p:nvSpPr>
        <p:spPr>
          <a:xfrm>
            <a:off x="7157435" y="1108472"/>
            <a:ext cx="1662501" cy="205978"/>
          </a:xfrm>
          <a:prstGeom prst="rect">
            <a:avLst/>
          </a:prstGeom>
        </p:spPr>
        <p:txBody>
          <a:bodyPr lIns="0">
            <a:noAutofit/>
          </a:bodyPr>
          <a:lstStyle>
            <a:lvl1pPr marL="0" indent="0">
              <a:buNone/>
              <a:defRPr sz="1200" spc="-56">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ontact person</a:t>
            </a:r>
          </a:p>
        </p:txBody>
      </p:sp>
      <p:sp>
        <p:nvSpPr>
          <p:cNvPr id="30" name="Rectangle 29">
            <a:extLst>
              <a:ext uri="{FF2B5EF4-FFF2-40B4-BE49-F238E27FC236}">
                <a16:creationId xmlns:a16="http://schemas.microsoft.com/office/drawing/2014/main" id="{67A26B6A-2ED7-BD41-BE92-D914EE37ECE2}"/>
              </a:ext>
            </a:extLst>
          </p:cNvPr>
          <p:cNvSpPr/>
          <p:nvPr/>
        </p:nvSpPr>
        <p:spPr>
          <a:xfrm flipV="1">
            <a:off x="7157434" y="2677201"/>
            <a:ext cx="1662567" cy="1272470"/>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675"/>
          </a:p>
        </p:txBody>
      </p:sp>
      <p:sp>
        <p:nvSpPr>
          <p:cNvPr id="36" name="Picture Placeholder 18">
            <a:extLst>
              <a:ext uri="{FF2B5EF4-FFF2-40B4-BE49-F238E27FC236}">
                <a16:creationId xmlns:a16="http://schemas.microsoft.com/office/drawing/2014/main" id="{FED0E9A6-21FE-6D46-8EF5-4A7C19FF95F5}"/>
              </a:ext>
            </a:extLst>
          </p:cNvPr>
          <p:cNvSpPr>
            <a:spLocks noGrp="1"/>
          </p:cNvSpPr>
          <p:nvPr>
            <p:ph type="pic" sz="quarter" idx="100"/>
          </p:nvPr>
        </p:nvSpPr>
        <p:spPr>
          <a:xfrm>
            <a:off x="7157500" y="1434109"/>
            <a:ext cx="1662501" cy="1254845"/>
          </a:xfrm>
          <a:prstGeom prst="rect">
            <a:avLst/>
          </a:prstGeom>
        </p:spPr>
        <p:txBody>
          <a:bodyPr/>
          <a:lstStyle>
            <a:lvl1pPr marL="0" indent="0">
              <a:buNone/>
              <a:defRPr sz="900"/>
            </a:lvl1pPr>
          </a:lstStyle>
          <a:p>
            <a:r>
              <a:rPr lang="en-US"/>
              <a:t>Click icon to add picture</a:t>
            </a:r>
            <a:endParaRPr lang="en-RO"/>
          </a:p>
        </p:txBody>
      </p:sp>
      <p:sp>
        <p:nvSpPr>
          <p:cNvPr id="37" name="Text Placeholder 3">
            <a:extLst>
              <a:ext uri="{FF2B5EF4-FFF2-40B4-BE49-F238E27FC236}">
                <a16:creationId xmlns:a16="http://schemas.microsoft.com/office/drawing/2014/main" id="{5FA7D213-08D0-2644-A334-22DFF244E25E}"/>
              </a:ext>
            </a:extLst>
          </p:cNvPr>
          <p:cNvSpPr>
            <a:spLocks noGrp="1"/>
          </p:cNvSpPr>
          <p:nvPr>
            <p:ph type="body" sz="quarter" idx="101" hasCustomPrompt="1"/>
          </p:nvPr>
        </p:nvSpPr>
        <p:spPr>
          <a:xfrm>
            <a:off x="7262842" y="2809279"/>
            <a:ext cx="1422796" cy="156322"/>
          </a:xfrm>
          <a:prstGeom prst="rect">
            <a:avLst/>
          </a:prstGeom>
        </p:spPr>
        <p:txBody>
          <a:bodyPr lIns="0" tIns="0" rIns="0" bIns="0"/>
          <a:lstStyle>
            <a:lvl1pPr marL="0" indent="0">
              <a:buNone/>
              <a:defRPr sz="900">
                <a:solidFill>
                  <a:schemeClr val="accent1"/>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 Surname</a:t>
            </a:r>
            <a:endParaRPr lang="en-RO"/>
          </a:p>
        </p:txBody>
      </p:sp>
      <p:sp>
        <p:nvSpPr>
          <p:cNvPr id="38" name="Text Placeholder 3">
            <a:extLst>
              <a:ext uri="{FF2B5EF4-FFF2-40B4-BE49-F238E27FC236}">
                <a16:creationId xmlns:a16="http://schemas.microsoft.com/office/drawing/2014/main" id="{BBBE3E9B-DC52-674A-9B09-99803BE65232}"/>
              </a:ext>
            </a:extLst>
          </p:cNvPr>
          <p:cNvSpPr>
            <a:spLocks noGrp="1"/>
          </p:cNvSpPr>
          <p:nvPr>
            <p:ph type="body" sz="quarter" idx="102" hasCustomPrompt="1"/>
          </p:nvPr>
        </p:nvSpPr>
        <p:spPr>
          <a:xfrm>
            <a:off x="7262842" y="2985774"/>
            <a:ext cx="1422796" cy="100157"/>
          </a:xfrm>
          <a:prstGeom prst="rect">
            <a:avLst/>
          </a:prstGeom>
        </p:spPr>
        <p:txBody>
          <a:bodyPr lIns="0" tIns="0" rIns="0" bIns="0"/>
          <a:lstStyle>
            <a:lvl1pPr marL="0" indent="0">
              <a:buNone/>
              <a:defRPr sz="675">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Position</a:t>
            </a:r>
            <a:endParaRPr lang="en-RO"/>
          </a:p>
        </p:txBody>
      </p:sp>
      <p:sp>
        <p:nvSpPr>
          <p:cNvPr id="40" name="Text Placeholder 3">
            <a:extLst>
              <a:ext uri="{FF2B5EF4-FFF2-40B4-BE49-F238E27FC236}">
                <a16:creationId xmlns:a16="http://schemas.microsoft.com/office/drawing/2014/main" id="{5B66F119-9342-2A44-AAA3-4465B4AE6F0E}"/>
              </a:ext>
            </a:extLst>
          </p:cNvPr>
          <p:cNvSpPr>
            <a:spLocks noGrp="1"/>
          </p:cNvSpPr>
          <p:nvPr>
            <p:ph type="body" sz="quarter" idx="103" hasCustomPrompt="1"/>
          </p:nvPr>
        </p:nvSpPr>
        <p:spPr>
          <a:xfrm>
            <a:off x="7262842" y="3620426"/>
            <a:ext cx="1422796" cy="100157"/>
          </a:xfrm>
          <a:prstGeom prst="rect">
            <a:avLst/>
          </a:prstGeom>
        </p:spPr>
        <p:txBody>
          <a:bodyPr lIns="0" tIns="0" rIns="0" bIns="0"/>
          <a:lstStyle>
            <a:lvl1pPr marL="0" indent="0">
              <a:buNone/>
              <a:defRPr sz="525">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49 0000 000 00 00</a:t>
            </a:r>
          </a:p>
        </p:txBody>
      </p:sp>
      <p:sp>
        <p:nvSpPr>
          <p:cNvPr id="41" name="Text Placeholder 3">
            <a:extLst>
              <a:ext uri="{FF2B5EF4-FFF2-40B4-BE49-F238E27FC236}">
                <a16:creationId xmlns:a16="http://schemas.microsoft.com/office/drawing/2014/main" id="{CF9844F5-E414-7D4A-A557-EE89F225D3A8}"/>
              </a:ext>
            </a:extLst>
          </p:cNvPr>
          <p:cNvSpPr>
            <a:spLocks noGrp="1"/>
          </p:cNvSpPr>
          <p:nvPr>
            <p:ph type="body" sz="quarter" idx="104" hasCustomPrompt="1"/>
          </p:nvPr>
        </p:nvSpPr>
        <p:spPr>
          <a:xfrm>
            <a:off x="7262842" y="3746492"/>
            <a:ext cx="1422796" cy="100157"/>
          </a:xfrm>
          <a:prstGeom prst="rect">
            <a:avLst/>
          </a:prstGeom>
        </p:spPr>
        <p:txBody>
          <a:bodyPr lIns="0" tIns="0" rIns="0" bIns="0"/>
          <a:lstStyle>
            <a:lvl1pPr marL="0" indent="0">
              <a:buNone/>
              <a:defRPr sz="525">
                <a:solidFill>
                  <a:schemeClr val="accent3"/>
                </a:solidFill>
              </a:defRPr>
            </a:lvl1pPr>
            <a:lvl2pPr marL="342878" indent="0">
              <a:buNone/>
              <a:defRPr sz="900"/>
            </a:lvl2pPr>
            <a:lvl3pPr marL="685758" indent="0">
              <a:buNone/>
              <a:defRPr sz="900"/>
            </a:lvl3pPr>
            <a:lvl4pPr marL="1028637" indent="0">
              <a:buNone/>
              <a:defRPr sz="900"/>
            </a:lvl4pPr>
            <a:lvl5pPr marL="1371515" indent="0">
              <a:buNone/>
              <a:defRPr sz="900"/>
            </a:lvl5pPr>
          </a:lstStyle>
          <a:p>
            <a:pPr lvl="0"/>
            <a:r>
              <a:rPr lang="en-GB"/>
              <a:t>name.surname@p3-group.com</a:t>
            </a:r>
          </a:p>
        </p:txBody>
      </p:sp>
      <p:sp>
        <p:nvSpPr>
          <p:cNvPr id="4" name="Picture Placeholder 3">
            <a:extLst>
              <a:ext uri="{FF2B5EF4-FFF2-40B4-BE49-F238E27FC236}">
                <a16:creationId xmlns:a16="http://schemas.microsoft.com/office/drawing/2014/main" id="{9F9200B6-2692-F84B-AB1B-2A12D64E6653}"/>
              </a:ext>
            </a:extLst>
          </p:cNvPr>
          <p:cNvSpPr>
            <a:spLocks noGrp="1"/>
          </p:cNvSpPr>
          <p:nvPr>
            <p:ph type="pic" sz="quarter" idx="105"/>
          </p:nvPr>
        </p:nvSpPr>
        <p:spPr>
          <a:xfrm>
            <a:off x="323851" y="3904348"/>
            <a:ext cx="1107072" cy="796500"/>
          </a:xfrm>
          <a:prstGeom prst="rect">
            <a:avLst/>
          </a:prstGeom>
        </p:spPr>
        <p:txBody>
          <a:bodyPr/>
          <a:lstStyle>
            <a:lvl1pPr marL="0" indent="0">
              <a:buNone/>
              <a:defRPr sz="1051"/>
            </a:lvl1pPr>
          </a:lstStyle>
          <a:p>
            <a:r>
              <a:rPr lang="en-US"/>
              <a:t>Click icon to add picture</a:t>
            </a:r>
            <a:endParaRPr lang="en-RO"/>
          </a:p>
        </p:txBody>
      </p:sp>
      <p:sp>
        <p:nvSpPr>
          <p:cNvPr id="29" name="Picture Placeholder 3">
            <a:extLst>
              <a:ext uri="{FF2B5EF4-FFF2-40B4-BE49-F238E27FC236}">
                <a16:creationId xmlns:a16="http://schemas.microsoft.com/office/drawing/2014/main" id="{83D40CCA-1AA3-4145-9438-87EF7441F839}"/>
              </a:ext>
            </a:extLst>
          </p:cNvPr>
          <p:cNvSpPr>
            <a:spLocks noGrp="1"/>
          </p:cNvSpPr>
          <p:nvPr>
            <p:ph type="pic" sz="quarter" idx="106"/>
          </p:nvPr>
        </p:nvSpPr>
        <p:spPr>
          <a:xfrm>
            <a:off x="1473719" y="3904348"/>
            <a:ext cx="1107072" cy="796500"/>
          </a:xfrm>
          <a:prstGeom prst="rect">
            <a:avLst/>
          </a:prstGeom>
        </p:spPr>
        <p:txBody>
          <a:bodyPr/>
          <a:lstStyle>
            <a:lvl1pPr marL="0" indent="0">
              <a:buNone/>
              <a:defRPr sz="1051"/>
            </a:lvl1pPr>
          </a:lstStyle>
          <a:p>
            <a:r>
              <a:rPr lang="en-US"/>
              <a:t>Click icon to add picture</a:t>
            </a:r>
            <a:endParaRPr lang="en-RO"/>
          </a:p>
        </p:txBody>
      </p:sp>
      <p:sp>
        <p:nvSpPr>
          <p:cNvPr id="32" name="Picture Placeholder 3">
            <a:extLst>
              <a:ext uri="{FF2B5EF4-FFF2-40B4-BE49-F238E27FC236}">
                <a16:creationId xmlns:a16="http://schemas.microsoft.com/office/drawing/2014/main" id="{BAF4C444-DDDE-6941-89BD-023959271D4E}"/>
              </a:ext>
            </a:extLst>
          </p:cNvPr>
          <p:cNvSpPr>
            <a:spLocks noGrp="1"/>
          </p:cNvSpPr>
          <p:nvPr>
            <p:ph type="pic" sz="quarter" idx="107"/>
          </p:nvPr>
        </p:nvSpPr>
        <p:spPr>
          <a:xfrm>
            <a:off x="2623587" y="3904348"/>
            <a:ext cx="1107072" cy="796500"/>
          </a:xfrm>
          <a:prstGeom prst="rect">
            <a:avLst/>
          </a:prstGeom>
        </p:spPr>
        <p:txBody>
          <a:bodyPr/>
          <a:lstStyle>
            <a:lvl1pPr marL="0" indent="0">
              <a:buNone/>
              <a:defRPr sz="1051"/>
            </a:lvl1pPr>
          </a:lstStyle>
          <a:p>
            <a:r>
              <a:rPr lang="en-US"/>
              <a:t>Click icon to add picture</a:t>
            </a:r>
            <a:endParaRPr lang="en-RO"/>
          </a:p>
        </p:txBody>
      </p:sp>
      <p:sp>
        <p:nvSpPr>
          <p:cNvPr id="42" name="Date Placeholder 2">
            <a:extLst>
              <a:ext uri="{FF2B5EF4-FFF2-40B4-BE49-F238E27FC236}">
                <a16:creationId xmlns:a16="http://schemas.microsoft.com/office/drawing/2014/main" id="{B593CDB9-0BAB-ED47-963D-8342E2D9F4EE}"/>
              </a:ext>
            </a:extLst>
          </p:cNvPr>
          <p:cNvSpPr>
            <a:spLocks noGrp="1"/>
          </p:cNvSpPr>
          <p:nvPr>
            <p:ph type="dt" sz="half" idx="10"/>
          </p:nvPr>
        </p:nvSpPr>
        <p:spPr>
          <a:xfrm>
            <a:off x="324002" y="4972079"/>
            <a:ext cx="494319" cy="92455"/>
          </a:xfrm>
        </p:spPr>
        <p:txBody>
          <a:bodyPr/>
          <a:lstStyle/>
          <a:p>
            <a:fld id="{9DC19B5E-CACE-4584-8768-3DEA3A33781E}" type="datetime1">
              <a:rPr lang="de-DE" smtClean="0"/>
              <a:t>24.01.2024</a:t>
            </a:fld>
            <a:endParaRPr lang="en-US"/>
          </a:p>
        </p:txBody>
      </p:sp>
      <p:sp>
        <p:nvSpPr>
          <p:cNvPr id="28" name="Rectangle 27">
            <a:extLst>
              <a:ext uri="{FF2B5EF4-FFF2-40B4-BE49-F238E27FC236}">
                <a16:creationId xmlns:a16="http://schemas.microsoft.com/office/drawing/2014/main" id="{87E3EFE4-1D60-459D-82CC-4D83F1E07E45}"/>
              </a:ext>
            </a:extLst>
          </p:cNvPr>
          <p:cNvSpPr/>
          <p:nvPr userDrawn="1"/>
        </p:nvSpPr>
        <p:spPr>
          <a:xfrm flipV="1">
            <a:off x="7157434" y="2677201"/>
            <a:ext cx="1662567" cy="1272470"/>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sz="253"/>
          </a:p>
        </p:txBody>
      </p:sp>
      <p:sp>
        <p:nvSpPr>
          <p:cNvPr id="33" name="Text Placeholder 3">
            <a:extLst>
              <a:ext uri="{FF2B5EF4-FFF2-40B4-BE49-F238E27FC236}">
                <a16:creationId xmlns:a16="http://schemas.microsoft.com/office/drawing/2014/main" id="{61DCBE79-B3F2-204A-9423-1EA5F0243A1F}"/>
              </a:ext>
            </a:extLst>
          </p:cNvPr>
          <p:cNvSpPr>
            <a:spLocks noGrp="1"/>
          </p:cNvSpPr>
          <p:nvPr>
            <p:ph type="body" sz="quarter" idx="108" hasCustomPrompt="1"/>
          </p:nvPr>
        </p:nvSpPr>
        <p:spPr>
          <a:xfrm>
            <a:off x="4480812" y="4459208"/>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1</a:t>
            </a:r>
            <a:endParaRPr lang="en-RO"/>
          </a:p>
        </p:txBody>
      </p:sp>
      <p:sp>
        <p:nvSpPr>
          <p:cNvPr id="34" name="Text Placeholder 3">
            <a:extLst>
              <a:ext uri="{FF2B5EF4-FFF2-40B4-BE49-F238E27FC236}">
                <a16:creationId xmlns:a16="http://schemas.microsoft.com/office/drawing/2014/main" id="{E1E58DED-E7C8-804E-AE6C-E6D87C6A7599}"/>
              </a:ext>
            </a:extLst>
          </p:cNvPr>
          <p:cNvSpPr>
            <a:spLocks noGrp="1"/>
          </p:cNvSpPr>
          <p:nvPr>
            <p:ph type="body" sz="quarter" idx="109" hasCustomPrompt="1"/>
          </p:nvPr>
        </p:nvSpPr>
        <p:spPr>
          <a:xfrm>
            <a:off x="5585945" y="4459208"/>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2</a:t>
            </a:r>
            <a:endParaRPr lang="en-RO"/>
          </a:p>
        </p:txBody>
      </p:sp>
      <p:sp>
        <p:nvSpPr>
          <p:cNvPr id="35" name="Text Placeholder 3">
            <a:extLst>
              <a:ext uri="{FF2B5EF4-FFF2-40B4-BE49-F238E27FC236}">
                <a16:creationId xmlns:a16="http://schemas.microsoft.com/office/drawing/2014/main" id="{53852DCE-3A8E-7E44-943F-E4D8663C4C12}"/>
              </a:ext>
            </a:extLst>
          </p:cNvPr>
          <p:cNvSpPr>
            <a:spLocks noGrp="1"/>
          </p:cNvSpPr>
          <p:nvPr>
            <p:ph type="body" sz="quarter" idx="97" hasCustomPrompt="1"/>
          </p:nvPr>
        </p:nvSpPr>
        <p:spPr>
          <a:xfrm>
            <a:off x="6691077" y="4459208"/>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3</a:t>
            </a:r>
            <a:endParaRPr lang="en-RO"/>
          </a:p>
        </p:txBody>
      </p:sp>
      <p:sp>
        <p:nvSpPr>
          <p:cNvPr id="39" name="Text Placeholder 3">
            <a:extLst>
              <a:ext uri="{FF2B5EF4-FFF2-40B4-BE49-F238E27FC236}">
                <a16:creationId xmlns:a16="http://schemas.microsoft.com/office/drawing/2014/main" id="{567FBED5-60B1-E746-884A-A9819F9AEC06}"/>
              </a:ext>
            </a:extLst>
          </p:cNvPr>
          <p:cNvSpPr>
            <a:spLocks noGrp="1"/>
          </p:cNvSpPr>
          <p:nvPr>
            <p:ph type="body" sz="quarter" idx="98" hasCustomPrompt="1"/>
          </p:nvPr>
        </p:nvSpPr>
        <p:spPr>
          <a:xfrm>
            <a:off x="7796212" y="4459208"/>
            <a:ext cx="1023939" cy="241640"/>
          </a:xfrm>
          <a:prstGeom prst="roundRect">
            <a:avLst>
              <a:gd name="adj" fmla="val 50000"/>
            </a:avLst>
          </a:prstGeom>
          <a:ln w="3175">
            <a:solidFill>
              <a:srgbClr val="B1B1B1"/>
            </a:solidFill>
          </a:ln>
        </p:spPr>
        <p:style>
          <a:lnRef idx="2">
            <a:schemeClr val="dk1"/>
          </a:lnRef>
          <a:fillRef idx="1">
            <a:schemeClr val="lt1"/>
          </a:fillRef>
          <a:effectRef idx="0">
            <a:schemeClr val="dk1"/>
          </a:effectRef>
          <a:fontRef idx="minor">
            <a:schemeClr val="dk1"/>
          </a:fontRef>
        </p:style>
        <p:txBody>
          <a:bodyPr vert="horz" lIns="90000" tIns="45720" rIns="91440" bIns="45720" rtlCol="0" anchor="ctr" anchorCtr="0">
            <a:noAutofit/>
          </a:bodyPr>
          <a:lstStyle>
            <a:lvl1pPr>
              <a:defRPr lang="en-RO" sz="600" kern="1200" cap="all" baseline="0" dirty="0">
                <a:solidFill>
                  <a:srgbClr val="000000"/>
                </a:solidFill>
                <a:latin typeface="+mn-lt"/>
                <a:ea typeface="+mn-ea"/>
                <a:cs typeface="+mn-cs"/>
              </a:defRPr>
            </a:lvl1pPr>
          </a:lstStyle>
          <a:p>
            <a:pPr marL="0" lvl="0" indent="0" algn="ctr" defTabSz="685758" rtl="0" eaLnBrk="1" latinLnBrk="0" hangingPunct="1">
              <a:lnSpc>
                <a:spcPct val="90000"/>
              </a:lnSpc>
              <a:spcBef>
                <a:spcPts val="0"/>
              </a:spcBef>
              <a:buClr>
                <a:schemeClr val="accent1"/>
              </a:buClr>
              <a:buFont typeface="Arial" panose="020B0604020202020204" pitchFamily="34" charset="0"/>
              <a:buNone/>
            </a:pPr>
            <a:r>
              <a:rPr lang="en-RO" sz="600" kern="1200">
                <a:solidFill>
                  <a:srgbClr val="000000"/>
                </a:solidFill>
                <a:latin typeface="+mn-lt"/>
                <a:ea typeface="+mn-ea"/>
                <a:cs typeface="+mn-cs"/>
              </a:rPr>
              <a:t>Hashtag 4</a:t>
            </a:r>
            <a:endParaRPr lang="en-RO"/>
          </a:p>
        </p:txBody>
      </p:sp>
      <p:sp>
        <p:nvSpPr>
          <p:cNvPr id="31" name="Text Placeholder 4">
            <a:extLst>
              <a:ext uri="{FF2B5EF4-FFF2-40B4-BE49-F238E27FC236}">
                <a16:creationId xmlns:a16="http://schemas.microsoft.com/office/drawing/2014/main" id="{EA3BEB6B-BADA-3F4E-BCBB-CEB307063AAD}"/>
              </a:ext>
            </a:extLst>
          </p:cNvPr>
          <p:cNvSpPr>
            <a:spLocks noGrp="1"/>
          </p:cNvSpPr>
          <p:nvPr>
            <p:ph type="body" sz="quarter" idx="77" hasCustomPrompt="1"/>
          </p:nvPr>
        </p:nvSpPr>
        <p:spPr>
          <a:xfrm>
            <a:off x="324000" y="569828"/>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46" name="Text Placeholder 4">
            <a:extLst>
              <a:ext uri="{FF2B5EF4-FFF2-40B4-BE49-F238E27FC236}">
                <a16:creationId xmlns:a16="http://schemas.microsoft.com/office/drawing/2014/main" id="{CFD9E6A9-33C0-9F42-812E-5188BFC329CE}"/>
              </a:ext>
            </a:extLst>
          </p:cNvPr>
          <p:cNvSpPr>
            <a:spLocks noGrp="1"/>
          </p:cNvSpPr>
          <p:nvPr>
            <p:ph type="body" sz="quarter" idx="78" hasCustomPrompt="1"/>
          </p:nvPr>
        </p:nvSpPr>
        <p:spPr>
          <a:xfrm>
            <a:off x="324000" y="170008"/>
            <a:ext cx="579552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47" name="Footer Placeholder 2">
            <a:extLst>
              <a:ext uri="{FF2B5EF4-FFF2-40B4-BE49-F238E27FC236}">
                <a16:creationId xmlns:a16="http://schemas.microsoft.com/office/drawing/2014/main" id="{D3F0F945-9C15-F54D-A255-473C8F709C64}"/>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48" name="Graphic 47">
            <a:extLst>
              <a:ext uri="{FF2B5EF4-FFF2-40B4-BE49-F238E27FC236}">
                <a16:creationId xmlns:a16="http://schemas.microsoft.com/office/drawing/2014/main" id="{943523FB-6429-B44B-9394-52A0B420194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49" name="Slide Number Placeholder 3">
            <a:extLst>
              <a:ext uri="{FF2B5EF4-FFF2-40B4-BE49-F238E27FC236}">
                <a16:creationId xmlns:a16="http://schemas.microsoft.com/office/drawing/2014/main" id="{D9DEB520-C5B0-5640-9D25-EDA199A67C04}"/>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17558238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ariation 1 1/3 Picture Right">
    <p:spTree>
      <p:nvGrpSpPr>
        <p:cNvPr id="1" name=""/>
        <p:cNvGrpSpPr/>
        <p:nvPr/>
      </p:nvGrpSpPr>
      <p:grpSpPr>
        <a:xfrm>
          <a:off x="0" y="0"/>
          <a:ext cx="0" cy="0"/>
          <a:chOff x="0" y="0"/>
          <a:chExt cx="0" cy="0"/>
        </a:xfrm>
      </p:grpSpPr>
      <p:sp>
        <p:nvSpPr>
          <p:cNvPr id="2271" name="Picture Placeholder 2">
            <a:extLst>
              <a:ext uri="{FF2B5EF4-FFF2-40B4-BE49-F238E27FC236}">
                <a16:creationId xmlns:a16="http://schemas.microsoft.com/office/drawing/2014/main" id="{7A565EC4-9FCA-A44B-867C-5AD9A3A4F996}"/>
              </a:ext>
            </a:extLst>
          </p:cNvPr>
          <p:cNvSpPr>
            <a:spLocks noGrp="1"/>
          </p:cNvSpPr>
          <p:nvPr>
            <p:ph type="pic" sz="quarter" idx="44"/>
          </p:nvPr>
        </p:nvSpPr>
        <p:spPr>
          <a:xfrm>
            <a:off x="6094800" y="0"/>
            <a:ext cx="3049200"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1152" name="Text Placeholder 7">
            <a:extLst>
              <a:ext uri="{FF2B5EF4-FFF2-40B4-BE49-F238E27FC236}">
                <a16:creationId xmlns:a16="http://schemas.microsoft.com/office/drawing/2014/main" id="{32238EF1-CF8A-C547-A40F-2575ADDC153B}"/>
              </a:ext>
            </a:extLst>
          </p:cNvPr>
          <p:cNvSpPr>
            <a:spLocks noGrp="1"/>
          </p:cNvSpPr>
          <p:nvPr>
            <p:ph type="body" sz="quarter" idx="85" hasCustomPrompt="1"/>
          </p:nvPr>
        </p:nvSpPr>
        <p:spPr>
          <a:xfrm>
            <a:off x="323999" y="1295423"/>
            <a:ext cx="5417691" cy="3278251"/>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1153" name="Text Placeholder 7">
            <a:extLst>
              <a:ext uri="{FF2B5EF4-FFF2-40B4-BE49-F238E27FC236}">
                <a16:creationId xmlns:a16="http://schemas.microsoft.com/office/drawing/2014/main" id="{8921AF50-68CC-1442-83D9-112EDDF42E0D}"/>
              </a:ext>
            </a:extLst>
          </p:cNvPr>
          <p:cNvSpPr>
            <a:spLocks noGrp="1"/>
          </p:cNvSpPr>
          <p:nvPr>
            <p:ph type="body" sz="quarter" idx="86" hasCustomPrompt="1"/>
          </p:nvPr>
        </p:nvSpPr>
        <p:spPr>
          <a:xfrm>
            <a:off x="324001" y="972259"/>
            <a:ext cx="5417688" cy="323165"/>
          </a:xfrm>
          <a:prstGeom prst="rect">
            <a:avLst/>
          </a:prstGeom>
        </p:spPr>
        <p:txBody>
          <a:bodyPr vert="horz" lIns="0" tIns="45720" rIns="91440" bIns="45720" rtlCol="0" anchor="ctr">
            <a:normAutofit/>
          </a:bodyPr>
          <a:lstStyle>
            <a:lvl1pPr>
              <a:defRPr lang="en-GB" sz="1200" spc="-56" dirty="0">
                <a:solidFill>
                  <a:schemeClr val="accent1"/>
                </a:solidFill>
              </a:defRPr>
            </a:lvl1pPr>
          </a:lstStyle>
          <a:p>
            <a:pPr marL="0" lvl="0" indent="0">
              <a:lnSpc>
                <a:spcPct val="100000"/>
              </a:lnSpc>
              <a:buNone/>
            </a:pPr>
            <a:r>
              <a:rPr lang="en-GB"/>
              <a:t>Lorem ipsum </a:t>
            </a:r>
            <a:r>
              <a:rPr lang="en-GB" err="1"/>
              <a:t>dolor</a:t>
            </a:r>
            <a:r>
              <a:rPr lang="en-GB"/>
              <a:t> sit </a:t>
            </a:r>
            <a:r>
              <a:rPr lang="en-GB" err="1"/>
              <a:t>amet</a:t>
            </a:r>
            <a:endParaRPr lang="en-GB"/>
          </a:p>
        </p:txBody>
      </p:sp>
      <p:sp>
        <p:nvSpPr>
          <p:cNvPr id="1149" name="Date Placeholder 2">
            <a:extLst>
              <a:ext uri="{FF2B5EF4-FFF2-40B4-BE49-F238E27FC236}">
                <a16:creationId xmlns:a16="http://schemas.microsoft.com/office/drawing/2014/main" id="{C7E667B8-8668-9540-B09C-5CC725B39EAE}"/>
              </a:ext>
            </a:extLst>
          </p:cNvPr>
          <p:cNvSpPr>
            <a:spLocks noGrp="1"/>
          </p:cNvSpPr>
          <p:nvPr>
            <p:ph type="dt" sz="half" idx="10"/>
          </p:nvPr>
        </p:nvSpPr>
        <p:spPr>
          <a:xfrm>
            <a:off x="324002" y="4972079"/>
            <a:ext cx="494319" cy="92455"/>
          </a:xfrm>
        </p:spPr>
        <p:txBody>
          <a:bodyPr/>
          <a:lstStyle/>
          <a:p>
            <a:fld id="{31F65FB2-DB91-4E85-8070-D41CD36B38DF}" type="datetime1">
              <a:rPr lang="de-DE" smtClean="0"/>
              <a:t>24.01.2024</a:t>
            </a:fld>
            <a:endParaRPr lang="en-US"/>
          </a:p>
        </p:txBody>
      </p:sp>
      <p:sp>
        <p:nvSpPr>
          <p:cNvPr id="2268" name="Footer Placeholder 2">
            <a:extLst>
              <a:ext uri="{FF2B5EF4-FFF2-40B4-BE49-F238E27FC236}">
                <a16:creationId xmlns:a16="http://schemas.microsoft.com/office/drawing/2014/main" id="{8D38F2FF-BD77-E34A-B2CD-83991E334C8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269" name="Graphic 2268">
            <a:extLst>
              <a:ext uri="{FF2B5EF4-FFF2-40B4-BE49-F238E27FC236}">
                <a16:creationId xmlns:a16="http://schemas.microsoft.com/office/drawing/2014/main" id="{AC34C28D-15DC-DA4A-A1EF-A65C3C182BC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272" name="Text Placeholder 4">
            <a:extLst>
              <a:ext uri="{FF2B5EF4-FFF2-40B4-BE49-F238E27FC236}">
                <a16:creationId xmlns:a16="http://schemas.microsoft.com/office/drawing/2014/main" id="{3B95D8F5-F40B-834B-AF46-C7CB8538D525}"/>
              </a:ext>
            </a:extLst>
          </p:cNvPr>
          <p:cNvSpPr>
            <a:spLocks noGrp="1"/>
          </p:cNvSpPr>
          <p:nvPr>
            <p:ph type="body" sz="quarter" idx="77" hasCustomPrompt="1"/>
          </p:nvPr>
        </p:nvSpPr>
        <p:spPr>
          <a:xfrm>
            <a:off x="324001" y="569828"/>
            <a:ext cx="5417689"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2273" name="Text Placeholder 4">
            <a:extLst>
              <a:ext uri="{FF2B5EF4-FFF2-40B4-BE49-F238E27FC236}">
                <a16:creationId xmlns:a16="http://schemas.microsoft.com/office/drawing/2014/main" id="{7800C0F4-2B07-5147-9A20-71F7C7205A1B}"/>
              </a:ext>
            </a:extLst>
          </p:cNvPr>
          <p:cNvSpPr>
            <a:spLocks noGrp="1"/>
          </p:cNvSpPr>
          <p:nvPr>
            <p:ph type="body" sz="quarter" idx="78" hasCustomPrompt="1"/>
          </p:nvPr>
        </p:nvSpPr>
        <p:spPr>
          <a:xfrm>
            <a:off x="324001" y="170008"/>
            <a:ext cx="5417689"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2274" name="Slide Number Placeholder 4">
            <a:extLst>
              <a:ext uri="{FF2B5EF4-FFF2-40B4-BE49-F238E27FC236}">
                <a16:creationId xmlns:a16="http://schemas.microsoft.com/office/drawing/2014/main" id="{AC28F0A0-D26D-AC40-9BDC-D79C654AF7C6}"/>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40476263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Variation 1 1/3 Picture left">
    <p:spTree>
      <p:nvGrpSpPr>
        <p:cNvPr id="1" name=""/>
        <p:cNvGrpSpPr/>
        <p:nvPr/>
      </p:nvGrpSpPr>
      <p:grpSpPr>
        <a:xfrm>
          <a:off x="0" y="0"/>
          <a:ext cx="0" cy="0"/>
          <a:chOff x="0" y="0"/>
          <a:chExt cx="0" cy="0"/>
        </a:xfrm>
      </p:grpSpPr>
      <p:sp>
        <p:nvSpPr>
          <p:cNvPr id="2271" name="Picture Placeholder 2">
            <a:extLst>
              <a:ext uri="{FF2B5EF4-FFF2-40B4-BE49-F238E27FC236}">
                <a16:creationId xmlns:a16="http://schemas.microsoft.com/office/drawing/2014/main" id="{7A565EC4-9FCA-A44B-867C-5AD9A3A4F996}"/>
              </a:ext>
            </a:extLst>
          </p:cNvPr>
          <p:cNvSpPr>
            <a:spLocks noGrp="1"/>
          </p:cNvSpPr>
          <p:nvPr>
            <p:ph type="pic" sz="quarter" idx="44"/>
          </p:nvPr>
        </p:nvSpPr>
        <p:spPr>
          <a:xfrm>
            <a:off x="0" y="0"/>
            <a:ext cx="3049200"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1152" name="Text Placeholder 7">
            <a:extLst>
              <a:ext uri="{FF2B5EF4-FFF2-40B4-BE49-F238E27FC236}">
                <a16:creationId xmlns:a16="http://schemas.microsoft.com/office/drawing/2014/main" id="{32238EF1-CF8A-C547-A40F-2575ADDC153B}"/>
              </a:ext>
            </a:extLst>
          </p:cNvPr>
          <p:cNvSpPr>
            <a:spLocks noGrp="1"/>
          </p:cNvSpPr>
          <p:nvPr>
            <p:ph type="body" sz="quarter" idx="85" hasCustomPrompt="1"/>
          </p:nvPr>
        </p:nvSpPr>
        <p:spPr>
          <a:xfrm>
            <a:off x="3402460" y="1898757"/>
            <a:ext cx="5417691" cy="2805238"/>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1153" name="Text Placeholder 7">
            <a:extLst>
              <a:ext uri="{FF2B5EF4-FFF2-40B4-BE49-F238E27FC236}">
                <a16:creationId xmlns:a16="http://schemas.microsoft.com/office/drawing/2014/main" id="{8921AF50-68CC-1442-83D9-112EDDF42E0D}"/>
              </a:ext>
            </a:extLst>
          </p:cNvPr>
          <p:cNvSpPr>
            <a:spLocks noGrp="1"/>
          </p:cNvSpPr>
          <p:nvPr>
            <p:ph type="body" sz="quarter" idx="86" hasCustomPrompt="1"/>
          </p:nvPr>
        </p:nvSpPr>
        <p:spPr>
          <a:xfrm>
            <a:off x="3402460" y="1575594"/>
            <a:ext cx="5417688" cy="323165"/>
          </a:xfrm>
          <a:prstGeom prst="rect">
            <a:avLst/>
          </a:prstGeom>
        </p:spPr>
        <p:txBody>
          <a:bodyPr vert="horz" lIns="0" tIns="45720" rIns="91440" bIns="45720" rtlCol="0" anchor="ctr">
            <a:normAutofit/>
          </a:bodyPr>
          <a:lstStyle>
            <a:lvl1pPr>
              <a:defRPr lang="en-GB" sz="1200" spc="-56" dirty="0">
                <a:solidFill>
                  <a:schemeClr val="accent1"/>
                </a:solidFill>
              </a:defRPr>
            </a:lvl1pPr>
          </a:lstStyle>
          <a:p>
            <a:pPr marL="0" lvl="0" indent="0">
              <a:lnSpc>
                <a:spcPct val="100000"/>
              </a:lnSpc>
              <a:buNone/>
            </a:pPr>
            <a:r>
              <a:rPr lang="en-GB"/>
              <a:t>Lorem ipsum </a:t>
            </a:r>
            <a:r>
              <a:rPr lang="en-GB" err="1"/>
              <a:t>dolor</a:t>
            </a:r>
            <a:r>
              <a:rPr lang="en-GB"/>
              <a:t> sit </a:t>
            </a:r>
            <a:r>
              <a:rPr lang="en-GB" err="1"/>
              <a:t>amet</a:t>
            </a:r>
            <a:endParaRPr lang="en-GB"/>
          </a:p>
        </p:txBody>
      </p:sp>
      <p:sp>
        <p:nvSpPr>
          <p:cNvPr id="2268" name="Footer Placeholder 2">
            <a:extLst>
              <a:ext uri="{FF2B5EF4-FFF2-40B4-BE49-F238E27FC236}">
                <a16:creationId xmlns:a16="http://schemas.microsoft.com/office/drawing/2014/main" id="{8D38F2FF-BD77-E34A-B2CD-83991E334C8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269" name="Graphic 2268">
            <a:extLst>
              <a:ext uri="{FF2B5EF4-FFF2-40B4-BE49-F238E27FC236}">
                <a16:creationId xmlns:a16="http://schemas.microsoft.com/office/drawing/2014/main" id="{AC34C28D-15DC-DA4A-A1EF-A65C3C182BC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272" name="Text Placeholder 4">
            <a:extLst>
              <a:ext uri="{FF2B5EF4-FFF2-40B4-BE49-F238E27FC236}">
                <a16:creationId xmlns:a16="http://schemas.microsoft.com/office/drawing/2014/main" id="{3B95D8F5-F40B-834B-AF46-C7CB8538D525}"/>
              </a:ext>
            </a:extLst>
          </p:cNvPr>
          <p:cNvSpPr>
            <a:spLocks noGrp="1"/>
          </p:cNvSpPr>
          <p:nvPr>
            <p:ph type="body" sz="quarter" idx="77" hasCustomPrompt="1"/>
          </p:nvPr>
        </p:nvSpPr>
        <p:spPr>
          <a:xfrm>
            <a:off x="3402462" y="1173163"/>
            <a:ext cx="4379367"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2273" name="Text Placeholder 4">
            <a:extLst>
              <a:ext uri="{FF2B5EF4-FFF2-40B4-BE49-F238E27FC236}">
                <a16:creationId xmlns:a16="http://schemas.microsoft.com/office/drawing/2014/main" id="{7800C0F4-2B07-5147-9A20-71F7C7205A1B}"/>
              </a:ext>
            </a:extLst>
          </p:cNvPr>
          <p:cNvSpPr>
            <a:spLocks noGrp="1"/>
          </p:cNvSpPr>
          <p:nvPr>
            <p:ph type="body" sz="quarter" idx="78" hasCustomPrompt="1"/>
          </p:nvPr>
        </p:nvSpPr>
        <p:spPr>
          <a:xfrm>
            <a:off x="3402462" y="773343"/>
            <a:ext cx="4379367"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11" name="Slide Number Placeholder 3">
            <a:extLst>
              <a:ext uri="{FF2B5EF4-FFF2-40B4-BE49-F238E27FC236}">
                <a16:creationId xmlns:a16="http://schemas.microsoft.com/office/drawing/2014/main" id="{554BA24E-765A-754F-9CCA-9E7E106D275F}"/>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
        <p:nvSpPr>
          <p:cNvPr id="12" name="Date Placeholder 2">
            <a:extLst>
              <a:ext uri="{FF2B5EF4-FFF2-40B4-BE49-F238E27FC236}">
                <a16:creationId xmlns:a16="http://schemas.microsoft.com/office/drawing/2014/main" id="{97ADEC40-1542-7447-AF01-55366C4C51E6}"/>
              </a:ext>
            </a:extLst>
          </p:cNvPr>
          <p:cNvSpPr>
            <a:spLocks noGrp="1"/>
          </p:cNvSpPr>
          <p:nvPr>
            <p:ph type="dt" sz="half" idx="79"/>
          </p:nvPr>
        </p:nvSpPr>
        <p:spPr>
          <a:xfrm>
            <a:off x="337523" y="4972079"/>
            <a:ext cx="494319" cy="92455"/>
          </a:xfrm>
        </p:spPr>
        <p:txBody>
          <a:bodyPr/>
          <a:lstStyle>
            <a:lvl1pPr>
              <a:defRPr>
                <a:solidFill>
                  <a:schemeClr val="bg1">
                    <a:alpha val="50000"/>
                  </a:schemeClr>
                </a:solidFill>
              </a:defRPr>
            </a:lvl1pPr>
          </a:lstStyle>
          <a:p>
            <a:fld id="{1A902672-E084-47D6-8558-E7BD62CDC072}" type="datetime1">
              <a:rPr lang="de-DE" smtClean="0"/>
              <a:t>24.01.2024</a:t>
            </a:fld>
            <a:endParaRPr lang="en-US"/>
          </a:p>
        </p:txBody>
      </p:sp>
    </p:spTree>
    <p:extLst>
      <p:ext uri="{BB962C8B-B14F-4D97-AF65-F5344CB8AC3E}">
        <p14:creationId xmlns:p14="http://schemas.microsoft.com/office/powerpoint/2010/main" val="17896623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ariation 1">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8E4E294-DC34-344E-A4C4-D775C8901B51}"/>
              </a:ext>
            </a:extLst>
          </p:cNvPr>
          <p:cNvSpPr/>
          <p:nvPr/>
        </p:nvSpPr>
        <p:spPr>
          <a:xfrm>
            <a:off x="-2028" y="0"/>
            <a:ext cx="4031719" cy="5143500"/>
          </a:xfrm>
          <a:prstGeom prst="rect">
            <a:avLst/>
          </a:prstGeom>
          <a:gradFill>
            <a:gsLst>
              <a:gs pos="75000">
                <a:schemeClr val="accent1"/>
              </a:gs>
              <a:gs pos="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271" name="Picture Placeholder 2">
            <a:extLst>
              <a:ext uri="{FF2B5EF4-FFF2-40B4-BE49-F238E27FC236}">
                <a16:creationId xmlns:a16="http://schemas.microsoft.com/office/drawing/2014/main" id="{BB34036C-6C2B-A846-9606-277B0948BD35}"/>
              </a:ext>
            </a:extLst>
          </p:cNvPr>
          <p:cNvSpPr>
            <a:spLocks noGrp="1"/>
          </p:cNvSpPr>
          <p:nvPr>
            <p:ph type="pic" sz="quarter" idx="44"/>
          </p:nvPr>
        </p:nvSpPr>
        <p:spPr>
          <a:xfrm>
            <a:off x="0" y="0"/>
            <a:ext cx="4029691" cy="5143500"/>
          </a:xfrm>
          <a:prstGeom prst="rect">
            <a:avLst/>
          </a:prstGeom>
          <a:noFill/>
        </p:spPr>
        <p:txBody>
          <a:bodyPr anchor="ctr"/>
          <a:lstStyle>
            <a:lvl1pPr marL="0" indent="0" algn="ctr">
              <a:buNone/>
              <a:defRPr sz="1351"/>
            </a:lvl1pPr>
          </a:lstStyle>
          <a:p>
            <a:r>
              <a:rPr lang="en-US"/>
              <a:t>Click icon to add picture</a:t>
            </a:r>
          </a:p>
        </p:txBody>
      </p:sp>
      <p:sp>
        <p:nvSpPr>
          <p:cNvPr id="26" name="Text Placeholder 4"/>
          <p:cNvSpPr>
            <a:spLocks noGrp="1"/>
          </p:cNvSpPr>
          <p:nvPr>
            <p:ph type="body" sz="quarter" idx="14" hasCustomPrompt="1"/>
          </p:nvPr>
        </p:nvSpPr>
        <p:spPr>
          <a:xfrm>
            <a:off x="324002" y="1155328"/>
            <a:ext cx="3198935" cy="522451"/>
          </a:xfrm>
          <a:prstGeom prst="rect">
            <a:avLst/>
          </a:prstGeom>
        </p:spPr>
        <p:txBody>
          <a:bodyPr wrap="square" lIns="0" tIns="0" rIns="0" bIns="0">
            <a:spAutoFit/>
          </a:bodyPr>
          <a:lstStyle>
            <a:lvl1pPr marL="0" indent="0">
              <a:lnSpc>
                <a:spcPct val="80000"/>
              </a:lnSpc>
              <a:spcBef>
                <a:spcPts val="0"/>
              </a:spcBef>
              <a:buFont typeface="Arial" panose="020B0604020202020204" pitchFamily="34" charset="0"/>
              <a:buNone/>
              <a:defRPr sz="4200" spc="-151" baseline="0">
                <a:solidFill>
                  <a:schemeClr val="bg1"/>
                </a:solidFill>
                <a:latin typeface="+mn-lt"/>
              </a:defRPr>
            </a:lvl1pPr>
          </a:lstStyle>
          <a:p>
            <a:pPr lvl="0"/>
            <a:r>
              <a:rPr lang="en-US"/>
              <a:t>Lorem</a:t>
            </a:r>
          </a:p>
        </p:txBody>
      </p:sp>
      <p:sp>
        <p:nvSpPr>
          <p:cNvPr id="36" name="Text Placeholder 4"/>
          <p:cNvSpPr>
            <a:spLocks noGrp="1"/>
          </p:cNvSpPr>
          <p:nvPr>
            <p:ph type="body" sz="quarter" idx="12" hasCustomPrompt="1"/>
          </p:nvPr>
        </p:nvSpPr>
        <p:spPr>
          <a:xfrm>
            <a:off x="324002" y="1828517"/>
            <a:ext cx="3198935" cy="479875"/>
          </a:xfrm>
          <a:prstGeom prst="rect">
            <a:avLst/>
          </a:prstGeom>
        </p:spPr>
        <p:txBody>
          <a:bodyPr wrap="square" lIns="0" tIns="0" rIns="0" bIns="0">
            <a:spAutoFit/>
          </a:bodyPr>
          <a:lstStyle>
            <a:lvl1pPr marL="0" indent="0">
              <a:lnSpc>
                <a:spcPct val="120000"/>
              </a:lnSpc>
              <a:spcBef>
                <a:spcPts val="0"/>
              </a:spcBef>
              <a:spcAft>
                <a:spcPts val="0"/>
              </a:spcAft>
              <a:buFontTx/>
              <a:buNone/>
              <a:defRPr sz="1351">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p:txBody>
      </p:sp>
      <p:sp>
        <p:nvSpPr>
          <p:cNvPr id="1152" name="Text Placeholder 7">
            <a:extLst>
              <a:ext uri="{FF2B5EF4-FFF2-40B4-BE49-F238E27FC236}">
                <a16:creationId xmlns:a16="http://schemas.microsoft.com/office/drawing/2014/main" id="{32238EF1-CF8A-C547-A40F-2575ADDC153B}"/>
              </a:ext>
            </a:extLst>
          </p:cNvPr>
          <p:cNvSpPr>
            <a:spLocks noGrp="1"/>
          </p:cNvSpPr>
          <p:nvPr>
            <p:ph type="body" sz="quarter" idx="85" hasCustomPrompt="1"/>
          </p:nvPr>
        </p:nvSpPr>
        <p:spPr>
          <a:xfrm>
            <a:off x="4404409" y="1493059"/>
            <a:ext cx="4415743" cy="2764616"/>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1153" name="Text Placeholder 7">
            <a:extLst>
              <a:ext uri="{FF2B5EF4-FFF2-40B4-BE49-F238E27FC236}">
                <a16:creationId xmlns:a16="http://schemas.microsoft.com/office/drawing/2014/main" id="{8921AF50-68CC-1442-83D9-112EDDF42E0D}"/>
              </a:ext>
            </a:extLst>
          </p:cNvPr>
          <p:cNvSpPr>
            <a:spLocks noGrp="1"/>
          </p:cNvSpPr>
          <p:nvPr>
            <p:ph type="body" sz="quarter" idx="86" hasCustomPrompt="1"/>
          </p:nvPr>
        </p:nvSpPr>
        <p:spPr>
          <a:xfrm>
            <a:off x="4404410" y="1169896"/>
            <a:ext cx="4415741" cy="323165"/>
          </a:xfrm>
          <a:prstGeom prst="rect">
            <a:avLst/>
          </a:prstGeom>
        </p:spPr>
        <p:txBody>
          <a:bodyPr vert="horz" lIns="0" tIns="45720" rIns="91440" bIns="45720" rtlCol="0" anchor="ctr">
            <a:normAutofit/>
          </a:bodyPr>
          <a:lstStyle>
            <a:lvl1pPr>
              <a:defRPr lang="en-GB" sz="1200" spc="-56" dirty="0">
                <a:solidFill>
                  <a:schemeClr val="accent1"/>
                </a:solidFill>
              </a:defRPr>
            </a:lvl1pPr>
          </a:lstStyle>
          <a:p>
            <a:pPr marL="0" lvl="0" indent="0">
              <a:lnSpc>
                <a:spcPct val="100000"/>
              </a:lnSpc>
              <a:buNone/>
            </a:pPr>
            <a:r>
              <a:rPr lang="en-GB"/>
              <a:t>Lorem ipsum </a:t>
            </a:r>
            <a:r>
              <a:rPr lang="en-GB" err="1"/>
              <a:t>dolor</a:t>
            </a:r>
            <a:r>
              <a:rPr lang="en-GB"/>
              <a:t> sit </a:t>
            </a:r>
            <a:r>
              <a:rPr lang="en-GB" err="1"/>
              <a:t>amet</a:t>
            </a:r>
            <a:endParaRPr lang="en-GB"/>
          </a:p>
        </p:txBody>
      </p:sp>
      <p:sp>
        <p:nvSpPr>
          <p:cNvPr id="1149" name="Date Placeholder 2">
            <a:extLst>
              <a:ext uri="{FF2B5EF4-FFF2-40B4-BE49-F238E27FC236}">
                <a16:creationId xmlns:a16="http://schemas.microsoft.com/office/drawing/2014/main" id="{C7E667B8-8668-9540-B09C-5CC725B39EAE}"/>
              </a:ext>
            </a:extLst>
          </p:cNvPr>
          <p:cNvSpPr>
            <a:spLocks noGrp="1"/>
          </p:cNvSpPr>
          <p:nvPr>
            <p:ph type="dt" sz="half" idx="10"/>
          </p:nvPr>
        </p:nvSpPr>
        <p:spPr>
          <a:xfrm>
            <a:off x="324002" y="4972079"/>
            <a:ext cx="494319" cy="92455"/>
          </a:xfrm>
        </p:spPr>
        <p:txBody>
          <a:bodyPr/>
          <a:lstStyle/>
          <a:p>
            <a:fld id="{9B96387D-B891-4A37-B06F-F926BACA96D6}" type="datetime1">
              <a:rPr lang="de-DE" smtClean="0"/>
              <a:t>24.01.2024</a:t>
            </a:fld>
            <a:endParaRPr lang="en-US"/>
          </a:p>
        </p:txBody>
      </p:sp>
      <p:sp>
        <p:nvSpPr>
          <p:cNvPr id="2268" name="Footer Placeholder 2">
            <a:extLst>
              <a:ext uri="{FF2B5EF4-FFF2-40B4-BE49-F238E27FC236}">
                <a16:creationId xmlns:a16="http://schemas.microsoft.com/office/drawing/2014/main" id="{8D38F2FF-BD77-E34A-B2CD-83991E334C8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269" name="Graphic 2268">
            <a:extLst>
              <a:ext uri="{FF2B5EF4-FFF2-40B4-BE49-F238E27FC236}">
                <a16:creationId xmlns:a16="http://schemas.microsoft.com/office/drawing/2014/main" id="{AC34C28D-15DC-DA4A-A1EF-A65C3C182BC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270" name="Slide Number Placeholder 3">
            <a:extLst>
              <a:ext uri="{FF2B5EF4-FFF2-40B4-BE49-F238E27FC236}">
                <a16:creationId xmlns:a16="http://schemas.microsoft.com/office/drawing/2014/main" id="{C90617BB-2B76-1344-A977-29BE42127BD0}"/>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40968453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ariation 2">
    <p:spTree>
      <p:nvGrpSpPr>
        <p:cNvPr id="1" name=""/>
        <p:cNvGrpSpPr/>
        <p:nvPr/>
      </p:nvGrpSpPr>
      <p:grpSpPr>
        <a:xfrm>
          <a:off x="0" y="0"/>
          <a:ext cx="0" cy="0"/>
          <a:chOff x="0" y="0"/>
          <a:chExt cx="0" cy="0"/>
        </a:xfrm>
      </p:grpSpPr>
      <p:sp>
        <p:nvSpPr>
          <p:cNvPr id="1595" name="Rectangle 1594">
            <a:extLst>
              <a:ext uri="{FF2B5EF4-FFF2-40B4-BE49-F238E27FC236}">
                <a16:creationId xmlns:a16="http://schemas.microsoft.com/office/drawing/2014/main" id="{A8C4FBB4-ACAC-4AA7-B0D3-728256317042}"/>
              </a:ext>
            </a:extLst>
          </p:cNvPr>
          <p:cNvSpPr/>
          <p:nvPr userDrawn="1"/>
        </p:nvSpPr>
        <p:spPr>
          <a:xfrm>
            <a:off x="5112282" y="0"/>
            <a:ext cx="4031719" cy="5143500"/>
          </a:xfrm>
          <a:prstGeom prst="rect">
            <a:avLst/>
          </a:prstGeom>
          <a:gradFill>
            <a:gsLst>
              <a:gs pos="75000">
                <a:schemeClr val="accent1"/>
              </a:gs>
              <a:gs pos="0">
                <a:schemeClr val="accent5"/>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3184" name="Picture Placeholder 2">
            <a:extLst>
              <a:ext uri="{FF2B5EF4-FFF2-40B4-BE49-F238E27FC236}">
                <a16:creationId xmlns:a16="http://schemas.microsoft.com/office/drawing/2014/main" id="{56B0155A-9D31-E649-B2EC-DDC5143FEDB7}"/>
              </a:ext>
            </a:extLst>
          </p:cNvPr>
          <p:cNvSpPr>
            <a:spLocks noGrp="1"/>
          </p:cNvSpPr>
          <p:nvPr>
            <p:ph type="pic" sz="quarter" idx="44"/>
          </p:nvPr>
        </p:nvSpPr>
        <p:spPr>
          <a:xfrm>
            <a:off x="5112281" y="0"/>
            <a:ext cx="4029691" cy="5143500"/>
          </a:xfrm>
          <a:prstGeom prst="rect">
            <a:avLst/>
          </a:prstGeom>
          <a:noFill/>
        </p:spPr>
        <p:txBody>
          <a:bodyPr anchor="ctr"/>
          <a:lstStyle>
            <a:lvl1pPr marL="0" indent="0" algn="ctr">
              <a:buNone/>
              <a:defRPr sz="1351"/>
            </a:lvl1pPr>
          </a:lstStyle>
          <a:p>
            <a:r>
              <a:rPr lang="en-US"/>
              <a:t>Click icon to add picture</a:t>
            </a:r>
          </a:p>
        </p:txBody>
      </p:sp>
      <p:sp>
        <p:nvSpPr>
          <p:cNvPr id="22" name="Text Placeholder 4"/>
          <p:cNvSpPr>
            <a:spLocks noGrp="1"/>
          </p:cNvSpPr>
          <p:nvPr>
            <p:ph type="body" sz="quarter" idx="72" hasCustomPrompt="1"/>
          </p:nvPr>
        </p:nvSpPr>
        <p:spPr>
          <a:xfrm>
            <a:off x="5507970" y="1169896"/>
            <a:ext cx="3307201" cy="522451"/>
          </a:xfrm>
          <a:prstGeom prst="rect">
            <a:avLst/>
          </a:prstGeom>
        </p:spPr>
        <p:txBody>
          <a:bodyPr wrap="square" lIns="0" tIns="0" rIns="0" bIns="0">
            <a:spAutoFit/>
          </a:bodyPr>
          <a:lstStyle>
            <a:lvl1pPr marL="0" indent="0">
              <a:lnSpc>
                <a:spcPct val="80000"/>
              </a:lnSpc>
              <a:spcBef>
                <a:spcPts val="0"/>
              </a:spcBef>
              <a:buFontTx/>
              <a:buNone/>
              <a:defRPr sz="4200" spc="-151" baseline="0">
                <a:solidFill>
                  <a:schemeClr val="bg1"/>
                </a:solidFill>
                <a:latin typeface="+mn-lt"/>
              </a:defRPr>
            </a:lvl1pPr>
          </a:lstStyle>
          <a:p>
            <a:pPr lvl="0"/>
            <a:r>
              <a:rPr lang="en-US"/>
              <a:t>Lorem</a:t>
            </a:r>
          </a:p>
        </p:txBody>
      </p:sp>
      <p:sp>
        <p:nvSpPr>
          <p:cNvPr id="23" name="Text Placeholder 4"/>
          <p:cNvSpPr>
            <a:spLocks noGrp="1"/>
          </p:cNvSpPr>
          <p:nvPr>
            <p:ph type="body" sz="quarter" idx="73" hasCustomPrompt="1"/>
          </p:nvPr>
        </p:nvSpPr>
        <p:spPr>
          <a:xfrm>
            <a:off x="5507969" y="1843085"/>
            <a:ext cx="3307201" cy="479875"/>
          </a:xfrm>
          <a:prstGeom prst="rect">
            <a:avLst/>
          </a:prstGeom>
        </p:spPr>
        <p:txBody>
          <a:bodyPr wrap="square" lIns="0" tIns="0" rIns="0" bIns="0">
            <a:spAutoFit/>
          </a:bodyPr>
          <a:lstStyle>
            <a:lvl1pPr marL="0" indent="0">
              <a:lnSpc>
                <a:spcPct val="120000"/>
              </a:lnSpc>
              <a:spcBef>
                <a:spcPts val="0"/>
              </a:spcBef>
              <a:spcAft>
                <a:spcPts val="0"/>
              </a:spcAft>
              <a:buFontTx/>
              <a:buNone/>
              <a:defRPr sz="1351">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p:txBody>
      </p:sp>
      <p:sp>
        <p:nvSpPr>
          <p:cNvPr id="4785" name="Text Placeholder 7">
            <a:extLst>
              <a:ext uri="{FF2B5EF4-FFF2-40B4-BE49-F238E27FC236}">
                <a16:creationId xmlns:a16="http://schemas.microsoft.com/office/drawing/2014/main" id="{15E6E397-7301-0640-9331-716129AFFF4E}"/>
              </a:ext>
            </a:extLst>
          </p:cNvPr>
          <p:cNvSpPr>
            <a:spLocks noGrp="1"/>
          </p:cNvSpPr>
          <p:nvPr>
            <p:ph type="body" sz="quarter" idx="85" hasCustomPrompt="1"/>
          </p:nvPr>
        </p:nvSpPr>
        <p:spPr>
          <a:xfrm>
            <a:off x="324000" y="1493059"/>
            <a:ext cx="4404912" cy="2764616"/>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4786" name="Text Placeholder 7">
            <a:extLst>
              <a:ext uri="{FF2B5EF4-FFF2-40B4-BE49-F238E27FC236}">
                <a16:creationId xmlns:a16="http://schemas.microsoft.com/office/drawing/2014/main" id="{0DA11040-1B33-9641-B7EB-1F5F5E56ABD5}"/>
              </a:ext>
            </a:extLst>
          </p:cNvPr>
          <p:cNvSpPr>
            <a:spLocks noGrp="1"/>
          </p:cNvSpPr>
          <p:nvPr>
            <p:ph type="body" sz="quarter" idx="86" hasCustomPrompt="1"/>
          </p:nvPr>
        </p:nvSpPr>
        <p:spPr>
          <a:xfrm>
            <a:off x="324002" y="1169896"/>
            <a:ext cx="4404911" cy="323165"/>
          </a:xfrm>
          <a:prstGeom prst="rect">
            <a:avLst/>
          </a:prstGeom>
        </p:spPr>
        <p:txBody>
          <a:bodyPr vert="horz" lIns="0" tIns="45720" rIns="91440" bIns="45720" rtlCol="0" anchor="ctr">
            <a:normAutofit/>
          </a:bodyPr>
          <a:lstStyle>
            <a:lvl1pPr marL="0" indent="0">
              <a:buNone/>
              <a:defRPr lang="en-GB" sz="1200" spc="-56" dirty="0">
                <a:solidFill>
                  <a:schemeClr val="accent1"/>
                </a:solidFill>
              </a:defRPr>
            </a:lvl1pPr>
          </a:lstStyle>
          <a:p>
            <a:pPr marL="67498" lvl="0" indent="-67498">
              <a:lnSpc>
                <a:spcPct val="100000"/>
              </a:lnSpc>
            </a:pPr>
            <a:r>
              <a:rPr lang="en-GB"/>
              <a:t>Lorem ipsum </a:t>
            </a:r>
            <a:r>
              <a:rPr lang="en-GB" err="1"/>
              <a:t>dolor</a:t>
            </a:r>
            <a:r>
              <a:rPr lang="en-GB"/>
              <a:t> sit </a:t>
            </a:r>
            <a:r>
              <a:rPr lang="en-GB" err="1"/>
              <a:t>amet</a:t>
            </a:r>
            <a:endParaRPr lang="en-GB"/>
          </a:p>
        </p:txBody>
      </p:sp>
      <p:sp>
        <p:nvSpPr>
          <p:cNvPr id="1603" name="Date Placeholder 2">
            <a:extLst>
              <a:ext uri="{FF2B5EF4-FFF2-40B4-BE49-F238E27FC236}">
                <a16:creationId xmlns:a16="http://schemas.microsoft.com/office/drawing/2014/main" id="{7A1AC66C-290D-0A41-BA50-D7DFF330AE56}"/>
              </a:ext>
            </a:extLst>
          </p:cNvPr>
          <p:cNvSpPr>
            <a:spLocks noGrp="1"/>
          </p:cNvSpPr>
          <p:nvPr>
            <p:ph type="dt" sz="half" idx="10"/>
          </p:nvPr>
        </p:nvSpPr>
        <p:spPr>
          <a:xfrm>
            <a:off x="324002" y="4972079"/>
            <a:ext cx="494319" cy="92455"/>
          </a:xfrm>
        </p:spPr>
        <p:txBody>
          <a:bodyPr/>
          <a:lstStyle/>
          <a:p>
            <a:fld id="{676D4775-4F21-4DC6-9D4A-0EEFF7442B42}" type="datetime1">
              <a:rPr lang="de-DE" smtClean="0"/>
              <a:t>24.01.2024</a:t>
            </a:fld>
            <a:endParaRPr lang="en-US"/>
          </a:p>
        </p:txBody>
      </p:sp>
      <p:sp>
        <p:nvSpPr>
          <p:cNvPr id="3185" name="Footer Placeholder 2">
            <a:extLst>
              <a:ext uri="{FF2B5EF4-FFF2-40B4-BE49-F238E27FC236}">
                <a16:creationId xmlns:a16="http://schemas.microsoft.com/office/drawing/2014/main" id="{98175BD2-3474-6B46-B4A7-970F2868991A}"/>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3187" name="Graphic 3186">
            <a:extLst>
              <a:ext uri="{FF2B5EF4-FFF2-40B4-BE49-F238E27FC236}">
                <a16:creationId xmlns:a16="http://schemas.microsoft.com/office/drawing/2014/main" id="{2D2BD21F-2A75-C046-9B21-E213F10660D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3188" name="Slide Number Placeholder 3">
            <a:extLst>
              <a:ext uri="{FF2B5EF4-FFF2-40B4-BE49-F238E27FC236}">
                <a16:creationId xmlns:a16="http://schemas.microsoft.com/office/drawing/2014/main" id="{84C4633D-84E4-5F41-940F-21B8E0DF6A5D}"/>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1143497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ariation 3">
    <p:spTree>
      <p:nvGrpSpPr>
        <p:cNvPr id="1" name=""/>
        <p:cNvGrpSpPr/>
        <p:nvPr/>
      </p:nvGrpSpPr>
      <p:grpSpPr>
        <a:xfrm>
          <a:off x="0" y="0"/>
          <a:ext cx="0" cy="0"/>
          <a:chOff x="0" y="0"/>
          <a:chExt cx="0" cy="0"/>
        </a:xfrm>
      </p:grpSpPr>
      <p:sp>
        <p:nvSpPr>
          <p:cNvPr id="2727" name="Rectangle 2726">
            <a:extLst>
              <a:ext uri="{FF2B5EF4-FFF2-40B4-BE49-F238E27FC236}">
                <a16:creationId xmlns:a16="http://schemas.microsoft.com/office/drawing/2014/main" id="{38B82DFD-D1EA-4725-A9B0-D30EB4F9D6B5}"/>
              </a:ext>
            </a:extLst>
          </p:cNvPr>
          <p:cNvSpPr/>
          <p:nvPr userDrawn="1"/>
        </p:nvSpPr>
        <p:spPr>
          <a:xfrm>
            <a:off x="2" y="0"/>
            <a:ext cx="4031719" cy="5143500"/>
          </a:xfrm>
          <a:prstGeom prst="rect">
            <a:avLst/>
          </a:prstGeom>
          <a:gradFill>
            <a:gsLst>
              <a:gs pos="75000">
                <a:schemeClr val="accent1"/>
              </a:gs>
              <a:gs pos="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4307" name="Picture Placeholder 2">
            <a:extLst>
              <a:ext uri="{FF2B5EF4-FFF2-40B4-BE49-F238E27FC236}">
                <a16:creationId xmlns:a16="http://schemas.microsoft.com/office/drawing/2014/main" id="{F33EBAE1-F41E-5A41-84DE-42FB786C8F74}"/>
              </a:ext>
            </a:extLst>
          </p:cNvPr>
          <p:cNvSpPr>
            <a:spLocks noGrp="1"/>
          </p:cNvSpPr>
          <p:nvPr>
            <p:ph type="pic" sz="quarter" idx="44"/>
          </p:nvPr>
        </p:nvSpPr>
        <p:spPr>
          <a:xfrm>
            <a:off x="0" y="0"/>
            <a:ext cx="4029691" cy="5143500"/>
          </a:xfrm>
          <a:prstGeom prst="rect">
            <a:avLst/>
          </a:prstGeom>
          <a:noFill/>
        </p:spPr>
        <p:txBody>
          <a:bodyPr anchor="ctr"/>
          <a:lstStyle>
            <a:lvl1pPr marL="0" indent="0" algn="ctr">
              <a:buNone/>
              <a:defRPr sz="1351"/>
            </a:lvl1pPr>
          </a:lstStyle>
          <a:p>
            <a:r>
              <a:rPr lang="en-US"/>
              <a:t>Click icon to add picture</a:t>
            </a:r>
          </a:p>
        </p:txBody>
      </p:sp>
      <p:sp>
        <p:nvSpPr>
          <p:cNvPr id="26" name="Text Placeholder 4"/>
          <p:cNvSpPr>
            <a:spLocks noGrp="1"/>
          </p:cNvSpPr>
          <p:nvPr>
            <p:ph type="body" sz="quarter" idx="14" hasCustomPrompt="1"/>
          </p:nvPr>
        </p:nvSpPr>
        <p:spPr>
          <a:xfrm>
            <a:off x="324002" y="1155328"/>
            <a:ext cx="3198935" cy="522451"/>
          </a:xfrm>
          <a:prstGeom prst="rect">
            <a:avLst/>
          </a:prstGeom>
        </p:spPr>
        <p:txBody>
          <a:bodyPr wrap="square" lIns="0" tIns="0" rIns="0" bIns="0">
            <a:spAutoFit/>
          </a:bodyPr>
          <a:lstStyle>
            <a:lvl1pPr marL="0" indent="0">
              <a:lnSpc>
                <a:spcPct val="80000"/>
              </a:lnSpc>
              <a:spcBef>
                <a:spcPts val="0"/>
              </a:spcBef>
              <a:buFontTx/>
              <a:buNone/>
              <a:defRPr sz="4200" spc="-151" baseline="0">
                <a:solidFill>
                  <a:schemeClr val="bg1"/>
                </a:solidFill>
                <a:latin typeface="+mn-lt"/>
              </a:defRPr>
            </a:lvl1pPr>
          </a:lstStyle>
          <a:p>
            <a:pPr lvl="0"/>
            <a:r>
              <a:rPr lang="en-US"/>
              <a:t>Lorem</a:t>
            </a:r>
          </a:p>
        </p:txBody>
      </p:sp>
      <p:sp>
        <p:nvSpPr>
          <p:cNvPr id="36" name="Text Placeholder 4"/>
          <p:cNvSpPr>
            <a:spLocks noGrp="1"/>
          </p:cNvSpPr>
          <p:nvPr>
            <p:ph type="body" sz="quarter" idx="12" hasCustomPrompt="1"/>
          </p:nvPr>
        </p:nvSpPr>
        <p:spPr>
          <a:xfrm>
            <a:off x="324002" y="1828517"/>
            <a:ext cx="3198935" cy="479875"/>
          </a:xfrm>
          <a:prstGeom prst="rect">
            <a:avLst/>
          </a:prstGeom>
        </p:spPr>
        <p:txBody>
          <a:bodyPr wrap="square" lIns="0" tIns="0" rIns="0" bIns="0">
            <a:spAutoFit/>
          </a:bodyPr>
          <a:lstStyle>
            <a:lvl1pPr marL="0" indent="0">
              <a:lnSpc>
                <a:spcPct val="120000"/>
              </a:lnSpc>
              <a:spcBef>
                <a:spcPts val="0"/>
              </a:spcBef>
              <a:spcAft>
                <a:spcPts val="0"/>
              </a:spcAft>
              <a:buFontTx/>
              <a:buNone/>
              <a:defRPr sz="1351">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p:txBody>
      </p:sp>
      <p:sp>
        <p:nvSpPr>
          <p:cNvPr id="1152" name="Text Placeholder 7">
            <a:extLst>
              <a:ext uri="{FF2B5EF4-FFF2-40B4-BE49-F238E27FC236}">
                <a16:creationId xmlns:a16="http://schemas.microsoft.com/office/drawing/2014/main" id="{32238EF1-CF8A-C547-A40F-2575ADDC153B}"/>
              </a:ext>
            </a:extLst>
          </p:cNvPr>
          <p:cNvSpPr>
            <a:spLocks noGrp="1"/>
          </p:cNvSpPr>
          <p:nvPr>
            <p:ph type="body" sz="quarter" idx="85" hasCustomPrompt="1"/>
          </p:nvPr>
        </p:nvSpPr>
        <p:spPr>
          <a:xfrm>
            <a:off x="4415569" y="1493059"/>
            <a:ext cx="4404583" cy="2764616"/>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1153" name="Text Placeholder 7">
            <a:extLst>
              <a:ext uri="{FF2B5EF4-FFF2-40B4-BE49-F238E27FC236}">
                <a16:creationId xmlns:a16="http://schemas.microsoft.com/office/drawing/2014/main" id="{8921AF50-68CC-1442-83D9-112EDDF42E0D}"/>
              </a:ext>
            </a:extLst>
          </p:cNvPr>
          <p:cNvSpPr>
            <a:spLocks noGrp="1"/>
          </p:cNvSpPr>
          <p:nvPr>
            <p:ph type="body" sz="quarter" idx="86" hasCustomPrompt="1"/>
          </p:nvPr>
        </p:nvSpPr>
        <p:spPr>
          <a:xfrm>
            <a:off x="4415569" y="1169896"/>
            <a:ext cx="4404583" cy="323165"/>
          </a:xfrm>
          <a:prstGeom prst="rect">
            <a:avLst/>
          </a:prstGeom>
        </p:spPr>
        <p:txBody>
          <a:bodyPr lIns="0" anchor="t">
            <a:normAutofit/>
          </a:bodyPr>
          <a:lstStyle>
            <a:lvl1pPr marL="0" indent="0">
              <a:lnSpc>
                <a:spcPct val="100000"/>
              </a:lnSpc>
              <a:buNone/>
              <a:defRPr lang="en-GB" sz="1200" kern="1200" spc="-56" dirty="0">
                <a:solidFill>
                  <a:schemeClr val="accent1"/>
                </a:solidFill>
                <a:latin typeface="+mn-lt"/>
                <a:ea typeface="+mn-ea"/>
                <a:cs typeface="+mn-cs"/>
              </a:defRPr>
            </a:lvl1pPr>
          </a:lstStyle>
          <a:p>
            <a:pPr marL="0" lvl="0" indent="0" algn="l" defTabSz="685758" rtl="0" eaLnBrk="1" latinLnBrk="0" hangingPunct="1">
              <a:lnSpc>
                <a:spcPct val="100000"/>
              </a:lnSpc>
              <a:spcBef>
                <a:spcPts val="751"/>
              </a:spcBef>
              <a:buClr>
                <a:schemeClr val="accent1"/>
              </a:buClr>
              <a:buFont typeface="Arial" panose="020B0604020202020204" pitchFamily="34" charset="0"/>
              <a:buNone/>
            </a:pPr>
            <a:r>
              <a:rPr lang="en-GB"/>
              <a:t>Lorem ipsum </a:t>
            </a:r>
            <a:r>
              <a:rPr lang="en-GB" err="1"/>
              <a:t>dolor</a:t>
            </a:r>
            <a:r>
              <a:rPr lang="en-GB"/>
              <a:t> sit </a:t>
            </a:r>
            <a:r>
              <a:rPr lang="en-GB" err="1"/>
              <a:t>amet</a:t>
            </a:r>
            <a:endParaRPr lang="en-GB"/>
          </a:p>
        </p:txBody>
      </p:sp>
      <p:sp>
        <p:nvSpPr>
          <p:cNvPr id="2728" name="Date Placeholder 2">
            <a:extLst>
              <a:ext uri="{FF2B5EF4-FFF2-40B4-BE49-F238E27FC236}">
                <a16:creationId xmlns:a16="http://schemas.microsoft.com/office/drawing/2014/main" id="{8E579C30-1D25-D14E-AC72-791D61B0332A}"/>
              </a:ext>
            </a:extLst>
          </p:cNvPr>
          <p:cNvSpPr>
            <a:spLocks noGrp="1"/>
          </p:cNvSpPr>
          <p:nvPr>
            <p:ph type="dt" sz="half" idx="10"/>
          </p:nvPr>
        </p:nvSpPr>
        <p:spPr>
          <a:xfrm>
            <a:off x="324002" y="4972079"/>
            <a:ext cx="494319" cy="92455"/>
          </a:xfrm>
        </p:spPr>
        <p:txBody>
          <a:bodyPr/>
          <a:lstStyle/>
          <a:p>
            <a:fld id="{9F255546-2873-44E3-B6BF-3405964FC337}" type="datetime1">
              <a:rPr lang="de-DE" smtClean="0"/>
              <a:t>24.01.2024</a:t>
            </a:fld>
            <a:endParaRPr lang="en-US"/>
          </a:p>
        </p:txBody>
      </p:sp>
      <p:sp>
        <p:nvSpPr>
          <p:cNvPr id="4304" name="Footer Placeholder 2">
            <a:extLst>
              <a:ext uri="{FF2B5EF4-FFF2-40B4-BE49-F238E27FC236}">
                <a16:creationId xmlns:a16="http://schemas.microsoft.com/office/drawing/2014/main" id="{D14476C5-0B23-864D-A2E0-7BA11326762C}"/>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4305" name="Graphic 4304">
            <a:extLst>
              <a:ext uri="{FF2B5EF4-FFF2-40B4-BE49-F238E27FC236}">
                <a16:creationId xmlns:a16="http://schemas.microsoft.com/office/drawing/2014/main" id="{6EE73969-1309-D242-86F9-FDADE71943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4306" name="Slide Number Placeholder 3">
            <a:extLst>
              <a:ext uri="{FF2B5EF4-FFF2-40B4-BE49-F238E27FC236}">
                <a16:creationId xmlns:a16="http://schemas.microsoft.com/office/drawing/2014/main" id="{BFA5CF60-2735-DD4F-AADF-2B38658C6CAB}"/>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2478846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asic - Blue header">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D09185BF-0C74-8147-86FC-D86A3464A2C8}"/>
              </a:ext>
            </a:extLst>
          </p:cNvPr>
          <p:cNvSpPr/>
          <p:nvPr userDrawn="1"/>
        </p:nvSpPr>
        <p:spPr>
          <a:xfrm>
            <a:off x="-3968" y="0"/>
            <a:ext cx="9147967" cy="847182"/>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chemeClr val="accent1"/>
          </a:solidFill>
        </p:spPr>
        <p:txBody>
          <a:bodyPr wrap="square" lIns="0" tIns="0" rIns="0" bIns="0" rtlCol="0"/>
          <a:lstStyle/>
          <a:p>
            <a:endParaRPr sz="675"/>
          </a:p>
        </p:txBody>
      </p:sp>
      <p:sp>
        <p:nvSpPr>
          <p:cNvPr id="3" name="Date Placeholder 2">
            <a:extLst>
              <a:ext uri="{FF2B5EF4-FFF2-40B4-BE49-F238E27FC236}">
                <a16:creationId xmlns:a16="http://schemas.microsoft.com/office/drawing/2014/main" id="{02E38D53-B9C2-8C4D-9B4D-2DCA657FC538}"/>
              </a:ext>
            </a:extLst>
          </p:cNvPr>
          <p:cNvSpPr>
            <a:spLocks noGrp="1"/>
          </p:cNvSpPr>
          <p:nvPr>
            <p:ph type="dt" sz="half" idx="10"/>
          </p:nvPr>
        </p:nvSpPr>
        <p:spPr>
          <a:xfrm>
            <a:off x="323851" y="4972079"/>
            <a:ext cx="494319" cy="92455"/>
          </a:xfrm>
        </p:spPr>
        <p:txBody>
          <a:bodyPr/>
          <a:lstStyle/>
          <a:p>
            <a:fld id="{D5FFF3E0-F8D9-450C-9542-A23E3D87459C}" type="datetime1">
              <a:rPr lang="de-DE" smtClean="0"/>
              <a:t>24.01.2024</a:t>
            </a:fld>
            <a:endParaRPr lang="en-US"/>
          </a:p>
        </p:txBody>
      </p:sp>
      <p:sp>
        <p:nvSpPr>
          <p:cNvPr id="4" name="Footer Placeholder 3">
            <a:extLst>
              <a:ext uri="{FF2B5EF4-FFF2-40B4-BE49-F238E27FC236}">
                <a16:creationId xmlns:a16="http://schemas.microsoft.com/office/drawing/2014/main" id="{3BE681BA-592A-5047-9AD9-7EA40D099B0A}"/>
              </a:ext>
            </a:extLst>
          </p:cNvPr>
          <p:cNvSpPr>
            <a:spLocks noGrp="1"/>
          </p:cNvSpPr>
          <p:nvPr>
            <p:ph type="ftr" sz="quarter" idx="11"/>
          </p:nvPr>
        </p:nvSpPr>
        <p:spPr>
          <a:xfrm>
            <a:off x="2424056" y="4972079"/>
            <a:ext cx="4295888" cy="92455"/>
          </a:xfrm>
        </p:spPr>
        <p:txBody>
          <a:bodyPr/>
          <a:lstStyle/>
          <a:p>
            <a:pPr marL="4763" algn="ctr">
              <a:spcBef>
                <a:spcPts val="51"/>
              </a:spcBef>
            </a:pPr>
            <a:r>
              <a:rPr lang="en-US" spc="7"/>
              <a:t>P3 | Master Thesis Update | Arav Barot</a:t>
            </a:r>
            <a:endParaRPr lang="en-US" spc="-7"/>
          </a:p>
        </p:txBody>
      </p:sp>
      <p:sp>
        <p:nvSpPr>
          <p:cNvPr id="5" name="Slide Number Placeholder 4">
            <a:extLst>
              <a:ext uri="{FF2B5EF4-FFF2-40B4-BE49-F238E27FC236}">
                <a16:creationId xmlns:a16="http://schemas.microsoft.com/office/drawing/2014/main" id="{F3A1D6D2-74E2-CD43-A62B-E74FF4DF68FF}"/>
              </a:ext>
            </a:extLst>
          </p:cNvPr>
          <p:cNvSpPr>
            <a:spLocks noGrp="1"/>
          </p:cNvSpPr>
          <p:nvPr>
            <p:ph type="sldNum" sz="quarter" idx="12"/>
          </p:nvPr>
        </p:nvSpPr>
        <p:spPr>
          <a:xfrm>
            <a:off x="8482628" y="4972079"/>
            <a:ext cx="337523" cy="92455"/>
          </a:xfrm>
        </p:spPr>
        <p:txBody>
          <a:bodyPr/>
          <a:lstStyle/>
          <a:p>
            <a:pPr algn="r"/>
            <a:fld id="{B6F15528-21DE-4FAA-801E-634DDDAF4B2B}" type="slidenum">
              <a:rPr lang="en-RO" smtClean="0"/>
              <a:pPr algn="r"/>
              <a:t>‹#›</a:t>
            </a:fld>
            <a:endParaRPr lang="en-RO"/>
          </a:p>
        </p:txBody>
      </p:sp>
      <p:sp>
        <p:nvSpPr>
          <p:cNvPr id="16" name="Text Placeholder 14">
            <a:extLst>
              <a:ext uri="{FF2B5EF4-FFF2-40B4-BE49-F238E27FC236}">
                <a16:creationId xmlns:a16="http://schemas.microsoft.com/office/drawing/2014/main" id="{1A4AA961-EEC0-B242-A2EB-258EC808F765}"/>
              </a:ext>
            </a:extLst>
          </p:cNvPr>
          <p:cNvSpPr>
            <a:spLocks noGrp="1"/>
          </p:cNvSpPr>
          <p:nvPr>
            <p:ph idx="1"/>
          </p:nvPr>
        </p:nvSpPr>
        <p:spPr>
          <a:xfrm>
            <a:off x="323851" y="1115766"/>
            <a:ext cx="8496299" cy="3516956"/>
          </a:xfrm>
          <a:prstGeom prst="rect">
            <a:avLst/>
          </a:prstGeom>
        </p:spPr>
        <p:txBody>
          <a:bodyPr vert="horz" lIns="0" tIns="45720" rIns="91440" bIns="45720" rtlCol="0">
            <a:normAutofit/>
          </a:bodyPr>
          <a:lstStyle>
            <a:lvl1pPr marL="89998" indent="-89998">
              <a:defRPr/>
            </a:lvl1pPr>
            <a:lvl2pPr indent="-89998">
              <a:defRPr/>
            </a:lvl2pPr>
            <a:lvl3pPr indent="-89998">
              <a:defRPr/>
            </a:lvl3pPr>
            <a:lvl4pPr indent="-89998">
              <a:defRPr/>
            </a:lvl4pPr>
            <a:lvl5pPr indent="-8999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8" name="Text Placeholder 4">
            <a:extLst>
              <a:ext uri="{FF2B5EF4-FFF2-40B4-BE49-F238E27FC236}">
                <a16:creationId xmlns:a16="http://schemas.microsoft.com/office/drawing/2014/main" id="{1601C9F1-E284-0545-8320-360C4DB5B7C5}"/>
              </a:ext>
            </a:extLst>
          </p:cNvPr>
          <p:cNvSpPr>
            <a:spLocks noGrp="1"/>
          </p:cNvSpPr>
          <p:nvPr>
            <p:ph type="body" sz="quarter" idx="77" hasCustomPrompt="1"/>
          </p:nvPr>
        </p:nvSpPr>
        <p:spPr>
          <a:xfrm>
            <a:off x="323851" y="570062"/>
            <a:ext cx="6982437"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Subtitle</a:t>
            </a:r>
          </a:p>
        </p:txBody>
      </p:sp>
      <p:sp>
        <p:nvSpPr>
          <p:cNvPr id="19" name="Text Placeholder 4">
            <a:extLst>
              <a:ext uri="{FF2B5EF4-FFF2-40B4-BE49-F238E27FC236}">
                <a16:creationId xmlns:a16="http://schemas.microsoft.com/office/drawing/2014/main" id="{E08A88AE-F782-7648-A6F6-47846F5DC0DF}"/>
              </a:ext>
            </a:extLst>
          </p:cNvPr>
          <p:cNvSpPr>
            <a:spLocks noGrp="1"/>
          </p:cNvSpPr>
          <p:nvPr>
            <p:ph type="body" sz="quarter" idx="78" hasCustomPrompt="1"/>
          </p:nvPr>
        </p:nvSpPr>
        <p:spPr>
          <a:xfrm>
            <a:off x="323852" y="170242"/>
            <a:ext cx="6987753" cy="373949"/>
          </a:xfrm>
          <a:prstGeom prst="rect">
            <a:avLst/>
          </a:prstGeom>
        </p:spPr>
        <p:txBody>
          <a:bodyPr vert="horz" wrap="square" lIns="0" tIns="0" rIns="0" bIns="0" rtlCol="0">
            <a:spAutoFit/>
          </a:bodyPr>
          <a:lstStyle>
            <a:lvl1pPr marL="0" indent="0">
              <a:buNone/>
              <a:defRPr lang="en-US" sz="2700" spc="-151" baseline="0" dirty="0">
                <a:solidFill>
                  <a:schemeClr val="bg1"/>
                </a:solidFill>
              </a:defRPr>
            </a:lvl1pPr>
          </a:lstStyle>
          <a:p>
            <a:pPr marL="67498" lvl="0" indent="-67498">
              <a:spcBef>
                <a:spcPts val="0"/>
              </a:spcBef>
            </a:pPr>
            <a:r>
              <a:rPr lang="en-US"/>
              <a:t>Title</a:t>
            </a:r>
          </a:p>
        </p:txBody>
      </p:sp>
      <p:pic>
        <p:nvPicPr>
          <p:cNvPr id="20" name="Graphic 19">
            <a:extLst>
              <a:ext uri="{FF2B5EF4-FFF2-40B4-BE49-F238E27FC236}">
                <a16:creationId xmlns:a16="http://schemas.microsoft.com/office/drawing/2014/main" id="{4F0A64D2-4697-0A40-9A6B-8DD8A78004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19099902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Variation 4">
    <p:spTree>
      <p:nvGrpSpPr>
        <p:cNvPr id="1" name=""/>
        <p:cNvGrpSpPr/>
        <p:nvPr/>
      </p:nvGrpSpPr>
      <p:grpSpPr>
        <a:xfrm>
          <a:off x="0" y="0"/>
          <a:ext cx="0" cy="0"/>
          <a:chOff x="0" y="0"/>
          <a:chExt cx="0" cy="0"/>
        </a:xfrm>
      </p:grpSpPr>
      <p:sp>
        <p:nvSpPr>
          <p:cNvPr id="3" name="Picture Placeholder 2"/>
          <p:cNvSpPr>
            <a:spLocks noGrp="1"/>
          </p:cNvSpPr>
          <p:nvPr>
            <p:ph type="pic" sz="quarter" idx="44"/>
          </p:nvPr>
        </p:nvSpPr>
        <p:spPr>
          <a:xfrm>
            <a:off x="4572000" y="0"/>
            <a:ext cx="4572000"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2" name="Text Placeholder 4"/>
          <p:cNvSpPr>
            <a:spLocks noGrp="1"/>
          </p:cNvSpPr>
          <p:nvPr>
            <p:ph type="body" sz="quarter" idx="14" hasCustomPrompt="1"/>
          </p:nvPr>
        </p:nvSpPr>
        <p:spPr>
          <a:xfrm>
            <a:off x="324000" y="1086023"/>
            <a:ext cx="3827040" cy="522451"/>
          </a:xfrm>
          <a:prstGeom prst="rect">
            <a:avLst/>
          </a:prstGeom>
        </p:spPr>
        <p:txBody>
          <a:bodyPr wrap="square" lIns="0" tIns="0" rIns="0" bIns="0">
            <a:spAutoFit/>
          </a:bodyPr>
          <a:lstStyle>
            <a:lvl1pPr marL="0" indent="0">
              <a:lnSpc>
                <a:spcPct val="80000"/>
              </a:lnSpc>
              <a:spcBef>
                <a:spcPts val="0"/>
              </a:spcBef>
              <a:buFont typeface="Arial" panose="020B0604020202020204" pitchFamily="34" charset="0"/>
              <a:buNone/>
              <a:defRPr sz="4200" spc="-151" baseline="0">
                <a:solidFill>
                  <a:schemeClr val="accent1"/>
                </a:solidFill>
                <a:latin typeface="+mn-lt"/>
              </a:defRPr>
            </a:lvl1pPr>
          </a:lstStyle>
          <a:p>
            <a:pPr lvl="0"/>
            <a:r>
              <a:rPr lang="en-US"/>
              <a:t>Lorem</a:t>
            </a:r>
          </a:p>
        </p:txBody>
      </p:sp>
      <p:sp>
        <p:nvSpPr>
          <p:cNvPr id="23" name="Text Placeholder 4"/>
          <p:cNvSpPr>
            <a:spLocks noGrp="1"/>
          </p:cNvSpPr>
          <p:nvPr>
            <p:ph type="body" sz="quarter" idx="12" hasCustomPrompt="1"/>
          </p:nvPr>
        </p:nvSpPr>
        <p:spPr>
          <a:xfrm>
            <a:off x="324000" y="1860352"/>
            <a:ext cx="3827040" cy="2225866"/>
          </a:xfrm>
          <a:prstGeom prst="rect">
            <a:avLst/>
          </a:prstGeom>
        </p:spPr>
        <p:txBody>
          <a:bodyPr wrap="square" lIns="0" tIns="0" rIns="0" bIns="0">
            <a:spAutoFit/>
          </a:bodyPr>
          <a:lstStyle>
            <a:lvl1pPr marL="0" indent="0">
              <a:lnSpc>
                <a:spcPct val="120000"/>
              </a:lnSpc>
              <a:spcBef>
                <a:spcPts val="0"/>
              </a:spcBef>
              <a:spcAft>
                <a:spcPts val="0"/>
              </a:spcAft>
              <a:buFontTx/>
              <a:buNone/>
              <a:defRPr sz="1351">
                <a:solidFill>
                  <a:srgbClr val="000000"/>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 </a:t>
            </a:r>
          </a:p>
        </p:txBody>
      </p:sp>
      <p:sp>
        <p:nvSpPr>
          <p:cNvPr id="9" name="Date Placeholder 2">
            <a:extLst>
              <a:ext uri="{FF2B5EF4-FFF2-40B4-BE49-F238E27FC236}">
                <a16:creationId xmlns:a16="http://schemas.microsoft.com/office/drawing/2014/main" id="{B345E005-4509-FE40-8B0F-638498224121}"/>
              </a:ext>
            </a:extLst>
          </p:cNvPr>
          <p:cNvSpPr>
            <a:spLocks noGrp="1"/>
          </p:cNvSpPr>
          <p:nvPr>
            <p:ph type="dt" sz="half" idx="10"/>
          </p:nvPr>
        </p:nvSpPr>
        <p:spPr>
          <a:xfrm>
            <a:off x="324002" y="4972079"/>
            <a:ext cx="494319" cy="92455"/>
          </a:xfrm>
        </p:spPr>
        <p:txBody>
          <a:bodyPr/>
          <a:lstStyle/>
          <a:p>
            <a:fld id="{50D306CD-CC96-4AD1-BE15-FB769C1400BA}" type="datetime1">
              <a:rPr lang="de-DE" smtClean="0"/>
              <a:t>24.01.2024</a:t>
            </a:fld>
            <a:endParaRPr lang="en-US"/>
          </a:p>
        </p:txBody>
      </p:sp>
      <p:sp>
        <p:nvSpPr>
          <p:cNvPr id="13" name="Footer Placeholder 2">
            <a:extLst>
              <a:ext uri="{FF2B5EF4-FFF2-40B4-BE49-F238E27FC236}">
                <a16:creationId xmlns:a16="http://schemas.microsoft.com/office/drawing/2014/main" id="{D4DA7F3B-5562-DB4E-A70D-446F4E4615CA}"/>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14" name="Graphic 13">
            <a:extLst>
              <a:ext uri="{FF2B5EF4-FFF2-40B4-BE49-F238E27FC236}">
                <a16:creationId xmlns:a16="http://schemas.microsoft.com/office/drawing/2014/main" id="{25A91A48-CB2E-FD4F-8893-C2293863D12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5" name="Slide Number Placeholder 3">
            <a:extLst>
              <a:ext uri="{FF2B5EF4-FFF2-40B4-BE49-F238E27FC236}">
                <a16:creationId xmlns:a16="http://schemas.microsoft.com/office/drawing/2014/main" id="{3F4ABD6B-2FD1-5249-8B43-E3555DB1B8F6}"/>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5336828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Variation 5">
    <p:spTree>
      <p:nvGrpSpPr>
        <p:cNvPr id="1" name=""/>
        <p:cNvGrpSpPr/>
        <p:nvPr/>
      </p:nvGrpSpPr>
      <p:grpSpPr>
        <a:xfrm>
          <a:off x="0" y="0"/>
          <a:ext cx="0" cy="0"/>
          <a:chOff x="0" y="0"/>
          <a:chExt cx="0" cy="0"/>
        </a:xfrm>
      </p:grpSpPr>
      <p:sp>
        <p:nvSpPr>
          <p:cNvPr id="3" name="Picture Placeholder 2"/>
          <p:cNvSpPr>
            <a:spLocks noGrp="1"/>
          </p:cNvSpPr>
          <p:nvPr>
            <p:ph type="pic" sz="quarter" idx="44"/>
          </p:nvPr>
        </p:nvSpPr>
        <p:spPr>
          <a:xfrm>
            <a:off x="-7841" y="0"/>
            <a:ext cx="4579841" cy="514350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22" name="Text Placeholder 4"/>
          <p:cNvSpPr>
            <a:spLocks noGrp="1"/>
          </p:cNvSpPr>
          <p:nvPr>
            <p:ph type="body" sz="quarter" idx="14" hasCustomPrompt="1"/>
          </p:nvPr>
        </p:nvSpPr>
        <p:spPr>
          <a:xfrm>
            <a:off x="5002425" y="1086023"/>
            <a:ext cx="3817727" cy="522451"/>
          </a:xfrm>
          <a:prstGeom prst="rect">
            <a:avLst/>
          </a:prstGeom>
        </p:spPr>
        <p:txBody>
          <a:bodyPr wrap="square" lIns="0" tIns="0" rIns="0" bIns="0">
            <a:spAutoFit/>
          </a:bodyPr>
          <a:lstStyle>
            <a:lvl1pPr marL="0" indent="0">
              <a:lnSpc>
                <a:spcPct val="80000"/>
              </a:lnSpc>
              <a:spcBef>
                <a:spcPts val="0"/>
              </a:spcBef>
              <a:buFont typeface="Arial" panose="020B0604020202020204" pitchFamily="34" charset="0"/>
              <a:buNone/>
              <a:defRPr sz="4200" spc="-151" baseline="0">
                <a:solidFill>
                  <a:schemeClr val="accent1"/>
                </a:solidFill>
                <a:latin typeface="+mn-lt"/>
              </a:defRPr>
            </a:lvl1pPr>
          </a:lstStyle>
          <a:p>
            <a:pPr lvl="0"/>
            <a:r>
              <a:rPr lang="en-US"/>
              <a:t>Lorem</a:t>
            </a:r>
          </a:p>
        </p:txBody>
      </p:sp>
      <p:sp>
        <p:nvSpPr>
          <p:cNvPr id="23" name="Text Placeholder 4"/>
          <p:cNvSpPr>
            <a:spLocks noGrp="1"/>
          </p:cNvSpPr>
          <p:nvPr>
            <p:ph type="body" sz="quarter" idx="12" hasCustomPrompt="1"/>
          </p:nvPr>
        </p:nvSpPr>
        <p:spPr>
          <a:xfrm>
            <a:off x="5002425" y="1860352"/>
            <a:ext cx="3817727" cy="2225866"/>
          </a:xfrm>
          <a:prstGeom prst="rect">
            <a:avLst/>
          </a:prstGeom>
        </p:spPr>
        <p:txBody>
          <a:bodyPr wrap="square" lIns="0" tIns="0" rIns="0" bIns="0">
            <a:spAutoFit/>
          </a:bodyPr>
          <a:lstStyle>
            <a:lvl1pPr marL="0" indent="0">
              <a:lnSpc>
                <a:spcPct val="120000"/>
              </a:lnSpc>
              <a:spcBef>
                <a:spcPts val="0"/>
              </a:spcBef>
              <a:spcAft>
                <a:spcPts val="0"/>
              </a:spcAft>
              <a:buFontTx/>
              <a:buNone/>
              <a:defRPr sz="1351">
                <a:solidFill>
                  <a:srgbClr val="000000"/>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 </a:t>
            </a:r>
          </a:p>
        </p:txBody>
      </p:sp>
      <p:sp>
        <p:nvSpPr>
          <p:cNvPr id="9" name="Date Placeholder 2">
            <a:extLst>
              <a:ext uri="{FF2B5EF4-FFF2-40B4-BE49-F238E27FC236}">
                <a16:creationId xmlns:a16="http://schemas.microsoft.com/office/drawing/2014/main" id="{7E049C8B-B75D-ED46-B0E6-E65AA87D7A01}"/>
              </a:ext>
            </a:extLst>
          </p:cNvPr>
          <p:cNvSpPr>
            <a:spLocks noGrp="1"/>
          </p:cNvSpPr>
          <p:nvPr>
            <p:ph type="dt" sz="half" idx="10"/>
          </p:nvPr>
        </p:nvSpPr>
        <p:spPr>
          <a:xfrm>
            <a:off x="324002" y="4972079"/>
            <a:ext cx="494319" cy="92455"/>
          </a:xfrm>
        </p:spPr>
        <p:txBody>
          <a:bodyPr/>
          <a:lstStyle/>
          <a:p>
            <a:fld id="{27C531EC-A20D-4F0C-B1D3-4C916EF6808A}" type="datetime1">
              <a:rPr lang="de-DE" smtClean="0"/>
              <a:t>24.01.2024</a:t>
            </a:fld>
            <a:endParaRPr lang="en-US"/>
          </a:p>
        </p:txBody>
      </p:sp>
      <p:sp>
        <p:nvSpPr>
          <p:cNvPr id="13" name="Footer Placeholder 2">
            <a:extLst>
              <a:ext uri="{FF2B5EF4-FFF2-40B4-BE49-F238E27FC236}">
                <a16:creationId xmlns:a16="http://schemas.microsoft.com/office/drawing/2014/main" id="{5E73C71B-8174-D945-B887-C7D825444CD2}"/>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14" name="Graphic 13">
            <a:extLst>
              <a:ext uri="{FF2B5EF4-FFF2-40B4-BE49-F238E27FC236}">
                <a16:creationId xmlns:a16="http://schemas.microsoft.com/office/drawing/2014/main" id="{0DF92AC1-C666-FB4E-A8DA-B5C28A4C2D7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5" name="Slide Number Placeholder 3">
            <a:extLst>
              <a:ext uri="{FF2B5EF4-FFF2-40B4-BE49-F238E27FC236}">
                <a16:creationId xmlns:a16="http://schemas.microsoft.com/office/drawing/2014/main" id="{716F8528-4245-254E-B8D2-ABE4AFB7D500}"/>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0542715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Variation 6">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B773716-AA04-4148-BDF8-01A410A60173}"/>
              </a:ext>
            </a:extLst>
          </p:cNvPr>
          <p:cNvSpPr/>
          <p:nvPr userDrawn="1"/>
        </p:nvSpPr>
        <p:spPr>
          <a:xfrm>
            <a:off x="2" y="0"/>
            <a:ext cx="3655279" cy="51435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2" name="Rectangle 21">
            <a:extLst>
              <a:ext uri="{FF2B5EF4-FFF2-40B4-BE49-F238E27FC236}">
                <a16:creationId xmlns:a16="http://schemas.microsoft.com/office/drawing/2014/main" id="{CA7B3BCB-5115-0D48-996D-19D64401637F}"/>
              </a:ext>
            </a:extLst>
          </p:cNvPr>
          <p:cNvSpPr/>
          <p:nvPr/>
        </p:nvSpPr>
        <p:spPr>
          <a:xfrm>
            <a:off x="2" y="0"/>
            <a:ext cx="3655279" cy="51435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3" name="Picture Placeholder 2"/>
          <p:cNvSpPr>
            <a:spLocks noGrp="1"/>
          </p:cNvSpPr>
          <p:nvPr>
            <p:ph type="pic" sz="quarter" idx="44"/>
          </p:nvPr>
        </p:nvSpPr>
        <p:spPr>
          <a:xfrm>
            <a:off x="0" y="0"/>
            <a:ext cx="9144000" cy="176153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16" name="Text Placeholder 4">
            <a:extLst>
              <a:ext uri="{FF2B5EF4-FFF2-40B4-BE49-F238E27FC236}">
                <a16:creationId xmlns:a16="http://schemas.microsoft.com/office/drawing/2014/main" id="{81A7DBF6-39C2-7C44-AB3E-1767AB032D9E}"/>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rgbClr val="F1F1F1"/>
                </a:solidFill>
                <a:latin typeface="+mj-lt"/>
              </a:defRPr>
            </a:lvl1pPr>
          </a:lstStyle>
          <a:p>
            <a:r>
              <a:rPr lang="en-US"/>
              <a:t>Lorem ipsum dolor sit </a:t>
            </a:r>
            <a:r>
              <a:rPr lang="en-US" err="1"/>
              <a:t>amet</a:t>
            </a:r>
            <a:endParaRPr lang="en-US"/>
          </a:p>
        </p:txBody>
      </p:sp>
      <p:sp>
        <p:nvSpPr>
          <p:cNvPr id="17" name="Text Placeholder 4">
            <a:extLst>
              <a:ext uri="{FF2B5EF4-FFF2-40B4-BE49-F238E27FC236}">
                <a16:creationId xmlns:a16="http://schemas.microsoft.com/office/drawing/2014/main" id="{77FD7AF8-2C2C-E94B-A9F6-B6B1718F2F6D}"/>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Lorem ipsum </a:t>
            </a:r>
          </a:p>
        </p:txBody>
      </p:sp>
      <p:sp>
        <p:nvSpPr>
          <p:cNvPr id="26" name="Text Placeholder 4">
            <a:extLst>
              <a:ext uri="{FF2B5EF4-FFF2-40B4-BE49-F238E27FC236}">
                <a16:creationId xmlns:a16="http://schemas.microsoft.com/office/drawing/2014/main" id="{A8FE3A26-A148-6047-9D8C-4A9CF5360F3C}"/>
              </a:ext>
            </a:extLst>
          </p:cNvPr>
          <p:cNvSpPr>
            <a:spLocks noGrp="1"/>
          </p:cNvSpPr>
          <p:nvPr>
            <p:ph type="body" sz="quarter" idx="12" hasCustomPrompt="1"/>
          </p:nvPr>
        </p:nvSpPr>
        <p:spPr>
          <a:xfrm>
            <a:off x="324000" y="2135868"/>
            <a:ext cx="2986149" cy="1363835"/>
          </a:xfrm>
          <a:prstGeom prst="rect">
            <a:avLst/>
          </a:prstGeom>
        </p:spPr>
        <p:txBody>
          <a:bodyPr wrap="square" lIns="0" tIns="0" rIns="0" bIns="0">
            <a:spAutoFit/>
          </a:bodyPr>
          <a:lstStyle>
            <a:lvl1pPr marL="0" indent="0">
              <a:lnSpc>
                <a:spcPct val="120000"/>
              </a:lnSpc>
              <a:spcBef>
                <a:spcPts val="0"/>
              </a:spcBef>
              <a:spcAft>
                <a:spcPts val="0"/>
              </a:spcAft>
              <a:buFontTx/>
              <a:buNone/>
              <a:defRPr sz="1500" spc="-56">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p:txBody>
      </p:sp>
      <p:sp>
        <p:nvSpPr>
          <p:cNvPr id="28" name="Text Placeholder 4">
            <a:extLst>
              <a:ext uri="{FF2B5EF4-FFF2-40B4-BE49-F238E27FC236}">
                <a16:creationId xmlns:a16="http://schemas.microsoft.com/office/drawing/2014/main" id="{38D3CB94-E9DA-0946-871D-D3F028D4D426}"/>
              </a:ext>
            </a:extLst>
          </p:cNvPr>
          <p:cNvSpPr>
            <a:spLocks noGrp="1"/>
          </p:cNvSpPr>
          <p:nvPr>
            <p:ph type="body" sz="quarter" idx="80" hasCustomPrompt="1"/>
          </p:nvPr>
        </p:nvSpPr>
        <p:spPr>
          <a:xfrm>
            <a:off x="3938304" y="2135866"/>
            <a:ext cx="2537453" cy="184666"/>
          </a:xfrm>
          <a:prstGeom prst="rect">
            <a:avLst/>
          </a:prstGeom>
        </p:spPr>
        <p:txBody>
          <a:bodyPr vert="horz" lIns="0" tIns="45720" rIns="91440" bIns="45720" rtlCol="0" anchor="ctr">
            <a:normAutofit/>
          </a:bodyPr>
          <a:lstStyle>
            <a:lvl1pPr>
              <a:defRPr lang="en-US" sz="1200" spc="-56" dirty="0">
                <a:solidFill>
                  <a:schemeClr val="accent1"/>
                </a:solidFill>
              </a:defRPr>
            </a:lvl1pPr>
          </a:lstStyle>
          <a:p>
            <a:pPr marL="0" lvl="0" indent="0">
              <a:lnSpc>
                <a:spcPct val="100000"/>
              </a:lnSpc>
              <a:buNone/>
            </a:pPr>
            <a:r>
              <a:rPr lang="en-US"/>
              <a:t>Lorem ipsum dolor sit </a:t>
            </a:r>
            <a:r>
              <a:rPr lang="en-US" err="1"/>
              <a:t>amet</a:t>
            </a:r>
            <a:endParaRPr lang="en-US"/>
          </a:p>
        </p:txBody>
      </p:sp>
      <p:sp>
        <p:nvSpPr>
          <p:cNvPr id="30" name="Date Placeholder 2">
            <a:extLst>
              <a:ext uri="{FF2B5EF4-FFF2-40B4-BE49-F238E27FC236}">
                <a16:creationId xmlns:a16="http://schemas.microsoft.com/office/drawing/2014/main" id="{A36F8B98-7638-984D-9F7A-5AF6A9CF0C48}"/>
              </a:ext>
            </a:extLst>
          </p:cNvPr>
          <p:cNvSpPr>
            <a:spLocks noGrp="1"/>
          </p:cNvSpPr>
          <p:nvPr>
            <p:ph type="dt" sz="half" idx="10"/>
          </p:nvPr>
        </p:nvSpPr>
        <p:spPr>
          <a:xfrm>
            <a:off x="324002" y="4972079"/>
            <a:ext cx="494319" cy="92455"/>
          </a:xfrm>
        </p:spPr>
        <p:txBody>
          <a:bodyPr/>
          <a:lstStyle/>
          <a:p>
            <a:fld id="{EA1BBEB8-6739-49EC-A6D6-859FED227A90}" type="datetime1">
              <a:rPr lang="de-DE" smtClean="0"/>
              <a:t>24.01.2024</a:t>
            </a:fld>
            <a:endParaRPr lang="en-US"/>
          </a:p>
        </p:txBody>
      </p:sp>
      <p:sp>
        <p:nvSpPr>
          <p:cNvPr id="14" name="Text Placeholder 4">
            <a:extLst>
              <a:ext uri="{FF2B5EF4-FFF2-40B4-BE49-F238E27FC236}">
                <a16:creationId xmlns:a16="http://schemas.microsoft.com/office/drawing/2014/main" id="{6AC64D33-96EA-1547-BAAD-4AC19B78F3D7}"/>
              </a:ext>
            </a:extLst>
          </p:cNvPr>
          <p:cNvSpPr>
            <a:spLocks noGrp="1"/>
          </p:cNvSpPr>
          <p:nvPr>
            <p:ph type="body" sz="quarter" idx="79" hasCustomPrompt="1"/>
          </p:nvPr>
        </p:nvSpPr>
        <p:spPr>
          <a:xfrm>
            <a:off x="3938305" y="2462941"/>
            <a:ext cx="4881847" cy="2147896"/>
          </a:xfrm>
          <a:prstGeom prst="rect">
            <a:avLst/>
          </a:prstGeom>
        </p:spPr>
        <p:txBody>
          <a:bodyPr wrap="square" lIns="0" tIns="0" rIns="0" bIns="0">
            <a:spAutoFit/>
          </a:bodyPr>
          <a:lstStyle>
            <a:lvl1pPr marL="0" indent="0">
              <a:lnSpc>
                <a:spcPct val="120000"/>
              </a:lnSpc>
              <a:spcBef>
                <a:spcPts val="0"/>
              </a:spcBef>
              <a:spcAft>
                <a:spcPts val="0"/>
              </a:spcAft>
              <a:buFontTx/>
              <a:buNone/>
              <a:defRPr sz="900">
                <a:solidFill>
                  <a:srgbClr val="000000"/>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 </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a:t>
            </a:r>
          </a:p>
        </p:txBody>
      </p:sp>
      <p:sp>
        <p:nvSpPr>
          <p:cNvPr id="18" name="Footer Placeholder 2">
            <a:extLst>
              <a:ext uri="{FF2B5EF4-FFF2-40B4-BE49-F238E27FC236}">
                <a16:creationId xmlns:a16="http://schemas.microsoft.com/office/drawing/2014/main" id="{92A2053F-8160-8544-BF46-B22001EA3E2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19" name="Graphic 18">
            <a:extLst>
              <a:ext uri="{FF2B5EF4-FFF2-40B4-BE49-F238E27FC236}">
                <a16:creationId xmlns:a16="http://schemas.microsoft.com/office/drawing/2014/main" id="{9E7F0B91-4D69-674E-A4EA-FAAA673684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0" name="Slide Number Placeholder 3">
            <a:extLst>
              <a:ext uri="{FF2B5EF4-FFF2-40B4-BE49-F238E27FC236}">
                <a16:creationId xmlns:a16="http://schemas.microsoft.com/office/drawing/2014/main" id="{C7B3E2A4-D689-2A47-968A-6AB736FCBF61}"/>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9467109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ariation 7">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2C08386-0D5E-4336-8A4C-8DC50D1591A5}"/>
              </a:ext>
            </a:extLst>
          </p:cNvPr>
          <p:cNvSpPr/>
          <p:nvPr userDrawn="1"/>
        </p:nvSpPr>
        <p:spPr>
          <a:xfrm>
            <a:off x="2" y="0"/>
            <a:ext cx="365527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2" name="Rectangle 21">
            <a:extLst>
              <a:ext uri="{FF2B5EF4-FFF2-40B4-BE49-F238E27FC236}">
                <a16:creationId xmlns:a16="http://schemas.microsoft.com/office/drawing/2014/main" id="{CA7B3BCB-5115-0D48-996D-19D64401637F}"/>
              </a:ext>
            </a:extLst>
          </p:cNvPr>
          <p:cNvSpPr/>
          <p:nvPr/>
        </p:nvSpPr>
        <p:spPr>
          <a:xfrm>
            <a:off x="2" y="0"/>
            <a:ext cx="365527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3" name="Picture Placeholder 2"/>
          <p:cNvSpPr>
            <a:spLocks noGrp="1"/>
          </p:cNvSpPr>
          <p:nvPr>
            <p:ph type="pic" sz="quarter" idx="44"/>
          </p:nvPr>
        </p:nvSpPr>
        <p:spPr>
          <a:xfrm>
            <a:off x="0" y="0"/>
            <a:ext cx="9144000" cy="176153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16" name="Text Placeholder 4">
            <a:extLst>
              <a:ext uri="{FF2B5EF4-FFF2-40B4-BE49-F238E27FC236}">
                <a16:creationId xmlns:a16="http://schemas.microsoft.com/office/drawing/2014/main" id="{81A7DBF6-39C2-7C44-AB3E-1767AB032D9E}"/>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rgbClr val="F1F1F1"/>
                </a:solidFill>
                <a:latin typeface="+mj-lt"/>
              </a:defRPr>
            </a:lvl1pPr>
          </a:lstStyle>
          <a:p>
            <a:r>
              <a:rPr lang="en-US"/>
              <a:t>Lorem ipsum dolor sit </a:t>
            </a:r>
            <a:r>
              <a:rPr lang="en-US" err="1"/>
              <a:t>amet</a:t>
            </a:r>
            <a:endParaRPr lang="en-US"/>
          </a:p>
        </p:txBody>
      </p:sp>
      <p:sp>
        <p:nvSpPr>
          <p:cNvPr id="17" name="Text Placeholder 4">
            <a:extLst>
              <a:ext uri="{FF2B5EF4-FFF2-40B4-BE49-F238E27FC236}">
                <a16:creationId xmlns:a16="http://schemas.microsoft.com/office/drawing/2014/main" id="{77FD7AF8-2C2C-E94B-A9F6-B6B1718F2F6D}"/>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Lorem ipsum </a:t>
            </a:r>
          </a:p>
        </p:txBody>
      </p:sp>
      <p:sp>
        <p:nvSpPr>
          <p:cNvPr id="26" name="Date Placeholder 2">
            <a:extLst>
              <a:ext uri="{FF2B5EF4-FFF2-40B4-BE49-F238E27FC236}">
                <a16:creationId xmlns:a16="http://schemas.microsoft.com/office/drawing/2014/main" id="{32619A97-8987-E74C-A591-6AB0FFF4937D}"/>
              </a:ext>
            </a:extLst>
          </p:cNvPr>
          <p:cNvSpPr>
            <a:spLocks noGrp="1"/>
          </p:cNvSpPr>
          <p:nvPr>
            <p:ph type="dt" sz="half" idx="10"/>
          </p:nvPr>
        </p:nvSpPr>
        <p:spPr>
          <a:xfrm>
            <a:off x="324002" y="4972079"/>
            <a:ext cx="494319" cy="92455"/>
          </a:xfrm>
        </p:spPr>
        <p:txBody>
          <a:bodyPr/>
          <a:lstStyle/>
          <a:p>
            <a:fld id="{6365290A-DC72-4880-A708-F1B9A295A942}" type="datetime1">
              <a:rPr lang="de-DE" smtClean="0"/>
              <a:t>24.01.2024</a:t>
            </a:fld>
            <a:endParaRPr lang="en-US"/>
          </a:p>
        </p:txBody>
      </p:sp>
      <p:sp>
        <p:nvSpPr>
          <p:cNvPr id="15" name="Text Placeholder 4">
            <a:extLst>
              <a:ext uri="{FF2B5EF4-FFF2-40B4-BE49-F238E27FC236}">
                <a16:creationId xmlns:a16="http://schemas.microsoft.com/office/drawing/2014/main" id="{DB33BB1C-47CA-D541-92FC-0CBFCE4242FF}"/>
              </a:ext>
            </a:extLst>
          </p:cNvPr>
          <p:cNvSpPr>
            <a:spLocks noGrp="1"/>
          </p:cNvSpPr>
          <p:nvPr>
            <p:ph type="body" sz="quarter" idx="12" hasCustomPrompt="1"/>
          </p:nvPr>
        </p:nvSpPr>
        <p:spPr>
          <a:xfrm>
            <a:off x="324000" y="2135868"/>
            <a:ext cx="2986149" cy="1363835"/>
          </a:xfrm>
          <a:prstGeom prst="rect">
            <a:avLst/>
          </a:prstGeom>
        </p:spPr>
        <p:txBody>
          <a:bodyPr wrap="square" lIns="0" tIns="0" rIns="0" bIns="0">
            <a:spAutoFit/>
          </a:bodyPr>
          <a:lstStyle>
            <a:lvl1pPr marL="0" indent="0">
              <a:lnSpc>
                <a:spcPct val="120000"/>
              </a:lnSpc>
              <a:spcBef>
                <a:spcPts val="0"/>
              </a:spcBef>
              <a:spcAft>
                <a:spcPts val="0"/>
              </a:spcAft>
              <a:buFontTx/>
              <a:buNone/>
              <a:defRPr sz="1500" spc="-56">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p:txBody>
      </p:sp>
      <p:sp>
        <p:nvSpPr>
          <p:cNvPr id="21" name="Text Placeholder 4">
            <a:extLst>
              <a:ext uri="{FF2B5EF4-FFF2-40B4-BE49-F238E27FC236}">
                <a16:creationId xmlns:a16="http://schemas.microsoft.com/office/drawing/2014/main" id="{A60B75C3-C698-E541-BD18-FC01D92553BA}"/>
              </a:ext>
            </a:extLst>
          </p:cNvPr>
          <p:cNvSpPr>
            <a:spLocks noGrp="1"/>
          </p:cNvSpPr>
          <p:nvPr>
            <p:ph type="body" sz="quarter" idx="80" hasCustomPrompt="1"/>
          </p:nvPr>
        </p:nvSpPr>
        <p:spPr>
          <a:xfrm>
            <a:off x="3938304" y="2135866"/>
            <a:ext cx="2537453" cy="184666"/>
          </a:xfrm>
          <a:prstGeom prst="rect">
            <a:avLst/>
          </a:prstGeom>
        </p:spPr>
        <p:txBody>
          <a:bodyPr vert="horz" lIns="0" tIns="45720" rIns="91440" bIns="45720" rtlCol="0" anchor="ctr">
            <a:normAutofit/>
          </a:bodyPr>
          <a:lstStyle>
            <a:lvl1pPr>
              <a:defRPr lang="en-US" sz="1200" spc="-56" dirty="0">
                <a:solidFill>
                  <a:schemeClr val="accent1"/>
                </a:solidFill>
              </a:defRPr>
            </a:lvl1pPr>
          </a:lstStyle>
          <a:p>
            <a:pPr marL="0" lvl="0" indent="0">
              <a:lnSpc>
                <a:spcPct val="100000"/>
              </a:lnSpc>
              <a:buNone/>
            </a:pPr>
            <a:r>
              <a:rPr lang="en-US"/>
              <a:t>Lorem ipsum dolor sit </a:t>
            </a:r>
            <a:r>
              <a:rPr lang="en-US" err="1"/>
              <a:t>amet</a:t>
            </a:r>
            <a:endParaRPr lang="en-US"/>
          </a:p>
        </p:txBody>
      </p:sp>
      <p:sp>
        <p:nvSpPr>
          <p:cNvPr id="23" name="Text Placeholder 4">
            <a:extLst>
              <a:ext uri="{FF2B5EF4-FFF2-40B4-BE49-F238E27FC236}">
                <a16:creationId xmlns:a16="http://schemas.microsoft.com/office/drawing/2014/main" id="{49B528D6-00E5-8544-9B8D-83F887AA0592}"/>
              </a:ext>
            </a:extLst>
          </p:cNvPr>
          <p:cNvSpPr>
            <a:spLocks noGrp="1"/>
          </p:cNvSpPr>
          <p:nvPr>
            <p:ph type="body" sz="quarter" idx="79" hasCustomPrompt="1"/>
          </p:nvPr>
        </p:nvSpPr>
        <p:spPr>
          <a:xfrm>
            <a:off x="3938305" y="2462941"/>
            <a:ext cx="4881847" cy="2147896"/>
          </a:xfrm>
          <a:prstGeom prst="rect">
            <a:avLst/>
          </a:prstGeom>
        </p:spPr>
        <p:txBody>
          <a:bodyPr wrap="square" lIns="0" tIns="0" rIns="0" bIns="0">
            <a:spAutoFit/>
          </a:bodyPr>
          <a:lstStyle>
            <a:lvl1pPr marL="0" indent="0">
              <a:lnSpc>
                <a:spcPct val="120000"/>
              </a:lnSpc>
              <a:spcBef>
                <a:spcPts val="0"/>
              </a:spcBef>
              <a:spcAft>
                <a:spcPts val="0"/>
              </a:spcAft>
              <a:buFontTx/>
              <a:buNone/>
              <a:defRPr sz="900">
                <a:solidFill>
                  <a:srgbClr val="000000"/>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 </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a:t>
            </a:r>
          </a:p>
        </p:txBody>
      </p:sp>
      <p:sp>
        <p:nvSpPr>
          <p:cNvPr id="18" name="Footer Placeholder 2">
            <a:extLst>
              <a:ext uri="{FF2B5EF4-FFF2-40B4-BE49-F238E27FC236}">
                <a16:creationId xmlns:a16="http://schemas.microsoft.com/office/drawing/2014/main" id="{4E5D2E0A-0198-FF42-80B5-63DC512BEA37}"/>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19" name="Graphic 18">
            <a:extLst>
              <a:ext uri="{FF2B5EF4-FFF2-40B4-BE49-F238E27FC236}">
                <a16:creationId xmlns:a16="http://schemas.microsoft.com/office/drawing/2014/main" id="{BC679FDA-0D4B-6843-9E1B-EB541EC9B3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0" name="Slide Number Placeholder 3">
            <a:extLst>
              <a:ext uri="{FF2B5EF4-FFF2-40B4-BE49-F238E27FC236}">
                <a16:creationId xmlns:a16="http://schemas.microsoft.com/office/drawing/2014/main" id="{51877D5C-D389-B245-8C1A-90848D032A34}"/>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10015955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Variation 8">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8A5329-14D8-400A-9B6A-51F6DA31FA9F}"/>
              </a:ext>
            </a:extLst>
          </p:cNvPr>
          <p:cNvSpPr/>
          <p:nvPr userDrawn="1"/>
        </p:nvSpPr>
        <p:spPr>
          <a:xfrm>
            <a:off x="2" y="0"/>
            <a:ext cx="3655279" cy="5143500"/>
          </a:xfrm>
          <a:prstGeom prst="rect">
            <a:avLst/>
          </a:prstGeom>
          <a:solidFill>
            <a:srgbClr val="B401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2" name="Rectangle 21">
            <a:extLst>
              <a:ext uri="{FF2B5EF4-FFF2-40B4-BE49-F238E27FC236}">
                <a16:creationId xmlns:a16="http://schemas.microsoft.com/office/drawing/2014/main" id="{CA7B3BCB-5115-0D48-996D-19D64401637F}"/>
              </a:ext>
            </a:extLst>
          </p:cNvPr>
          <p:cNvSpPr/>
          <p:nvPr/>
        </p:nvSpPr>
        <p:spPr>
          <a:xfrm>
            <a:off x="2" y="0"/>
            <a:ext cx="3655279" cy="5143500"/>
          </a:xfrm>
          <a:prstGeom prst="rect">
            <a:avLst/>
          </a:prstGeom>
          <a:solidFill>
            <a:srgbClr val="B401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3" name="Picture Placeholder 2"/>
          <p:cNvSpPr>
            <a:spLocks noGrp="1"/>
          </p:cNvSpPr>
          <p:nvPr>
            <p:ph type="pic" sz="quarter" idx="44"/>
          </p:nvPr>
        </p:nvSpPr>
        <p:spPr>
          <a:xfrm>
            <a:off x="0" y="0"/>
            <a:ext cx="9144000" cy="1761530"/>
          </a:xfrm>
          <a:prstGeom prst="rect">
            <a:avLst/>
          </a:prstGeom>
          <a:pattFill prst="lgCheck">
            <a:fgClr>
              <a:schemeClr val="bg1"/>
            </a:fgClr>
            <a:bgClr>
              <a:schemeClr val="bg1">
                <a:lumMod val="85000"/>
              </a:schemeClr>
            </a:bgClr>
          </a:pattFill>
        </p:spPr>
        <p:txBody>
          <a:bodyPr anchor="ctr"/>
          <a:lstStyle>
            <a:lvl1pPr marL="0" indent="0" algn="ctr">
              <a:buNone/>
              <a:defRPr sz="1351"/>
            </a:lvl1pPr>
          </a:lstStyle>
          <a:p>
            <a:r>
              <a:rPr lang="en-US"/>
              <a:t>Click icon to add picture</a:t>
            </a:r>
          </a:p>
        </p:txBody>
      </p:sp>
      <p:sp>
        <p:nvSpPr>
          <p:cNvPr id="16" name="Text Placeholder 4">
            <a:extLst>
              <a:ext uri="{FF2B5EF4-FFF2-40B4-BE49-F238E27FC236}">
                <a16:creationId xmlns:a16="http://schemas.microsoft.com/office/drawing/2014/main" id="{81A7DBF6-39C2-7C44-AB3E-1767AB032D9E}"/>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rgbClr val="F1F1F1"/>
                </a:solidFill>
                <a:latin typeface="+mj-lt"/>
              </a:defRPr>
            </a:lvl1pPr>
          </a:lstStyle>
          <a:p>
            <a:r>
              <a:rPr lang="en-US"/>
              <a:t>Lorem ipsum dolor sit </a:t>
            </a:r>
            <a:r>
              <a:rPr lang="en-US" err="1"/>
              <a:t>amet</a:t>
            </a:r>
            <a:endParaRPr lang="en-US"/>
          </a:p>
        </p:txBody>
      </p:sp>
      <p:sp>
        <p:nvSpPr>
          <p:cNvPr id="17" name="Text Placeholder 4">
            <a:extLst>
              <a:ext uri="{FF2B5EF4-FFF2-40B4-BE49-F238E27FC236}">
                <a16:creationId xmlns:a16="http://schemas.microsoft.com/office/drawing/2014/main" id="{77FD7AF8-2C2C-E94B-A9F6-B6B1718F2F6D}"/>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Lorem ipsum </a:t>
            </a:r>
          </a:p>
        </p:txBody>
      </p:sp>
      <p:sp>
        <p:nvSpPr>
          <p:cNvPr id="21" name="Date Placeholder 2">
            <a:extLst>
              <a:ext uri="{FF2B5EF4-FFF2-40B4-BE49-F238E27FC236}">
                <a16:creationId xmlns:a16="http://schemas.microsoft.com/office/drawing/2014/main" id="{621D7243-EB76-3040-9979-58452ADA4800}"/>
              </a:ext>
            </a:extLst>
          </p:cNvPr>
          <p:cNvSpPr>
            <a:spLocks noGrp="1"/>
          </p:cNvSpPr>
          <p:nvPr>
            <p:ph type="dt" sz="half" idx="10"/>
          </p:nvPr>
        </p:nvSpPr>
        <p:spPr>
          <a:xfrm>
            <a:off x="324002" y="4972079"/>
            <a:ext cx="494319" cy="92455"/>
          </a:xfrm>
        </p:spPr>
        <p:txBody>
          <a:bodyPr/>
          <a:lstStyle/>
          <a:p>
            <a:fld id="{004CC980-3803-40B2-AE46-1BF7C08170C8}" type="datetime1">
              <a:rPr lang="de-DE" smtClean="0"/>
              <a:t>24.01.2024</a:t>
            </a:fld>
            <a:endParaRPr lang="en-US"/>
          </a:p>
        </p:txBody>
      </p:sp>
      <p:sp>
        <p:nvSpPr>
          <p:cNvPr id="15" name="Text Placeholder 4">
            <a:extLst>
              <a:ext uri="{FF2B5EF4-FFF2-40B4-BE49-F238E27FC236}">
                <a16:creationId xmlns:a16="http://schemas.microsoft.com/office/drawing/2014/main" id="{8D66A1A6-3D05-8F4B-934F-D2E08683C759}"/>
              </a:ext>
            </a:extLst>
          </p:cNvPr>
          <p:cNvSpPr>
            <a:spLocks noGrp="1"/>
          </p:cNvSpPr>
          <p:nvPr>
            <p:ph type="body" sz="quarter" idx="12" hasCustomPrompt="1"/>
          </p:nvPr>
        </p:nvSpPr>
        <p:spPr>
          <a:xfrm>
            <a:off x="324000" y="2135868"/>
            <a:ext cx="2986149" cy="1363835"/>
          </a:xfrm>
          <a:prstGeom prst="rect">
            <a:avLst/>
          </a:prstGeom>
        </p:spPr>
        <p:txBody>
          <a:bodyPr wrap="square" lIns="0" tIns="0" rIns="0" bIns="0">
            <a:spAutoFit/>
          </a:bodyPr>
          <a:lstStyle>
            <a:lvl1pPr marL="0" indent="0">
              <a:lnSpc>
                <a:spcPct val="120000"/>
              </a:lnSpc>
              <a:spcBef>
                <a:spcPts val="0"/>
              </a:spcBef>
              <a:spcAft>
                <a:spcPts val="0"/>
              </a:spcAft>
              <a:buFontTx/>
              <a:buNone/>
              <a:defRPr sz="1500" spc="-56">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p:txBody>
      </p:sp>
      <p:sp>
        <p:nvSpPr>
          <p:cNvPr id="18" name="Text Placeholder 4">
            <a:extLst>
              <a:ext uri="{FF2B5EF4-FFF2-40B4-BE49-F238E27FC236}">
                <a16:creationId xmlns:a16="http://schemas.microsoft.com/office/drawing/2014/main" id="{5298CF14-FA66-6D4C-A6B4-714980BD4923}"/>
              </a:ext>
            </a:extLst>
          </p:cNvPr>
          <p:cNvSpPr>
            <a:spLocks noGrp="1"/>
          </p:cNvSpPr>
          <p:nvPr>
            <p:ph type="body" sz="quarter" idx="79" hasCustomPrompt="1"/>
          </p:nvPr>
        </p:nvSpPr>
        <p:spPr>
          <a:xfrm>
            <a:off x="3938305" y="2462941"/>
            <a:ext cx="4881847" cy="2147896"/>
          </a:xfrm>
          <a:prstGeom prst="rect">
            <a:avLst/>
          </a:prstGeom>
        </p:spPr>
        <p:txBody>
          <a:bodyPr wrap="square" lIns="0" tIns="0" rIns="0" bIns="0">
            <a:spAutoFit/>
          </a:bodyPr>
          <a:lstStyle>
            <a:lvl1pPr marL="0" indent="0">
              <a:lnSpc>
                <a:spcPct val="120000"/>
              </a:lnSpc>
              <a:spcBef>
                <a:spcPts val="0"/>
              </a:spcBef>
              <a:spcAft>
                <a:spcPts val="0"/>
              </a:spcAft>
              <a:buFontTx/>
              <a:buNone/>
              <a:defRPr sz="900">
                <a:solidFill>
                  <a:srgbClr val="000000"/>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 </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in </a:t>
            </a:r>
            <a:r>
              <a:rPr lang="en-US" err="1"/>
              <a:t>tellus</a:t>
            </a:r>
            <a:r>
              <a:rPr lang="en-US"/>
              <a:t> </a:t>
            </a:r>
            <a:r>
              <a:rPr lang="en-US" err="1"/>
              <a:t>placerat</a:t>
            </a:r>
            <a:r>
              <a:rPr lang="en-US"/>
              <a:t>, </a:t>
            </a:r>
            <a:r>
              <a:rPr lang="en-US" err="1"/>
              <a:t>pretium</a:t>
            </a:r>
            <a:r>
              <a:rPr lang="en-US"/>
              <a:t> nisi et, </a:t>
            </a:r>
            <a:r>
              <a:rPr lang="en-US" err="1"/>
              <a:t>tempor</a:t>
            </a:r>
            <a:r>
              <a:rPr lang="en-US"/>
              <a:t> </a:t>
            </a:r>
            <a:r>
              <a:rPr lang="en-US" err="1"/>
              <a:t>elit</a:t>
            </a:r>
            <a:r>
              <a:rPr lang="en-US"/>
              <a:t>. </a:t>
            </a:r>
          </a:p>
          <a:p>
            <a:pPr lvl="0"/>
            <a:endParaRPr lang="en-US"/>
          </a:p>
          <a:p>
            <a:pPr lvl="0"/>
            <a:r>
              <a:rPr lang="en-US" err="1"/>
              <a:t>Phasellus</a:t>
            </a:r>
            <a:r>
              <a:rPr lang="en-US"/>
              <a:t> cursus </a:t>
            </a:r>
            <a:r>
              <a:rPr lang="en-US" err="1"/>
              <a:t>venenatis</a:t>
            </a:r>
            <a:r>
              <a:rPr lang="en-US"/>
              <a:t> </a:t>
            </a:r>
            <a:r>
              <a:rPr lang="en-US" err="1"/>
              <a:t>metus</a:t>
            </a:r>
            <a:r>
              <a:rPr lang="en-US"/>
              <a:t>, </a:t>
            </a:r>
            <a:r>
              <a:rPr lang="en-US" err="1"/>
              <a:t>ut</a:t>
            </a:r>
            <a:r>
              <a:rPr lang="en-US"/>
              <a:t> fermentum </a:t>
            </a:r>
            <a:r>
              <a:rPr lang="en-US" err="1"/>
              <a:t>nunc</a:t>
            </a:r>
            <a:r>
              <a:rPr lang="en-US"/>
              <a:t> semper at. </a:t>
            </a:r>
            <a:r>
              <a:rPr lang="en-US" err="1"/>
              <a:t>Fusce</a:t>
            </a:r>
            <a:r>
              <a:rPr lang="en-US"/>
              <a:t> </a:t>
            </a:r>
            <a:r>
              <a:rPr lang="en-US" err="1"/>
              <a:t>interdum</a:t>
            </a:r>
            <a:r>
              <a:rPr lang="en-US"/>
              <a:t> </a:t>
            </a:r>
            <a:r>
              <a:rPr lang="en-US" err="1"/>
              <a:t>massa</a:t>
            </a:r>
            <a:r>
              <a:rPr lang="en-US"/>
              <a:t> </a:t>
            </a:r>
            <a:r>
              <a:rPr lang="en-US" err="1"/>
              <a:t>nec</a:t>
            </a:r>
            <a:r>
              <a:rPr lang="en-US"/>
              <a:t> lorem </a:t>
            </a:r>
            <a:r>
              <a:rPr lang="en-US" err="1"/>
              <a:t>pellentesque</a:t>
            </a:r>
            <a:r>
              <a:rPr lang="en-US"/>
              <a:t>, id </a:t>
            </a:r>
            <a:r>
              <a:rPr lang="en-US" err="1"/>
              <a:t>molestie</a:t>
            </a:r>
            <a:r>
              <a:rPr lang="en-US"/>
              <a:t> </a:t>
            </a:r>
            <a:r>
              <a:rPr lang="en-US" err="1"/>
              <a:t>purus</a:t>
            </a:r>
            <a:r>
              <a:rPr lang="en-US"/>
              <a:t> </a:t>
            </a:r>
            <a:r>
              <a:rPr lang="en-US" err="1"/>
              <a:t>venenatis</a:t>
            </a:r>
            <a:r>
              <a:rPr lang="en-US"/>
              <a:t>. </a:t>
            </a:r>
            <a:r>
              <a:rPr lang="en-US" err="1"/>
              <a:t>Suspendisse</a:t>
            </a:r>
            <a:r>
              <a:rPr lang="en-US"/>
              <a:t> </a:t>
            </a:r>
            <a:r>
              <a:rPr lang="en-US" err="1"/>
              <a:t>ut</a:t>
            </a:r>
            <a:r>
              <a:rPr lang="en-US"/>
              <a:t> </a:t>
            </a:r>
            <a:r>
              <a:rPr lang="en-US" err="1"/>
              <a:t>mauris</a:t>
            </a:r>
            <a:r>
              <a:rPr lang="en-US"/>
              <a:t> sit </a:t>
            </a:r>
            <a:r>
              <a:rPr lang="en-US" err="1"/>
              <a:t>amet</a:t>
            </a:r>
            <a:r>
              <a:rPr lang="en-US"/>
              <a:t> </a:t>
            </a:r>
            <a:r>
              <a:rPr lang="en-US" err="1"/>
              <a:t>sem</a:t>
            </a:r>
            <a:r>
              <a:rPr lang="en-US"/>
              <a:t> </a:t>
            </a:r>
            <a:r>
              <a:rPr lang="en-US" err="1"/>
              <a:t>aliquet</a:t>
            </a:r>
            <a:r>
              <a:rPr lang="en-US"/>
              <a:t> </a:t>
            </a:r>
            <a:r>
              <a:rPr lang="en-US" err="1"/>
              <a:t>ultrices</a:t>
            </a:r>
            <a:r>
              <a:rPr lang="en-US"/>
              <a:t>. In </a:t>
            </a:r>
            <a:r>
              <a:rPr lang="en-US" err="1"/>
              <a:t>ut</a:t>
            </a:r>
            <a:r>
              <a:rPr lang="en-US"/>
              <a:t> </a:t>
            </a:r>
            <a:r>
              <a:rPr lang="en-US" err="1"/>
              <a:t>nulla</a:t>
            </a:r>
            <a:r>
              <a:rPr lang="en-US"/>
              <a:t> </a:t>
            </a:r>
            <a:r>
              <a:rPr lang="en-US" err="1"/>
              <a:t>nunc</a:t>
            </a:r>
            <a:r>
              <a:rPr lang="en-US"/>
              <a:t>.</a:t>
            </a:r>
          </a:p>
        </p:txBody>
      </p:sp>
      <p:sp>
        <p:nvSpPr>
          <p:cNvPr id="19" name="Text Placeholder 4">
            <a:extLst>
              <a:ext uri="{FF2B5EF4-FFF2-40B4-BE49-F238E27FC236}">
                <a16:creationId xmlns:a16="http://schemas.microsoft.com/office/drawing/2014/main" id="{17C6500F-EF84-5448-9E64-6B5D2DDD6846}"/>
              </a:ext>
            </a:extLst>
          </p:cNvPr>
          <p:cNvSpPr>
            <a:spLocks noGrp="1"/>
          </p:cNvSpPr>
          <p:nvPr>
            <p:ph type="body" sz="quarter" idx="80" hasCustomPrompt="1"/>
          </p:nvPr>
        </p:nvSpPr>
        <p:spPr>
          <a:xfrm>
            <a:off x="3938304" y="2135866"/>
            <a:ext cx="2537453" cy="184666"/>
          </a:xfrm>
          <a:prstGeom prst="rect">
            <a:avLst/>
          </a:prstGeom>
        </p:spPr>
        <p:txBody>
          <a:bodyPr vert="horz" lIns="0" tIns="45720" rIns="91440" bIns="45720" rtlCol="0" anchor="ctr">
            <a:normAutofit/>
          </a:bodyPr>
          <a:lstStyle>
            <a:lvl1pPr>
              <a:defRPr lang="en-US" sz="1200" spc="-56" dirty="0">
                <a:solidFill>
                  <a:schemeClr val="accent1"/>
                </a:solidFill>
              </a:defRPr>
            </a:lvl1pPr>
          </a:lstStyle>
          <a:p>
            <a:pPr marL="0" lvl="0" indent="0">
              <a:lnSpc>
                <a:spcPct val="100000"/>
              </a:lnSpc>
              <a:buNone/>
            </a:pPr>
            <a:r>
              <a:rPr lang="en-US"/>
              <a:t>Lorem ipsum dolor sit </a:t>
            </a:r>
            <a:r>
              <a:rPr lang="en-US" err="1"/>
              <a:t>amet</a:t>
            </a:r>
            <a:endParaRPr lang="en-US"/>
          </a:p>
        </p:txBody>
      </p:sp>
      <p:sp>
        <p:nvSpPr>
          <p:cNvPr id="20" name="Footer Placeholder 2">
            <a:extLst>
              <a:ext uri="{FF2B5EF4-FFF2-40B4-BE49-F238E27FC236}">
                <a16:creationId xmlns:a16="http://schemas.microsoft.com/office/drawing/2014/main" id="{6F18152F-D5D9-D44D-932C-75EF5DCDE720}"/>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6" name="Graphic 25">
            <a:extLst>
              <a:ext uri="{FF2B5EF4-FFF2-40B4-BE49-F238E27FC236}">
                <a16:creationId xmlns:a16="http://schemas.microsoft.com/office/drawing/2014/main" id="{5F04756A-0431-754A-852E-1AB02236D8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7" name="Slide Number Placeholder 3">
            <a:extLst>
              <a:ext uri="{FF2B5EF4-FFF2-40B4-BE49-F238E27FC236}">
                <a16:creationId xmlns:a16="http://schemas.microsoft.com/office/drawing/2014/main" id="{6A25C205-1BB5-F84E-B129-DE529E51DFB3}"/>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9406459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26E0D0C4-5FD4-0642-B295-C0224EA483C1}"/>
              </a:ext>
            </a:extLst>
          </p:cNvPr>
          <p:cNvSpPr>
            <a:spLocks noGrp="1"/>
          </p:cNvSpPr>
          <p:nvPr>
            <p:ph type="body" sz="quarter" idx="77" hasCustomPrompt="1"/>
          </p:nvPr>
        </p:nvSpPr>
        <p:spPr>
          <a:xfrm>
            <a:off x="324001" y="569700"/>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16" name="Text Placeholder 4">
            <a:extLst>
              <a:ext uri="{FF2B5EF4-FFF2-40B4-BE49-F238E27FC236}">
                <a16:creationId xmlns:a16="http://schemas.microsoft.com/office/drawing/2014/main" id="{2F5BDD0F-AFD4-C74B-8245-DADD56631763}"/>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6" name="Picture Placeholder 5">
            <a:extLst>
              <a:ext uri="{FF2B5EF4-FFF2-40B4-BE49-F238E27FC236}">
                <a16:creationId xmlns:a16="http://schemas.microsoft.com/office/drawing/2014/main" id="{E504C483-F4B5-8042-A05A-F8BF1C9925E7}"/>
              </a:ext>
            </a:extLst>
          </p:cNvPr>
          <p:cNvSpPr>
            <a:spLocks noGrp="1"/>
          </p:cNvSpPr>
          <p:nvPr>
            <p:ph type="pic" sz="quarter" idx="82"/>
          </p:nvPr>
        </p:nvSpPr>
        <p:spPr>
          <a:xfrm>
            <a:off x="4866458" y="1493059"/>
            <a:ext cx="3953543" cy="2764616"/>
          </a:xfrm>
          <a:prstGeom prst="rect">
            <a:avLst/>
          </a:prstGeom>
        </p:spPr>
        <p:txBody>
          <a:bodyPr anchor="ctr"/>
          <a:lstStyle>
            <a:lvl1pPr marL="0" indent="0" algn="ctr">
              <a:buNone/>
              <a:defRPr sz="751"/>
            </a:lvl1pPr>
          </a:lstStyle>
          <a:p>
            <a:r>
              <a:rPr lang="en-US"/>
              <a:t>Click icon to add picture</a:t>
            </a:r>
            <a:endParaRPr lang="en-RO"/>
          </a:p>
        </p:txBody>
      </p:sp>
      <p:sp>
        <p:nvSpPr>
          <p:cNvPr id="27" name="Text Placeholder 7">
            <a:extLst>
              <a:ext uri="{FF2B5EF4-FFF2-40B4-BE49-F238E27FC236}">
                <a16:creationId xmlns:a16="http://schemas.microsoft.com/office/drawing/2014/main" id="{5794586D-89E8-464D-8F45-F9364274378E}"/>
              </a:ext>
            </a:extLst>
          </p:cNvPr>
          <p:cNvSpPr>
            <a:spLocks noGrp="1"/>
          </p:cNvSpPr>
          <p:nvPr>
            <p:ph type="body" sz="quarter" idx="83" hasCustomPrompt="1"/>
          </p:nvPr>
        </p:nvSpPr>
        <p:spPr>
          <a:xfrm>
            <a:off x="324002" y="1493060"/>
            <a:ext cx="3953543" cy="2953617"/>
          </a:xfrm>
          <a:prstGeom prst="rect">
            <a:avLst/>
          </a:prstGeom>
        </p:spPr>
        <p:txBody>
          <a:bodyPr lIns="0">
            <a:no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a:p>
            <a:pPr lvl="0"/>
            <a:r>
              <a:rPr lang="en-GB"/>
              <a:t>In </a:t>
            </a:r>
            <a:r>
              <a:rPr lang="en-GB" err="1"/>
              <a:t>consectetur</a:t>
            </a:r>
            <a:r>
              <a:rPr lang="en-GB"/>
              <a:t> eros </a:t>
            </a:r>
            <a:r>
              <a:rPr lang="en-GB" err="1"/>
              <a:t>sed</a:t>
            </a:r>
            <a:r>
              <a:rPr lang="en-GB"/>
              <a:t> </a:t>
            </a:r>
            <a:r>
              <a:rPr lang="en-GB" err="1"/>
              <a:t>purus</a:t>
            </a:r>
            <a:r>
              <a:rPr lang="en-GB"/>
              <a:t> </a:t>
            </a:r>
            <a:r>
              <a:rPr lang="en-GB" err="1"/>
              <a:t>porttitor</a:t>
            </a:r>
            <a:r>
              <a:rPr lang="en-GB"/>
              <a:t> maximus. Ut </a:t>
            </a:r>
            <a:r>
              <a:rPr lang="en-GB" err="1"/>
              <a:t>sed</a:t>
            </a:r>
            <a:r>
              <a:rPr lang="en-GB"/>
              <a:t> </a:t>
            </a:r>
            <a:r>
              <a:rPr lang="en-GB" err="1"/>
              <a:t>sollicitudin</a:t>
            </a:r>
            <a:r>
              <a:rPr lang="en-GB"/>
              <a:t> </a:t>
            </a:r>
            <a:r>
              <a:rPr lang="en-GB" err="1"/>
              <a:t>quam</a:t>
            </a:r>
            <a:r>
              <a:rPr lang="en-GB"/>
              <a:t>. </a:t>
            </a:r>
            <a:r>
              <a:rPr lang="en-GB" err="1"/>
              <a:t>Interdum</a:t>
            </a:r>
            <a:r>
              <a:rPr lang="en-GB"/>
              <a:t> et </a:t>
            </a:r>
            <a:r>
              <a:rPr lang="en-GB" err="1"/>
              <a:t>malesuada</a:t>
            </a:r>
            <a:r>
              <a:rPr lang="en-GB"/>
              <a:t> fames ac ante ipsum </a:t>
            </a:r>
            <a:r>
              <a:rPr lang="en-GB" err="1"/>
              <a:t>primis</a:t>
            </a:r>
            <a:r>
              <a:rPr lang="en-GB"/>
              <a:t> in </a:t>
            </a:r>
            <a:r>
              <a:rPr lang="en-GB" err="1"/>
              <a:t>faucibus</a:t>
            </a:r>
            <a:r>
              <a:rPr lang="en-GB"/>
              <a:t>. Donec vestibulum </a:t>
            </a:r>
            <a:r>
              <a:rPr lang="en-GB" err="1"/>
              <a:t>nulla</a:t>
            </a:r>
            <a:r>
              <a:rPr lang="en-GB"/>
              <a:t> sit </a:t>
            </a:r>
            <a:r>
              <a:rPr lang="en-GB" err="1"/>
              <a:t>amet</a:t>
            </a:r>
            <a:r>
              <a:rPr lang="en-GB"/>
              <a:t> </a:t>
            </a:r>
            <a:r>
              <a:rPr lang="en-GB" err="1"/>
              <a:t>ultrices</a:t>
            </a:r>
            <a:r>
              <a:rPr lang="en-GB"/>
              <a:t> </a:t>
            </a:r>
            <a:r>
              <a:rPr lang="en-GB" err="1"/>
              <a:t>porttitor</a:t>
            </a:r>
            <a:r>
              <a:rPr lang="en-GB"/>
              <a:t>. </a:t>
            </a:r>
            <a:r>
              <a:rPr lang="en-GB" err="1"/>
              <a:t>Fusce</a:t>
            </a:r>
            <a:r>
              <a:rPr lang="en-GB"/>
              <a:t> </a:t>
            </a:r>
            <a:r>
              <a:rPr lang="en-GB" err="1"/>
              <a:t>iaculis</a:t>
            </a:r>
            <a:r>
              <a:rPr lang="en-GB"/>
              <a:t> </a:t>
            </a:r>
            <a:r>
              <a:rPr lang="en-GB" err="1"/>
              <a:t>nisl</a:t>
            </a:r>
            <a:r>
              <a:rPr lang="en-GB"/>
              <a:t> et </a:t>
            </a:r>
            <a:r>
              <a:rPr lang="en-GB" err="1"/>
              <a:t>quam</a:t>
            </a:r>
            <a:r>
              <a:rPr lang="en-GB"/>
              <a:t> </a:t>
            </a:r>
            <a:r>
              <a:rPr lang="en-GB" err="1"/>
              <a:t>bibendum</a:t>
            </a:r>
            <a:r>
              <a:rPr lang="en-GB"/>
              <a:t> </a:t>
            </a:r>
            <a:r>
              <a:rPr lang="en-GB" err="1"/>
              <a:t>luctus</a:t>
            </a:r>
            <a:r>
              <a:rPr lang="en-GB"/>
              <a:t>. </a:t>
            </a:r>
            <a:r>
              <a:rPr lang="en-GB" err="1"/>
              <a:t>Nullam</a:t>
            </a:r>
            <a:r>
              <a:rPr lang="en-GB"/>
              <a:t> </a:t>
            </a:r>
            <a:r>
              <a:rPr lang="en-GB" err="1"/>
              <a:t>urna</a:t>
            </a:r>
            <a:r>
              <a:rPr lang="en-GB"/>
              <a:t> </a:t>
            </a:r>
            <a:r>
              <a:rPr lang="en-GB" err="1"/>
              <a:t>est</a:t>
            </a:r>
            <a:r>
              <a:rPr lang="en-GB"/>
              <a:t>, </a:t>
            </a:r>
            <a:r>
              <a:rPr lang="en-GB" err="1"/>
              <a:t>euismod</a:t>
            </a:r>
            <a:r>
              <a:rPr lang="en-GB"/>
              <a:t> </a:t>
            </a:r>
            <a:r>
              <a:rPr lang="en-GB" err="1"/>
              <a:t>vel</a:t>
            </a:r>
            <a:r>
              <a:rPr lang="en-GB"/>
              <a:t> </a:t>
            </a:r>
            <a:r>
              <a:rPr lang="en-GB" err="1"/>
              <a:t>nulla</a:t>
            </a:r>
            <a:r>
              <a:rPr lang="en-GB"/>
              <a:t> id, </a:t>
            </a:r>
            <a:r>
              <a:rPr lang="en-GB" err="1"/>
              <a:t>dapibus</a:t>
            </a:r>
            <a:r>
              <a:rPr lang="en-GB"/>
              <a:t> </a:t>
            </a:r>
            <a:r>
              <a:rPr lang="en-GB" err="1"/>
              <a:t>consequat</a:t>
            </a:r>
            <a:r>
              <a:rPr lang="en-GB"/>
              <a:t> mi. </a:t>
            </a:r>
            <a:r>
              <a:rPr lang="en-GB" err="1"/>
              <a:t>Praesent</a:t>
            </a:r>
            <a:r>
              <a:rPr lang="en-GB"/>
              <a:t> </a:t>
            </a:r>
            <a:r>
              <a:rPr lang="en-GB" err="1"/>
              <a:t>lobortis</a:t>
            </a:r>
            <a:r>
              <a:rPr lang="en-GB"/>
              <a:t> </a:t>
            </a:r>
            <a:r>
              <a:rPr lang="en-GB" err="1"/>
              <a:t>eleifend</a:t>
            </a:r>
            <a:r>
              <a:rPr lang="en-GB"/>
              <a:t> </a:t>
            </a:r>
            <a:r>
              <a:rPr lang="en-GB" err="1"/>
              <a:t>justo</a:t>
            </a:r>
            <a:r>
              <a:rPr lang="en-GB"/>
              <a:t> </a:t>
            </a:r>
            <a:r>
              <a:rPr lang="en-GB" err="1"/>
              <a:t>eu</a:t>
            </a:r>
            <a:r>
              <a:rPr lang="en-GB"/>
              <a:t> </a:t>
            </a:r>
            <a:r>
              <a:rPr lang="en-GB" err="1"/>
              <a:t>accumsan</a:t>
            </a:r>
            <a:r>
              <a:rPr lang="en-GB"/>
              <a:t>. Nam </a:t>
            </a:r>
            <a:r>
              <a:rPr lang="en-GB" err="1"/>
              <a:t>egestas</a:t>
            </a:r>
            <a:r>
              <a:rPr lang="en-GB"/>
              <a:t>, mi </a:t>
            </a:r>
            <a:r>
              <a:rPr lang="en-GB" err="1"/>
              <a:t>ut</a:t>
            </a:r>
            <a:r>
              <a:rPr lang="en-GB"/>
              <a:t> </a:t>
            </a:r>
            <a:r>
              <a:rPr lang="en-GB" err="1"/>
              <a:t>sollicitudin</a:t>
            </a:r>
            <a:r>
              <a:rPr lang="en-GB"/>
              <a:t> </a:t>
            </a:r>
            <a:r>
              <a:rPr lang="en-GB" err="1"/>
              <a:t>condimentum</a:t>
            </a:r>
            <a:r>
              <a:rPr lang="en-GB"/>
              <a:t>, mi </a:t>
            </a:r>
            <a:r>
              <a:rPr lang="en-GB" err="1"/>
              <a:t>felis</a:t>
            </a:r>
            <a:r>
              <a:rPr lang="en-GB"/>
              <a:t> </a:t>
            </a:r>
            <a:r>
              <a:rPr lang="en-GB" err="1"/>
              <a:t>elementum</a:t>
            </a:r>
            <a:r>
              <a:rPr lang="en-GB"/>
              <a:t> </a:t>
            </a:r>
            <a:r>
              <a:rPr lang="en-GB" err="1"/>
              <a:t>augue</a:t>
            </a:r>
            <a:r>
              <a:rPr lang="en-GB"/>
              <a:t>, non </a:t>
            </a:r>
            <a:r>
              <a:rPr lang="en-GB" err="1"/>
              <a:t>condimentum</a:t>
            </a:r>
            <a:r>
              <a:rPr lang="en-GB"/>
              <a:t> </a:t>
            </a:r>
            <a:r>
              <a:rPr lang="en-GB" err="1"/>
              <a:t>sem</a:t>
            </a:r>
            <a:r>
              <a:rPr lang="en-GB"/>
              <a:t> eros </a:t>
            </a:r>
            <a:r>
              <a:rPr lang="en-GB" err="1"/>
              <a:t>eu</a:t>
            </a:r>
            <a:r>
              <a:rPr lang="en-GB"/>
              <a:t> eros. Nam ex </a:t>
            </a:r>
            <a:r>
              <a:rPr lang="en-GB" err="1"/>
              <a:t>nunc</a:t>
            </a:r>
            <a:r>
              <a:rPr lang="en-GB"/>
              <a:t>, lacinia ac </a:t>
            </a:r>
            <a:r>
              <a:rPr lang="en-GB" err="1"/>
              <a:t>tortor</a:t>
            </a:r>
            <a:r>
              <a:rPr lang="en-GB"/>
              <a:t> at, </a:t>
            </a:r>
            <a:r>
              <a:rPr lang="en-GB" err="1"/>
              <a:t>aliquet</a:t>
            </a:r>
            <a:r>
              <a:rPr lang="en-GB"/>
              <a:t> </a:t>
            </a:r>
            <a:r>
              <a:rPr lang="en-GB" err="1"/>
              <a:t>commodo</a:t>
            </a:r>
            <a:r>
              <a:rPr lang="en-GB"/>
              <a:t> diam. Donec id </a:t>
            </a:r>
            <a:r>
              <a:rPr lang="en-GB" err="1"/>
              <a:t>dignissim</a:t>
            </a:r>
            <a:r>
              <a:rPr lang="en-GB"/>
              <a:t> </a:t>
            </a:r>
            <a:r>
              <a:rPr lang="en-GB" err="1"/>
              <a:t>odio</a:t>
            </a:r>
            <a:r>
              <a:rPr lang="en-GB"/>
              <a:t>. </a:t>
            </a:r>
            <a:r>
              <a:rPr lang="en-GB" err="1"/>
              <a:t>Praesent</a:t>
            </a:r>
            <a:r>
              <a:rPr lang="en-GB"/>
              <a:t> </a:t>
            </a:r>
            <a:r>
              <a:rPr lang="en-GB" err="1"/>
              <a:t>interdum</a:t>
            </a:r>
            <a:r>
              <a:rPr lang="en-GB"/>
              <a:t> </a:t>
            </a:r>
            <a:r>
              <a:rPr lang="en-GB" err="1"/>
              <a:t>nulla</a:t>
            </a:r>
            <a:r>
              <a:rPr lang="en-GB"/>
              <a:t> non convallis convallis.</a:t>
            </a:r>
          </a:p>
        </p:txBody>
      </p:sp>
      <p:sp>
        <p:nvSpPr>
          <p:cNvPr id="29" name="Text Placeholder 7">
            <a:extLst>
              <a:ext uri="{FF2B5EF4-FFF2-40B4-BE49-F238E27FC236}">
                <a16:creationId xmlns:a16="http://schemas.microsoft.com/office/drawing/2014/main" id="{359DC7E0-4367-3F40-B197-0C1E085ED589}"/>
              </a:ext>
            </a:extLst>
          </p:cNvPr>
          <p:cNvSpPr>
            <a:spLocks noGrp="1"/>
          </p:cNvSpPr>
          <p:nvPr>
            <p:ph type="body" sz="quarter" idx="84" hasCustomPrompt="1"/>
          </p:nvPr>
        </p:nvSpPr>
        <p:spPr>
          <a:xfrm>
            <a:off x="324002" y="1169896"/>
            <a:ext cx="3953543" cy="323165"/>
          </a:xfrm>
          <a:prstGeom prst="rect">
            <a:avLst/>
          </a:prstGeom>
        </p:spPr>
        <p:txBody>
          <a:bodyPr lIns="0" anchor="t">
            <a:normAutofit/>
          </a:bodyPr>
          <a:lstStyle>
            <a:lvl1pPr marL="0" indent="0">
              <a:lnSpc>
                <a:spcPct val="100000"/>
              </a:lnSpc>
              <a:buNone/>
              <a:defRPr lang="en-GB" sz="1200" kern="1200" spc="-56" dirty="0">
                <a:solidFill>
                  <a:schemeClr val="accent1"/>
                </a:solidFill>
                <a:latin typeface="+mn-lt"/>
                <a:ea typeface="+mn-ea"/>
                <a:cs typeface="+mn-cs"/>
              </a:defRPr>
            </a:lvl1pPr>
          </a:lstStyle>
          <a:p>
            <a:pPr lvl="0"/>
            <a:r>
              <a:rPr lang="en-GB"/>
              <a:t>Lorem ipsum </a:t>
            </a:r>
            <a:r>
              <a:rPr lang="en-GB" err="1"/>
              <a:t>dolor</a:t>
            </a:r>
            <a:r>
              <a:rPr lang="en-GB"/>
              <a:t> sit </a:t>
            </a:r>
            <a:r>
              <a:rPr lang="en-GB" err="1"/>
              <a:t>amet</a:t>
            </a:r>
            <a:endParaRPr lang="en-GB"/>
          </a:p>
        </p:txBody>
      </p:sp>
      <p:sp>
        <p:nvSpPr>
          <p:cNvPr id="11" name="Date Placeholder 2">
            <a:extLst>
              <a:ext uri="{FF2B5EF4-FFF2-40B4-BE49-F238E27FC236}">
                <a16:creationId xmlns:a16="http://schemas.microsoft.com/office/drawing/2014/main" id="{7839967B-8A19-6643-9A8E-1EE8469018C5}"/>
              </a:ext>
            </a:extLst>
          </p:cNvPr>
          <p:cNvSpPr>
            <a:spLocks noGrp="1"/>
          </p:cNvSpPr>
          <p:nvPr>
            <p:ph type="dt" sz="half" idx="10"/>
          </p:nvPr>
        </p:nvSpPr>
        <p:spPr>
          <a:xfrm>
            <a:off x="324002" y="4972079"/>
            <a:ext cx="494319" cy="92455"/>
          </a:xfrm>
        </p:spPr>
        <p:txBody>
          <a:bodyPr/>
          <a:lstStyle/>
          <a:p>
            <a:fld id="{033F3753-EA07-485B-AA7D-3458D62A1530}" type="datetime1">
              <a:rPr lang="de-DE" smtClean="0"/>
              <a:t>24.01.2024</a:t>
            </a:fld>
            <a:endParaRPr lang="en-US"/>
          </a:p>
        </p:txBody>
      </p:sp>
      <p:sp>
        <p:nvSpPr>
          <p:cNvPr id="14" name="Footer Placeholder 2">
            <a:extLst>
              <a:ext uri="{FF2B5EF4-FFF2-40B4-BE49-F238E27FC236}">
                <a16:creationId xmlns:a16="http://schemas.microsoft.com/office/drawing/2014/main" id="{E713905C-92AD-BF40-8C24-1556C2B361B4}"/>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17" name="Graphic 16">
            <a:extLst>
              <a:ext uri="{FF2B5EF4-FFF2-40B4-BE49-F238E27FC236}">
                <a16:creationId xmlns:a16="http://schemas.microsoft.com/office/drawing/2014/main" id="{CA1A3CAF-83C5-6444-A61A-ED5B1E99794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8" name="Slide Number Placeholder 3">
            <a:extLst>
              <a:ext uri="{FF2B5EF4-FFF2-40B4-BE49-F238E27FC236}">
                <a16:creationId xmlns:a16="http://schemas.microsoft.com/office/drawing/2014/main" id="{7A2E6788-4798-B848-B8A1-9A9561BCD240}"/>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0712190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 Text + image">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26E0D0C4-5FD4-0642-B295-C0224EA483C1}"/>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16" name="Text Placeholder 4">
            <a:extLst>
              <a:ext uri="{FF2B5EF4-FFF2-40B4-BE49-F238E27FC236}">
                <a16:creationId xmlns:a16="http://schemas.microsoft.com/office/drawing/2014/main" id="{2F5BDD0F-AFD4-C74B-8245-DADD56631763}"/>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27" name="Text Placeholder 7">
            <a:extLst>
              <a:ext uri="{FF2B5EF4-FFF2-40B4-BE49-F238E27FC236}">
                <a16:creationId xmlns:a16="http://schemas.microsoft.com/office/drawing/2014/main" id="{5794586D-89E8-464D-8F45-F9364274378E}"/>
              </a:ext>
            </a:extLst>
          </p:cNvPr>
          <p:cNvSpPr>
            <a:spLocks noGrp="1"/>
          </p:cNvSpPr>
          <p:nvPr>
            <p:ph type="body" sz="quarter" idx="83" hasCustomPrompt="1"/>
          </p:nvPr>
        </p:nvSpPr>
        <p:spPr>
          <a:xfrm>
            <a:off x="324002" y="2813156"/>
            <a:ext cx="2618399" cy="1529762"/>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29" name="Text Placeholder 7">
            <a:extLst>
              <a:ext uri="{FF2B5EF4-FFF2-40B4-BE49-F238E27FC236}">
                <a16:creationId xmlns:a16="http://schemas.microsoft.com/office/drawing/2014/main" id="{359DC7E0-4367-3F40-B197-0C1E085ED589}"/>
              </a:ext>
            </a:extLst>
          </p:cNvPr>
          <p:cNvSpPr>
            <a:spLocks noGrp="1"/>
          </p:cNvSpPr>
          <p:nvPr>
            <p:ph type="body" sz="quarter" idx="84" hasCustomPrompt="1"/>
          </p:nvPr>
        </p:nvSpPr>
        <p:spPr>
          <a:xfrm>
            <a:off x="324001" y="2444477"/>
            <a:ext cx="2618393" cy="368679"/>
          </a:xfrm>
          <a:prstGeom prst="rect">
            <a:avLst/>
          </a:prstGeom>
        </p:spPr>
        <p:txBody>
          <a:bodyPr lIns="0" anchor="ctr">
            <a:normAutofit/>
          </a:bodyPr>
          <a:lstStyle>
            <a:lvl1pPr marL="0" indent="0">
              <a:lnSpc>
                <a:spcPct val="100000"/>
              </a:lnSpc>
              <a:buNone/>
              <a:defRPr lang="en-GB" sz="1200" kern="1200" spc="-56" dirty="0">
                <a:solidFill>
                  <a:schemeClr val="accent1"/>
                </a:solidFill>
                <a:latin typeface="+mn-lt"/>
                <a:ea typeface="+mn-ea"/>
                <a:cs typeface="+mn-cs"/>
              </a:defRPr>
            </a:lvl1pPr>
          </a:lstStyle>
          <a:p>
            <a:pPr lvl="0"/>
            <a:r>
              <a:rPr lang="en-GB"/>
              <a:t>Lorem ipsum </a:t>
            </a:r>
            <a:r>
              <a:rPr lang="en-GB" err="1"/>
              <a:t>dolor</a:t>
            </a:r>
            <a:r>
              <a:rPr lang="en-GB"/>
              <a:t> sit </a:t>
            </a:r>
            <a:r>
              <a:rPr lang="en-GB" err="1"/>
              <a:t>amet</a:t>
            </a:r>
            <a:endParaRPr lang="en-GB"/>
          </a:p>
        </p:txBody>
      </p:sp>
      <p:sp>
        <p:nvSpPr>
          <p:cNvPr id="20" name="Picture Placeholder 5">
            <a:extLst>
              <a:ext uri="{FF2B5EF4-FFF2-40B4-BE49-F238E27FC236}">
                <a16:creationId xmlns:a16="http://schemas.microsoft.com/office/drawing/2014/main" id="{712C7B4F-2172-704D-B05E-4B85FC43C1D1}"/>
              </a:ext>
            </a:extLst>
          </p:cNvPr>
          <p:cNvSpPr>
            <a:spLocks noGrp="1"/>
          </p:cNvSpPr>
          <p:nvPr>
            <p:ph type="pic" sz="quarter" idx="82"/>
          </p:nvPr>
        </p:nvSpPr>
        <p:spPr>
          <a:xfrm>
            <a:off x="324002" y="1019645"/>
            <a:ext cx="2618399" cy="1310700"/>
          </a:xfrm>
          <a:prstGeom prst="rect">
            <a:avLst/>
          </a:prstGeom>
        </p:spPr>
        <p:txBody>
          <a:bodyPr anchor="ctr"/>
          <a:lstStyle>
            <a:lvl1pPr marL="0" indent="0" algn="ctr">
              <a:buNone/>
              <a:defRPr sz="751"/>
            </a:lvl1pPr>
          </a:lstStyle>
          <a:p>
            <a:r>
              <a:rPr lang="en-US"/>
              <a:t>Click icon to add picture</a:t>
            </a:r>
            <a:endParaRPr lang="en-RO"/>
          </a:p>
        </p:txBody>
      </p:sp>
      <p:sp>
        <p:nvSpPr>
          <p:cNvPr id="19" name="Date Placeholder 2">
            <a:extLst>
              <a:ext uri="{FF2B5EF4-FFF2-40B4-BE49-F238E27FC236}">
                <a16:creationId xmlns:a16="http://schemas.microsoft.com/office/drawing/2014/main" id="{B5940F78-D3AF-3745-B58C-6D0D7E1258C3}"/>
              </a:ext>
            </a:extLst>
          </p:cNvPr>
          <p:cNvSpPr>
            <a:spLocks noGrp="1"/>
          </p:cNvSpPr>
          <p:nvPr>
            <p:ph type="dt" sz="half" idx="10"/>
          </p:nvPr>
        </p:nvSpPr>
        <p:spPr>
          <a:xfrm>
            <a:off x="324002" y="4972079"/>
            <a:ext cx="494319" cy="92455"/>
          </a:xfrm>
        </p:spPr>
        <p:txBody>
          <a:bodyPr/>
          <a:lstStyle/>
          <a:p>
            <a:fld id="{D2E69145-21D3-4DC8-B36B-EAB523579271}" type="datetime1">
              <a:rPr lang="de-DE" smtClean="0"/>
              <a:t>24.01.2024</a:t>
            </a:fld>
            <a:endParaRPr lang="en-US"/>
          </a:p>
        </p:txBody>
      </p:sp>
      <p:sp>
        <p:nvSpPr>
          <p:cNvPr id="35" name="Text Placeholder 7">
            <a:extLst>
              <a:ext uri="{FF2B5EF4-FFF2-40B4-BE49-F238E27FC236}">
                <a16:creationId xmlns:a16="http://schemas.microsoft.com/office/drawing/2014/main" id="{2BF8EFF2-6BFD-1C48-BDE4-E4ED975C901B}"/>
              </a:ext>
            </a:extLst>
          </p:cNvPr>
          <p:cNvSpPr>
            <a:spLocks noGrp="1"/>
          </p:cNvSpPr>
          <p:nvPr>
            <p:ph type="body" sz="quarter" idx="85" hasCustomPrompt="1"/>
          </p:nvPr>
        </p:nvSpPr>
        <p:spPr>
          <a:xfrm>
            <a:off x="3262798" y="2813156"/>
            <a:ext cx="2618399" cy="1529762"/>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36" name="Text Placeholder 7">
            <a:extLst>
              <a:ext uri="{FF2B5EF4-FFF2-40B4-BE49-F238E27FC236}">
                <a16:creationId xmlns:a16="http://schemas.microsoft.com/office/drawing/2014/main" id="{2604D6BD-B277-874C-A969-AAF9DD41F862}"/>
              </a:ext>
            </a:extLst>
          </p:cNvPr>
          <p:cNvSpPr>
            <a:spLocks noGrp="1"/>
          </p:cNvSpPr>
          <p:nvPr>
            <p:ph type="body" sz="quarter" idx="86" hasCustomPrompt="1"/>
          </p:nvPr>
        </p:nvSpPr>
        <p:spPr>
          <a:xfrm>
            <a:off x="3262801" y="2444477"/>
            <a:ext cx="2618393" cy="368679"/>
          </a:xfrm>
          <a:prstGeom prst="rect">
            <a:avLst/>
          </a:prstGeom>
        </p:spPr>
        <p:txBody>
          <a:bodyPr vert="horz" lIns="0" tIns="45720" rIns="91440" bIns="45720" rtlCol="0" anchor="ctr">
            <a:normAutofit/>
          </a:bodyPr>
          <a:lstStyle>
            <a:lvl1pPr>
              <a:defRPr lang="en-GB" sz="1200" spc="-56" dirty="0">
                <a:solidFill>
                  <a:schemeClr val="accent1"/>
                </a:solidFill>
              </a:defRPr>
            </a:lvl1pPr>
          </a:lstStyle>
          <a:p>
            <a:pPr marL="0" lvl="0" indent="0">
              <a:lnSpc>
                <a:spcPct val="100000"/>
              </a:lnSpc>
              <a:buNone/>
            </a:pPr>
            <a:r>
              <a:rPr lang="en-GB"/>
              <a:t>Lorem ipsum </a:t>
            </a:r>
            <a:r>
              <a:rPr lang="en-GB" err="1"/>
              <a:t>dolor</a:t>
            </a:r>
            <a:r>
              <a:rPr lang="en-GB"/>
              <a:t> sit </a:t>
            </a:r>
            <a:r>
              <a:rPr lang="en-GB" err="1"/>
              <a:t>amet</a:t>
            </a:r>
            <a:endParaRPr lang="en-GB"/>
          </a:p>
        </p:txBody>
      </p:sp>
      <p:sp>
        <p:nvSpPr>
          <p:cNvPr id="37" name="Picture Placeholder 5">
            <a:extLst>
              <a:ext uri="{FF2B5EF4-FFF2-40B4-BE49-F238E27FC236}">
                <a16:creationId xmlns:a16="http://schemas.microsoft.com/office/drawing/2014/main" id="{29987F5F-4178-5C4E-9988-F34BF5926CEB}"/>
              </a:ext>
            </a:extLst>
          </p:cNvPr>
          <p:cNvSpPr>
            <a:spLocks noGrp="1"/>
          </p:cNvSpPr>
          <p:nvPr>
            <p:ph type="pic" sz="quarter" idx="87"/>
          </p:nvPr>
        </p:nvSpPr>
        <p:spPr>
          <a:xfrm>
            <a:off x="3262798" y="1019645"/>
            <a:ext cx="2618399" cy="1310700"/>
          </a:xfrm>
          <a:prstGeom prst="rect">
            <a:avLst/>
          </a:prstGeom>
        </p:spPr>
        <p:txBody>
          <a:bodyPr anchor="ctr"/>
          <a:lstStyle>
            <a:lvl1pPr marL="0" indent="0" algn="ctr">
              <a:buNone/>
              <a:defRPr sz="751"/>
            </a:lvl1pPr>
          </a:lstStyle>
          <a:p>
            <a:r>
              <a:rPr lang="en-US"/>
              <a:t>Click icon to add picture</a:t>
            </a:r>
            <a:endParaRPr lang="en-RO"/>
          </a:p>
        </p:txBody>
      </p:sp>
      <p:sp>
        <p:nvSpPr>
          <p:cNvPr id="38" name="Text Placeholder 7">
            <a:extLst>
              <a:ext uri="{FF2B5EF4-FFF2-40B4-BE49-F238E27FC236}">
                <a16:creationId xmlns:a16="http://schemas.microsoft.com/office/drawing/2014/main" id="{7AA5E123-E123-BC42-ACDD-B746FFC9E391}"/>
              </a:ext>
            </a:extLst>
          </p:cNvPr>
          <p:cNvSpPr>
            <a:spLocks noGrp="1"/>
          </p:cNvSpPr>
          <p:nvPr>
            <p:ph type="body" sz="quarter" idx="88" hasCustomPrompt="1"/>
          </p:nvPr>
        </p:nvSpPr>
        <p:spPr>
          <a:xfrm>
            <a:off x="6201753" y="2813156"/>
            <a:ext cx="2618399" cy="1529762"/>
          </a:xfrm>
          <a:prstGeom prst="rect">
            <a:avLst/>
          </a:prstGeom>
        </p:spPr>
        <p:txBody>
          <a:bodyPr lIns="0">
            <a:norm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p:txBody>
      </p:sp>
      <p:sp>
        <p:nvSpPr>
          <p:cNvPr id="39" name="Text Placeholder 7">
            <a:extLst>
              <a:ext uri="{FF2B5EF4-FFF2-40B4-BE49-F238E27FC236}">
                <a16:creationId xmlns:a16="http://schemas.microsoft.com/office/drawing/2014/main" id="{D40B5A65-6598-5D4F-9EE0-75AD3276F1FC}"/>
              </a:ext>
            </a:extLst>
          </p:cNvPr>
          <p:cNvSpPr>
            <a:spLocks noGrp="1"/>
          </p:cNvSpPr>
          <p:nvPr>
            <p:ph type="body" sz="quarter" idx="89" hasCustomPrompt="1"/>
          </p:nvPr>
        </p:nvSpPr>
        <p:spPr>
          <a:xfrm>
            <a:off x="6201753" y="2444477"/>
            <a:ext cx="2618393" cy="368679"/>
          </a:xfrm>
          <a:prstGeom prst="rect">
            <a:avLst/>
          </a:prstGeom>
        </p:spPr>
        <p:txBody>
          <a:bodyPr vert="horz" lIns="0" tIns="45720" rIns="91440" bIns="45720" rtlCol="0" anchor="ctr">
            <a:normAutofit/>
          </a:bodyPr>
          <a:lstStyle>
            <a:lvl1pPr>
              <a:defRPr lang="en-GB" sz="1200" spc="-56" dirty="0">
                <a:solidFill>
                  <a:schemeClr val="accent1"/>
                </a:solidFill>
              </a:defRPr>
            </a:lvl1pPr>
          </a:lstStyle>
          <a:p>
            <a:pPr marL="0" lvl="0" indent="0">
              <a:lnSpc>
                <a:spcPct val="100000"/>
              </a:lnSpc>
              <a:buNone/>
            </a:pPr>
            <a:r>
              <a:rPr lang="en-GB"/>
              <a:t>Lorem ipsum </a:t>
            </a:r>
            <a:r>
              <a:rPr lang="en-GB" err="1"/>
              <a:t>dolor</a:t>
            </a:r>
            <a:r>
              <a:rPr lang="en-GB"/>
              <a:t> sit </a:t>
            </a:r>
            <a:r>
              <a:rPr lang="en-GB" err="1"/>
              <a:t>amet</a:t>
            </a:r>
            <a:endParaRPr lang="en-GB"/>
          </a:p>
        </p:txBody>
      </p:sp>
      <p:sp>
        <p:nvSpPr>
          <p:cNvPr id="40" name="Picture Placeholder 5">
            <a:extLst>
              <a:ext uri="{FF2B5EF4-FFF2-40B4-BE49-F238E27FC236}">
                <a16:creationId xmlns:a16="http://schemas.microsoft.com/office/drawing/2014/main" id="{E20BB8DA-EF5B-DA44-84A7-2CC9E076A4D8}"/>
              </a:ext>
            </a:extLst>
          </p:cNvPr>
          <p:cNvSpPr>
            <a:spLocks noGrp="1"/>
          </p:cNvSpPr>
          <p:nvPr>
            <p:ph type="pic" sz="quarter" idx="90"/>
          </p:nvPr>
        </p:nvSpPr>
        <p:spPr>
          <a:xfrm>
            <a:off x="6201753" y="1019645"/>
            <a:ext cx="2618399" cy="1310700"/>
          </a:xfrm>
          <a:prstGeom prst="rect">
            <a:avLst/>
          </a:prstGeom>
        </p:spPr>
        <p:txBody>
          <a:bodyPr anchor="ctr"/>
          <a:lstStyle>
            <a:lvl1pPr marL="0" indent="0" algn="ctr">
              <a:buNone/>
              <a:defRPr sz="751"/>
            </a:lvl1pPr>
          </a:lstStyle>
          <a:p>
            <a:r>
              <a:rPr lang="en-US"/>
              <a:t>Click icon to add picture</a:t>
            </a:r>
            <a:endParaRPr lang="en-RO"/>
          </a:p>
        </p:txBody>
      </p:sp>
      <p:sp>
        <p:nvSpPr>
          <p:cNvPr id="17" name="Footer Placeholder 2">
            <a:extLst>
              <a:ext uri="{FF2B5EF4-FFF2-40B4-BE49-F238E27FC236}">
                <a16:creationId xmlns:a16="http://schemas.microsoft.com/office/drawing/2014/main" id="{CFC78932-FC93-1C44-8F58-24B318573B6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18" name="Graphic 17">
            <a:extLst>
              <a:ext uri="{FF2B5EF4-FFF2-40B4-BE49-F238E27FC236}">
                <a16:creationId xmlns:a16="http://schemas.microsoft.com/office/drawing/2014/main" id="{844B56D9-3E96-444F-BC13-3129408269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4" name="Slide Number Placeholder 3">
            <a:extLst>
              <a:ext uri="{FF2B5EF4-FFF2-40B4-BE49-F238E27FC236}">
                <a16:creationId xmlns:a16="http://schemas.microsoft.com/office/drawing/2014/main" id="{3681AA85-ACA7-6149-A30F-5B664DDE1BFF}"/>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0996837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xt 2 column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26E0D0C4-5FD4-0642-B295-C0224EA483C1}"/>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16" name="Text Placeholder 4">
            <a:extLst>
              <a:ext uri="{FF2B5EF4-FFF2-40B4-BE49-F238E27FC236}">
                <a16:creationId xmlns:a16="http://schemas.microsoft.com/office/drawing/2014/main" id="{2F5BDD0F-AFD4-C74B-8245-DADD56631763}"/>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27" name="Text Placeholder 7">
            <a:extLst>
              <a:ext uri="{FF2B5EF4-FFF2-40B4-BE49-F238E27FC236}">
                <a16:creationId xmlns:a16="http://schemas.microsoft.com/office/drawing/2014/main" id="{5794586D-89E8-464D-8F45-F9364274378E}"/>
              </a:ext>
            </a:extLst>
          </p:cNvPr>
          <p:cNvSpPr>
            <a:spLocks noGrp="1"/>
          </p:cNvSpPr>
          <p:nvPr>
            <p:ph type="body" sz="quarter" idx="83" hasCustomPrompt="1"/>
          </p:nvPr>
        </p:nvSpPr>
        <p:spPr>
          <a:xfrm>
            <a:off x="324000" y="1493060"/>
            <a:ext cx="4056600" cy="3161443"/>
          </a:xfrm>
          <a:prstGeom prst="rect">
            <a:avLst/>
          </a:prstGeom>
        </p:spPr>
        <p:txBody>
          <a:bodyPr lIns="0">
            <a:no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a:p>
            <a:pPr lvl="0"/>
            <a:r>
              <a:rPr lang="en-GB"/>
              <a:t>In </a:t>
            </a:r>
            <a:r>
              <a:rPr lang="en-GB" err="1"/>
              <a:t>consectetur</a:t>
            </a:r>
            <a:r>
              <a:rPr lang="en-GB"/>
              <a:t> eros </a:t>
            </a:r>
            <a:r>
              <a:rPr lang="en-GB" err="1"/>
              <a:t>sed</a:t>
            </a:r>
            <a:r>
              <a:rPr lang="en-GB"/>
              <a:t> </a:t>
            </a:r>
            <a:r>
              <a:rPr lang="en-GB" err="1"/>
              <a:t>purus</a:t>
            </a:r>
            <a:r>
              <a:rPr lang="en-GB"/>
              <a:t> </a:t>
            </a:r>
            <a:r>
              <a:rPr lang="en-GB" err="1"/>
              <a:t>porttitor</a:t>
            </a:r>
            <a:r>
              <a:rPr lang="en-GB"/>
              <a:t> maximus. Ut </a:t>
            </a:r>
            <a:r>
              <a:rPr lang="en-GB" err="1"/>
              <a:t>sed</a:t>
            </a:r>
            <a:r>
              <a:rPr lang="en-GB"/>
              <a:t> </a:t>
            </a:r>
            <a:r>
              <a:rPr lang="en-GB" err="1"/>
              <a:t>sollicitudin</a:t>
            </a:r>
            <a:r>
              <a:rPr lang="en-GB"/>
              <a:t> </a:t>
            </a:r>
            <a:r>
              <a:rPr lang="en-GB" err="1"/>
              <a:t>quam</a:t>
            </a:r>
            <a:r>
              <a:rPr lang="en-GB"/>
              <a:t>. </a:t>
            </a:r>
            <a:r>
              <a:rPr lang="en-GB" err="1"/>
              <a:t>Interdum</a:t>
            </a:r>
            <a:r>
              <a:rPr lang="en-GB"/>
              <a:t> et </a:t>
            </a:r>
            <a:r>
              <a:rPr lang="en-GB" err="1"/>
              <a:t>malesuada</a:t>
            </a:r>
            <a:r>
              <a:rPr lang="en-GB"/>
              <a:t> fames ac ante ipsum </a:t>
            </a:r>
            <a:r>
              <a:rPr lang="en-GB" err="1"/>
              <a:t>primis</a:t>
            </a:r>
            <a:r>
              <a:rPr lang="en-GB"/>
              <a:t> in </a:t>
            </a:r>
            <a:r>
              <a:rPr lang="en-GB" err="1"/>
              <a:t>faucibus</a:t>
            </a:r>
            <a:r>
              <a:rPr lang="en-GB"/>
              <a:t>. Donec vestibulum </a:t>
            </a:r>
            <a:r>
              <a:rPr lang="en-GB" err="1"/>
              <a:t>nulla</a:t>
            </a:r>
            <a:r>
              <a:rPr lang="en-GB"/>
              <a:t> sit </a:t>
            </a:r>
            <a:r>
              <a:rPr lang="en-GB" err="1"/>
              <a:t>amet</a:t>
            </a:r>
            <a:r>
              <a:rPr lang="en-GB"/>
              <a:t> </a:t>
            </a:r>
            <a:r>
              <a:rPr lang="en-GB" err="1"/>
              <a:t>ultrices</a:t>
            </a:r>
            <a:r>
              <a:rPr lang="en-GB"/>
              <a:t> </a:t>
            </a:r>
            <a:r>
              <a:rPr lang="en-GB" err="1"/>
              <a:t>porttitor</a:t>
            </a:r>
            <a:r>
              <a:rPr lang="en-GB"/>
              <a:t>. </a:t>
            </a:r>
            <a:r>
              <a:rPr lang="en-GB" err="1"/>
              <a:t>Fusce</a:t>
            </a:r>
            <a:r>
              <a:rPr lang="en-GB"/>
              <a:t> </a:t>
            </a:r>
            <a:r>
              <a:rPr lang="en-GB" err="1"/>
              <a:t>iaculis</a:t>
            </a:r>
            <a:r>
              <a:rPr lang="en-GB"/>
              <a:t> </a:t>
            </a:r>
            <a:r>
              <a:rPr lang="en-GB" err="1"/>
              <a:t>nisl</a:t>
            </a:r>
            <a:r>
              <a:rPr lang="en-GB"/>
              <a:t> et </a:t>
            </a:r>
            <a:r>
              <a:rPr lang="en-GB" err="1"/>
              <a:t>quam</a:t>
            </a:r>
            <a:r>
              <a:rPr lang="en-GB"/>
              <a:t> </a:t>
            </a:r>
            <a:r>
              <a:rPr lang="en-GB" err="1"/>
              <a:t>bibendum</a:t>
            </a:r>
            <a:r>
              <a:rPr lang="en-GB"/>
              <a:t> </a:t>
            </a:r>
            <a:r>
              <a:rPr lang="en-GB" err="1"/>
              <a:t>luctus</a:t>
            </a:r>
            <a:r>
              <a:rPr lang="en-GB"/>
              <a:t>. </a:t>
            </a:r>
            <a:r>
              <a:rPr lang="en-GB" err="1"/>
              <a:t>Nullam</a:t>
            </a:r>
            <a:r>
              <a:rPr lang="en-GB"/>
              <a:t> </a:t>
            </a:r>
            <a:r>
              <a:rPr lang="en-GB" err="1"/>
              <a:t>urna</a:t>
            </a:r>
            <a:r>
              <a:rPr lang="en-GB"/>
              <a:t> </a:t>
            </a:r>
            <a:r>
              <a:rPr lang="en-GB" err="1"/>
              <a:t>est</a:t>
            </a:r>
            <a:r>
              <a:rPr lang="en-GB"/>
              <a:t>, </a:t>
            </a:r>
            <a:r>
              <a:rPr lang="en-GB" err="1"/>
              <a:t>euismod</a:t>
            </a:r>
            <a:r>
              <a:rPr lang="en-GB"/>
              <a:t> </a:t>
            </a:r>
            <a:r>
              <a:rPr lang="en-GB" err="1"/>
              <a:t>vel</a:t>
            </a:r>
            <a:r>
              <a:rPr lang="en-GB"/>
              <a:t> </a:t>
            </a:r>
            <a:r>
              <a:rPr lang="en-GB" err="1"/>
              <a:t>nulla</a:t>
            </a:r>
            <a:r>
              <a:rPr lang="en-GB"/>
              <a:t> id, </a:t>
            </a:r>
            <a:r>
              <a:rPr lang="en-GB" err="1"/>
              <a:t>dapibus</a:t>
            </a:r>
            <a:r>
              <a:rPr lang="en-GB"/>
              <a:t> </a:t>
            </a:r>
            <a:r>
              <a:rPr lang="en-GB" err="1"/>
              <a:t>consequat</a:t>
            </a:r>
            <a:r>
              <a:rPr lang="en-GB"/>
              <a:t> mi. </a:t>
            </a:r>
            <a:r>
              <a:rPr lang="en-GB" err="1"/>
              <a:t>Praesent</a:t>
            </a:r>
            <a:r>
              <a:rPr lang="en-GB"/>
              <a:t> </a:t>
            </a:r>
            <a:r>
              <a:rPr lang="en-GB" err="1"/>
              <a:t>lobortis</a:t>
            </a:r>
            <a:r>
              <a:rPr lang="en-GB"/>
              <a:t> </a:t>
            </a:r>
            <a:r>
              <a:rPr lang="en-GB" err="1"/>
              <a:t>eleifend</a:t>
            </a:r>
            <a:r>
              <a:rPr lang="en-GB"/>
              <a:t> </a:t>
            </a:r>
            <a:r>
              <a:rPr lang="en-GB" err="1"/>
              <a:t>justo</a:t>
            </a:r>
            <a:r>
              <a:rPr lang="en-GB"/>
              <a:t> </a:t>
            </a:r>
            <a:r>
              <a:rPr lang="en-GB" err="1"/>
              <a:t>eu</a:t>
            </a:r>
            <a:r>
              <a:rPr lang="en-GB"/>
              <a:t> </a:t>
            </a:r>
            <a:r>
              <a:rPr lang="en-GB" err="1"/>
              <a:t>accumsan</a:t>
            </a:r>
            <a:r>
              <a:rPr lang="en-GB"/>
              <a:t>. Nam </a:t>
            </a:r>
            <a:r>
              <a:rPr lang="en-GB" err="1"/>
              <a:t>egestas</a:t>
            </a:r>
            <a:r>
              <a:rPr lang="en-GB"/>
              <a:t>, mi </a:t>
            </a:r>
            <a:r>
              <a:rPr lang="en-GB" err="1"/>
              <a:t>ut</a:t>
            </a:r>
            <a:r>
              <a:rPr lang="en-GB"/>
              <a:t> </a:t>
            </a:r>
            <a:r>
              <a:rPr lang="en-GB" err="1"/>
              <a:t>sollicitudin</a:t>
            </a:r>
            <a:r>
              <a:rPr lang="en-GB"/>
              <a:t> </a:t>
            </a:r>
            <a:r>
              <a:rPr lang="en-GB" err="1"/>
              <a:t>condimentum</a:t>
            </a:r>
            <a:r>
              <a:rPr lang="en-GB"/>
              <a:t>, mi </a:t>
            </a:r>
            <a:r>
              <a:rPr lang="en-GB" err="1"/>
              <a:t>felis</a:t>
            </a:r>
            <a:r>
              <a:rPr lang="en-GB"/>
              <a:t> </a:t>
            </a:r>
            <a:r>
              <a:rPr lang="en-GB" err="1"/>
              <a:t>elementum</a:t>
            </a:r>
            <a:r>
              <a:rPr lang="en-GB"/>
              <a:t> </a:t>
            </a:r>
            <a:r>
              <a:rPr lang="en-GB" err="1"/>
              <a:t>augue</a:t>
            </a:r>
            <a:r>
              <a:rPr lang="en-GB"/>
              <a:t>, non </a:t>
            </a:r>
            <a:r>
              <a:rPr lang="en-GB" err="1"/>
              <a:t>condimentum</a:t>
            </a:r>
            <a:r>
              <a:rPr lang="en-GB"/>
              <a:t> </a:t>
            </a:r>
            <a:r>
              <a:rPr lang="en-GB" err="1"/>
              <a:t>sem</a:t>
            </a:r>
            <a:r>
              <a:rPr lang="en-GB"/>
              <a:t> eros </a:t>
            </a:r>
            <a:r>
              <a:rPr lang="en-GB" err="1"/>
              <a:t>eu</a:t>
            </a:r>
            <a:r>
              <a:rPr lang="en-GB"/>
              <a:t> eros. Nam ex </a:t>
            </a:r>
            <a:r>
              <a:rPr lang="en-GB" err="1"/>
              <a:t>nunc</a:t>
            </a:r>
            <a:r>
              <a:rPr lang="en-GB"/>
              <a:t>, lacinia ac </a:t>
            </a:r>
            <a:r>
              <a:rPr lang="en-GB" err="1"/>
              <a:t>tortor</a:t>
            </a:r>
            <a:r>
              <a:rPr lang="en-GB"/>
              <a:t> at, </a:t>
            </a:r>
            <a:r>
              <a:rPr lang="en-GB" err="1"/>
              <a:t>aliquet</a:t>
            </a:r>
            <a:r>
              <a:rPr lang="en-GB"/>
              <a:t> </a:t>
            </a:r>
            <a:r>
              <a:rPr lang="en-GB" err="1"/>
              <a:t>commodo</a:t>
            </a:r>
            <a:r>
              <a:rPr lang="en-GB"/>
              <a:t> diam. Donec id </a:t>
            </a:r>
            <a:r>
              <a:rPr lang="en-GB" err="1"/>
              <a:t>dignissim</a:t>
            </a:r>
            <a:r>
              <a:rPr lang="en-GB"/>
              <a:t> </a:t>
            </a:r>
            <a:r>
              <a:rPr lang="en-GB" err="1"/>
              <a:t>odio</a:t>
            </a:r>
            <a:r>
              <a:rPr lang="en-GB"/>
              <a:t>. </a:t>
            </a:r>
            <a:r>
              <a:rPr lang="en-GB" err="1"/>
              <a:t>Praesent</a:t>
            </a:r>
            <a:r>
              <a:rPr lang="en-GB"/>
              <a:t> </a:t>
            </a:r>
            <a:r>
              <a:rPr lang="en-GB" err="1"/>
              <a:t>interdum</a:t>
            </a:r>
            <a:r>
              <a:rPr lang="en-GB"/>
              <a:t> </a:t>
            </a:r>
            <a:r>
              <a:rPr lang="en-GB" err="1"/>
              <a:t>nulla</a:t>
            </a:r>
            <a:r>
              <a:rPr lang="en-GB"/>
              <a:t> non convallis convallis.</a:t>
            </a:r>
          </a:p>
        </p:txBody>
      </p:sp>
      <p:sp>
        <p:nvSpPr>
          <p:cNvPr id="29" name="Text Placeholder 7">
            <a:extLst>
              <a:ext uri="{FF2B5EF4-FFF2-40B4-BE49-F238E27FC236}">
                <a16:creationId xmlns:a16="http://schemas.microsoft.com/office/drawing/2014/main" id="{359DC7E0-4367-3F40-B197-0C1E085ED589}"/>
              </a:ext>
            </a:extLst>
          </p:cNvPr>
          <p:cNvSpPr>
            <a:spLocks noGrp="1"/>
          </p:cNvSpPr>
          <p:nvPr>
            <p:ph type="body" sz="quarter" idx="84" hasCustomPrompt="1"/>
          </p:nvPr>
        </p:nvSpPr>
        <p:spPr>
          <a:xfrm>
            <a:off x="324000" y="1169896"/>
            <a:ext cx="4056600" cy="323165"/>
          </a:xfrm>
          <a:prstGeom prst="rect">
            <a:avLst/>
          </a:prstGeom>
        </p:spPr>
        <p:txBody>
          <a:bodyPr lIns="0" anchor="t">
            <a:normAutofit/>
          </a:bodyPr>
          <a:lstStyle>
            <a:lvl1pPr marL="0" indent="0">
              <a:lnSpc>
                <a:spcPct val="100000"/>
              </a:lnSpc>
              <a:buNone/>
              <a:defRPr lang="en-GB" sz="1200" kern="1200" spc="-56" dirty="0">
                <a:solidFill>
                  <a:schemeClr val="accent1"/>
                </a:solidFill>
                <a:latin typeface="+mn-lt"/>
                <a:ea typeface="+mn-ea"/>
                <a:cs typeface="+mn-cs"/>
              </a:defRPr>
            </a:lvl1pPr>
          </a:lstStyle>
          <a:p>
            <a:pPr lvl="0"/>
            <a:r>
              <a:rPr lang="en-GB"/>
              <a:t>Lorem ipsum </a:t>
            </a:r>
            <a:r>
              <a:rPr lang="en-GB" err="1"/>
              <a:t>dolor</a:t>
            </a:r>
            <a:r>
              <a:rPr lang="en-GB"/>
              <a:t> sit </a:t>
            </a:r>
            <a:r>
              <a:rPr lang="en-GB" err="1"/>
              <a:t>amet</a:t>
            </a:r>
            <a:endParaRPr lang="en-GB"/>
          </a:p>
        </p:txBody>
      </p:sp>
      <p:sp>
        <p:nvSpPr>
          <p:cNvPr id="11" name="Text Placeholder 7">
            <a:extLst>
              <a:ext uri="{FF2B5EF4-FFF2-40B4-BE49-F238E27FC236}">
                <a16:creationId xmlns:a16="http://schemas.microsoft.com/office/drawing/2014/main" id="{64ABB740-601E-494C-9B36-4DDE80A8311E}"/>
              </a:ext>
            </a:extLst>
          </p:cNvPr>
          <p:cNvSpPr>
            <a:spLocks noGrp="1"/>
          </p:cNvSpPr>
          <p:nvPr>
            <p:ph type="body" sz="quarter" idx="85" hasCustomPrompt="1"/>
          </p:nvPr>
        </p:nvSpPr>
        <p:spPr>
          <a:xfrm>
            <a:off x="4763551" y="1493060"/>
            <a:ext cx="4056600" cy="3161443"/>
          </a:xfrm>
          <a:prstGeom prst="rect">
            <a:avLst/>
          </a:prstGeom>
        </p:spPr>
        <p:txBody>
          <a:bodyPr lIns="0">
            <a:no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a:p>
            <a:pPr lvl="0"/>
            <a:r>
              <a:rPr lang="en-GB"/>
              <a:t>In </a:t>
            </a:r>
            <a:r>
              <a:rPr lang="en-GB" err="1"/>
              <a:t>consectetur</a:t>
            </a:r>
            <a:r>
              <a:rPr lang="en-GB"/>
              <a:t> eros </a:t>
            </a:r>
            <a:r>
              <a:rPr lang="en-GB" err="1"/>
              <a:t>sed</a:t>
            </a:r>
            <a:r>
              <a:rPr lang="en-GB"/>
              <a:t> </a:t>
            </a:r>
            <a:r>
              <a:rPr lang="en-GB" err="1"/>
              <a:t>purus</a:t>
            </a:r>
            <a:r>
              <a:rPr lang="en-GB"/>
              <a:t> </a:t>
            </a:r>
            <a:r>
              <a:rPr lang="en-GB" err="1"/>
              <a:t>porttitor</a:t>
            </a:r>
            <a:r>
              <a:rPr lang="en-GB"/>
              <a:t> maximus. Ut </a:t>
            </a:r>
            <a:r>
              <a:rPr lang="en-GB" err="1"/>
              <a:t>sed</a:t>
            </a:r>
            <a:r>
              <a:rPr lang="en-GB"/>
              <a:t> </a:t>
            </a:r>
            <a:r>
              <a:rPr lang="en-GB" err="1"/>
              <a:t>sollicitudin</a:t>
            </a:r>
            <a:r>
              <a:rPr lang="en-GB"/>
              <a:t> </a:t>
            </a:r>
            <a:r>
              <a:rPr lang="en-GB" err="1"/>
              <a:t>quam</a:t>
            </a:r>
            <a:r>
              <a:rPr lang="en-GB"/>
              <a:t>. </a:t>
            </a:r>
            <a:r>
              <a:rPr lang="en-GB" err="1"/>
              <a:t>Interdum</a:t>
            </a:r>
            <a:r>
              <a:rPr lang="en-GB"/>
              <a:t> et </a:t>
            </a:r>
            <a:r>
              <a:rPr lang="en-GB" err="1"/>
              <a:t>malesuada</a:t>
            </a:r>
            <a:r>
              <a:rPr lang="en-GB"/>
              <a:t> fames ac ante ipsum </a:t>
            </a:r>
            <a:r>
              <a:rPr lang="en-GB" err="1"/>
              <a:t>primis</a:t>
            </a:r>
            <a:r>
              <a:rPr lang="en-GB"/>
              <a:t> in </a:t>
            </a:r>
            <a:r>
              <a:rPr lang="en-GB" err="1"/>
              <a:t>faucibus</a:t>
            </a:r>
            <a:r>
              <a:rPr lang="en-GB"/>
              <a:t>. Donec vestibulum </a:t>
            </a:r>
            <a:r>
              <a:rPr lang="en-GB" err="1"/>
              <a:t>nulla</a:t>
            </a:r>
            <a:r>
              <a:rPr lang="en-GB"/>
              <a:t> sit </a:t>
            </a:r>
            <a:r>
              <a:rPr lang="en-GB" err="1"/>
              <a:t>amet</a:t>
            </a:r>
            <a:r>
              <a:rPr lang="en-GB"/>
              <a:t> </a:t>
            </a:r>
            <a:r>
              <a:rPr lang="en-GB" err="1"/>
              <a:t>ultrices</a:t>
            </a:r>
            <a:r>
              <a:rPr lang="en-GB"/>
              <a:t> </a:t>
            </a:r>
            <a:r>
              <a:rPr lang="en-GB" err="1"/>
              <a:t>porttitor</a:t>
            </a:r>
            <a:r>
              <a:rPr lang="en-GB"/>
              <a:t>. </a:t>
            </a:r>
            <a:r>
              <a:rPr lang="en-GB" err="1"/>
              <a:t>Fusce</a:t>
            </a:r>
            <a:r>
              <a:rPr lang="en-GB"/>
              <a:t> </a:t>
            </a:r>
            <a:r>
              <a:rPr lang="en-GB" err="1"/>
              <a:t>iaculis</a:t>
            </a:r>
            <a:r>
              <a:rPr lang="en-GB"/>
              <a:t> </a:t>
            </a:r>
            <a:r>
              <a:rPr lang="en-GB" err="1"/>
              <a:t>nisl</a:t>
            </a:r>
            <a:r>
              <a:rPr lang="en-GB"/>
              <a:t> et </a:t>
            </a:r>
            <a:r>
              <a:rPr lang="en-GB" err="1"/>
              <a:t>quam</a:t>
            </a:r>
            <a:r>
              <a:rPr lang="en-GB"/>
              <a:t> </a:t>
            </a:r>
            <a:r>
              <a:rPr lang="en-GB" err="1"/>
              <a:t>bibendum</a:t>
            </a:r>
            <a:r>
              <a:rPr lang="en-GB"/>
              <a:t> </a:t>
            </a:r>
            <a:r>
              <a:rPr lang="en-GB" err="1"/>
              <a:t>luctus</a:t>
            </a:r>
            <a:r>
              <a:rPr lang="en-GB"/>
              <a:t>. </a:t>
            </a:r>
            <a:r>
              <a:rPr lang="en-GB" err="1"/>
              <a:t>Nullam</a:t>
            </a:r>
            <a:r>
              <a:rPr lang="en-GB"/>
              <a:t> </a:t>
            </a:r>
            <a:r>
              <a:rPr lang="en-GB" err="1"/>
              <a:t>urna</a:t>
            </a:r>
            <a:r>
              <a:rPr lang="en-GB"/>
              <a:t> </a:t>
            </a:r>
            <a:r>
              <a:rPr lang="en-GB" err="1"/>
              <a:t>est</a:t>
            </a:r>
            <a:r>
              <a:rPr lang="en-GB"/>
              <a:t>, </a:t>
            </a:r>
            <a:r>
              <a:rPr lang="en-GB" err="1"/>
              <a:t>euismod</a:t>
            </a:r>
            <a:r>
              <a:rPr lang="en-GB"/>
              <a:t> </a:t>
            </a:r>
            <a:r>
              <a:rPr lang="en-GB" err="1"/>
              <a:t>vel</a:t>
            </a:r>
            <a:r>
              <a:rPr lang="en-GB"/>
              <a:t> </a:t>
            </a:r>
            <a:r>
              <a:rPr lang="en-GB" err="1"/>
              <a:t>nulla</a:t>
            </a:r>
            <a:r>
              <a:rPr lang="en-GB"/>
              <a:t> id, </a:t>
            </a:r>
            <a:r>
              <a:rPr lang="en-GB" err="1"/>
              <a:t>dapibus</a:t>
            </a:r>
            <a:r>
              <a:rPr lang="en-GB"/>
              <a:t> </a:t>
            </a:r>
            <a:r>
              <a:rPr lang="en-GB" err="1"/>
              <a:t>consequat</a:t>
            </a:r>
            <a:r>
              <a:rPr lang="en-GB"/>
              <a:t> mi. </a:t>
            </a:r>
            <a:r>
              <a:rPr lang="en-GB" err="1"/>
              <a:t>Praesent</a:t>
            </a:r>
            <a:r>
              <a:rPr lang="en-GB"/>
              <a:t> </a:t>
            </a:r>
            <a:r>
              <a:rPr lang="en-GB" err="1"/>
              <a:t>lobortis</a:t>
            </a:r>
            <a:r>
              <a:rPr lang="en-GB"/>
              <a:t> </a:t>
            </a:r>
            <a:r>
              <a:rPr lang="en-GB" err="1"/>
              <a:t>eleifend</a:t>
            </a:r>
            <a:r>
              <a:rPr lang="en-GB"/>
              <a:t> </a:t>
            </a:r>
            <a:r>
              <a:rPr lang="en-GB" err="1"/>
              <a:t>justo</a:t>
            </a:r>
            <a:r>
              <a:rPr lang="en-GB"/>
              <a:t> </a:t>
            </a:r>
            <a:r>
              <a:rPr lang="en-GB" err="1"/>
              <a:t>eu</a:t>
            </a:r>
            <a:r>
              <a:rPr lang="en-GB"/>
              <a:t> </a:t>
            </a:r>
            <a:r>
              <a:rPr lang="en-GB" err="1"/>
              <a:t>accumsan</a:t>
            </a:r>
            <a:r>
              <a:rPr lang="en-GB"/>
              <a:t>. Nam </a:t>
            </a:r>
            <a:r>
              <a:rPr lang="en-GB" err="1"/>
              <a:t>egestas</a:t>
            </a:r>
            <a:r>
              <a:rPr lang="en-GB"/>
              <a:t>, mi </a:t>
            </a:r>
            <a:r>
              <a:rPr lang="en-GB" err="1"/>
              <a:t>ut</a:t>
            </a:r>
            <a:r>
              <a:rPr lang="en-GB"/>
              <a:t> </a:t>
            </a:r>
            <a:r>
              <a:rPr lang="en-GB" err="1"/>
              <a:t>sollicitudin</a:t>
            </a:r>
            <a:r>
              <a:rPr lang="en-GB"/>
              <a:t> </a:t>
            </a:r>
            <a:r>
              <a:rPr lang="en-GB" err="1"/>
              <a:t>condimentum</a:t>
            </a:r>
            <a:r>
              <a:rPr lang="en-GB"/>
              <a:t>, mi </a:t>
            </a:r>
            <a:r>
              <a:rPr lang="en-GB" err="1"/>
              <a:t>felis</a:t>
            </a:r>
            <a:r>
              <a:rPr lang="en-GB"/>
              <a:t> </a:t>
            </a:r>
            <a:r>
              <a:rPr lang="en-GB" err="1"/>
              <a:t>elementum</a:t>
            </a:r>
            <a:r>
              <a:rPr lang="en-GB"/>
              <a:t> </a:t>
            </a:r>
            <a:r>
              <a:rPr lang="en-GB" err="1"/>
              <a:t>augue</a:t>
            </a:r>
            <a:r>
              <a:rPr lang="en-GB"/>
              <a:t>, non </a:t>
            </a:r>
            <a:r>
              <a:rPr lang="en-GB" err="1"/>
              <a:t>condimentum</a:t>
            </a:r>
            <a:r>
              <a:rPr lang="en-GB"/>
              <a:t> </a:t>
            </a:r>
            <a:r>
              <a:rPr lang="en-GB" err="1"/>
              <a:t>sem</a:t>
            </a:r>
            <a:r>
              <a:rPr lang="en-GB"/>
              <a:t> eros </a:t>
            </a:r>
            <a:r>
              <a:rPr lang="en-GB" err="1"/>
              <a:t>eu</a:t>
            </a:r>
            <a:r>
              <a:rPr lang="en-GB"/>
              <a:t> eros. Nam ex </a:t>
            </a:r>
            <a:r>
              <a:rPr lang="en-GB" err="1"/>
              <a:t>nunc</a:t>
            </a:r>
            <a:r>
              <a:rPr lang="en-GB"/>
              <a:t>, lacinia ac </a:t>
            </a:r>
            <a:r>
              <a:rPr lang="en-GB" err="1"/>
              <a:t>tortor</a:t>
            </a:r>
            <a:r>
              <a:rPr lang="en-GB"/>
              <a:t> at, </a:t>
            </a:r>
            <a:r>
              <a:rPr lang="en-GB" err="1"/>
              <a:t>aliquet</a:t>
            </a:r>
            <a:r>
              <a:rPr lang="en-GB"/>
              <a:t> </a:t>
            </a:r>
            <a:r>
              <a:rPr lang="en-GB" err="1"/>
              <a:t>commodo</a:t>
            </a:r>
            <a:r>
              <a:rPr lang="en-GB"/>
              <a:t> diam. Donec id </a:t>
            </a:r>
            <a:r>
              <a:rPr lang="en-GB" err="1"/>
              <a:t>dignissim</a:t>
            </a:r>
            <a:r>
              <a:rPr lang="en-GB"/>
              <a:t> </a:t>
            </a:r>
            <a:r>
              <a:rPr lang="en-GB" err="1"/>
              <a:t>odio</a:t>
            </a:r>
            <a:r>
              <a:rPr lang="en-GB"/>
              <a:t>. </a:t>
            </a:r>
            <a:r>
              <a:rPr lang="en-GB" err="1"/>
              <a:t>Praesent</a:t>
            </a:r>
            <a:r>
              <a:rPr lang="en-GB"/>
              <a:t> </a:t>
            </a:r>
            <a:r>
              <a:rPr lang="en-GB" err="1"/>
              <a:t>interdum</a:t>
            </a:r>
            <a:r>
              <a:rPr lang="en-GB"/>
              <a:t> </a:t>
            </a:r>
            <a:r>
              <a:rPr lang="en-GB" err="1"/>
              <a:t>nulla</a:t>
            </a:r>
            <a:r>
              <a:rPr lang="en-GB"/>
              <a:t> non convallis convallis.</a:t>
            </a:r>
          </a:p>
        </p:txBody>
      </p:sp>
      <p:sp>
        <p:nvSpPr>
          <p:cNvPr id="12" name="Text Placeholder 7">
            <a:extLst>
              <a:ext uri="{FF2B5EF4-FFF2-40B4-BE49-F238E27FC236}">
                <a16:creationId xmlns:a16="http://schemas.microsoft.com/office/drawing/2014/main" id="{38AEB910-E851-4B43-856F-C950EABA142D}"/>
              </a:ext>
            </a:extLst>
          </p:cNvPr>
          <p:cNvSpPr>
            <a:spLocks noGrp="1"/>
          </p:cNvSpPr>
          <p:nvPr>
            <p:ph type="body" sz="quarter" idx="86" hasCustomPrompt="1"/>
          </p:nvPr>
        </p:nvSpPr>
        <p:spPr>
          <a:xfrm>
            <a:off x="4763551" y="1169896"/>
            <a:ext cx="4056600" cy="323165"/>
          </a:xfrm>
          <a:prstGeom prst="rect">
            <a:avLst/>
          </a:prstGeom>
        </p:spPr>
        <p:txBody>
          <a:bodyPr lIns="0" anchor="t">
            <a:normAutofit/>
          </a:bodyPr>
          <a:lstStyle>
            <a:lvl1pPr marL="0" indent="0">
              <a:lnSpc>
                <a:spcPct val="100000"/>
              </a:lnSpc>
              <a:buNone/>
              <a:defRPr lang="en-GB" sz="1200" kern="1200" spc="-56" dirty="0">
                <a:solidFill>
                  <a:schemeClr val="accent1"/>
                </a:solidFill>
                <a:latin typeface="+mn-lt"/>
                <a:ea typeface="+mn-ea"/>
                <a:cs typeface="+mn-cs"/>
              </a:defRPr>
            </a:lvl1pPr>
          </a:lstStyle>
          <a:p>
            <a:pPr lvl="0"/>
            <a:r>
              <a:rPr lang="en-GB"/>
              <a:t>Lorem ipsum </a:t>
            </a:r>
            <a:r>
              <a:rPr lang="en-GB" err="1"/>
              <a:t>dolor</a:t>
            </a:r>
            <a:r>
              <a:rPr lang="en-GB"/>
              <a:t> sit </a:t>
            </a:r>
            <a:r>
              <a:rPr lang="en-GB" err="1"/>
              <a:t>amet</a:t>
            </a:r>
            <a:endParaRPr lang="en-GB"/>
          </a:p>
        </p:txBody>
      </p:sp>
      <p:sp>
        <p:nvSpPr>
          <p:cNvPr id="13" name="Date Placeholder 2">
            <a:extLst>
              <a:ext uri="{FF2B5EF4-FFF2-40B4-BE49-F238E27FC236}">
                <a16:creationId xmlns:a16="http://schemas.microsoft.com/office/drawing/2014/main" id="{02C48C39-9542-2F41-AD64-DE6E85719EE8}"/>
              </a:ext>
            </a:extLst>
          </p:cNvPr>
          <p:cNvSpPr>
            <a:spLocks noGrp="1"/>
          </p:cNvSpPr>
          <p:nvPr>
            <p:ph type="dt" sz="half" idx="10"/>
          </p:nvPr>
        </p:nvSpPr>
        <p:spPr>
          <a:xfrm>
            <a:off x="324002" y="4972079"/>
            <a:ext cx="494319" cy="92455"/>
          </a:xfrm>
        </p:spPr>
        <p:txBody>
          <a:bodyPr/>
          <a:lstStyle/>
          <a:p>
            <a:fld id="{CD70F20F-3A97-4A66-82CD-0CECD119ED4A}" type="datetime1">
              <a:rPr lang="de-DE" smtClean="0"/>
              <a:t>24.01.2024</a:t>
            </a:fld>
            <a:endParaRPr lang="en-US"/>
          </a:p>
        </p:txBody>
      </p:sp>
      <p:sp>
        <p:nvSpPr>
          <p:cNvPr id="18" name="Footer Placeholder 2">
            <a:extLst>
              <a:ext uri="{FF2B5EF4-FFF2-40B4-BE49-F238E27FC236}">
                <a16:creationId xmlns:a16="http://schemas.microsoft.com/office/drawing/2014/main" id="{04D4EA48-19AC-F941-8F45-9607E6E4991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0" name="Graphic 19">
            <a:extLst>
              <a:ext uri="{FF2B5EF4-FFF2-40B4-BE49-F238E27FC236}">
                <a16:creationId xmlns:a16="http://schemas.microsoft.com/office/drawing/2014/main" id="{C0EFFF32-D4B3-064D-A4B4-116BB5BC8F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1" name="Slide Number Placeholder 3">
            <a:extLst>
              <a:ext uri="{FF2B5EF4-FFF2-40B4-BE49-F238E27FC236}">
                <a16:creationId xmlns:a16="http://schemas.microsoft.com/office/drawing/2014/main" id="{D4C98653-57D1-964B-BFFE-024F1B6936BF}"/>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17303159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26E0D0C4-5FD4-0642-B295-C0224EA483C1}"/>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Subtitle</a:t>
            </a:r>
          </a:p>
        </p:txBody>
      </p:sp>
      <p:sp>
        <p:nvSpPr>
          <p:cNvPr id="16" name="Text Placeholder 4">
            <a:extLst>
              <a:ext uri="{FF2B5EF4-FFF2-40B4-BE49-F238E27FC236}">
                <a16:creationId xmlns:a16="http://schemas.microsoft.com/office/drawing/2014/main" id="{2F5BDD0F-AFD4-C74B-8245-DADD56631763}"/>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chemeClr val="accent1"/>
                </a:solidFill>
              </a:defRPr>
            </a:lvl1pPr>
          </a:lstStyle>
          <a:p>
            <a:pPr marL="67498" lvl="0" indent="-67498">
              <a:spcBef>
                <a:spcPts val="0"/>
              </a:spcBef>
            </a:pPr>
            <a:r>
              <a:rPr lang="en-US"/>
              <a:t>Title</a:t>
            </a:r>
          </a:p>
        </p:txBody>
      </p:sp>
      <p:sp>
        <p:nvSpPr>
          <p:cNvPr id="27" name="Text Placeholder 7">
            <a:extLst>
              <a:ext uri="{FF2B5EF4-FFF2-40B4-BE49-F238E27FC236}">
                <a16:creationId xmlns:a16="http://schemas.microsoft.com/office/drawing/2014/main" id="{5794586D-89E8-464D-8F45-F9364274378E}"/>
              </a:ext>
            </a:extLst>
          </p:cNvPr>
          <p:cNvSpPr>
            <a:spLocks noGrp="1"/>
          </p:cNvSpPr>
          <p:nvPr>
            <p:ph type="body" sz="quarter" idx="83" hasCustomPrompt="1"/>
          </p:nvPr>
        </p:nvSpPr>
        <p:spPr>
          <a:xfrm>
            <a:off x="324000" y="1493060"/>
            <a:ext cx="2587688" cy="3161443"/>
          </a:xfrm>
          <a:prstGeom prst="rect">
            <a:avLst/>
          </a:prstGeom>
        </p:spPr>
        <p:txBody>
          <a:bodyPr lIns="0">
            <a:no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a:p>
            <a:pPr lvl="0"/>
            <a:r>
              <a:rPr lang="en-GB"/>
              <a:t>In </a:t>
            </a:r>
            <a:r>
              <a:rPr lang="en-GB" err="1"/>
              <a:t>consectetur</a:t>
            </a:r>
            <a:r>
              <a:rPr lang="en-GB"/>
              <a:t> eros </a:t>
            </a:r>
            <a:r>
              <a:rPr lang="en-GB" err="1"/>
              <a:t>sed</a:t>
            </a:r>
            <a:r>
              <a:rPr lang="en-GB"/>
              <a:t> </a:t>
            </a:r>
            <a:r>
              <a:rPr lang="en-GB" err="1"/>
              <a:t>purus</a:t>
            </a:r>
            <a:r>
              <a:rPr lang="en-GB"/>
              <a:t> </a:t>
            </a:r>
            <a:r>
              <a:rPr lang="en-GB" err="1"/>
              <a:t>porttitor</a:t>
            </a:r>
            <a:r>
              <a:rPr lang="en-GB"/>
              <a:t> maximus. Ut </a:t>
            </a:r>
            <a:r>
              <a:rPr lang="en-GB" err="1"/>
              <a:t>sed</a:t>
            </a:r>
            <a:r>
              <a:rPr lang="en-GB"/>
              <a:t> </a:t>
            </a:r>
            <a:r>
              <a:rPr lang="en-GB" err="1"/>
              <a:t>sollicitudin</a:t>
            </a:r>
            <a:r>
              <a:rPr lang="en-GB"/>
              <a:t> </a:t>
            </a:r>
            <a:r>
              <a:rPr lang="en-GB" err="1"/>
              <a:t>quam</a:t>
            </a:r>
            <a:r>
              <a:rPr lang="en-GB"/>
              <a:t>. </a:t>
            </a:r>
            <a:r>
              <a:rPr lang="en-GB" err="1"/>
              <a:t>Interdum</a:t>
            </a:r>
            <a:r>
              <a:rPr lang="en-GB"/>
              <a:t> et </a:t>
            </a:r>
            <a:r>
              <a:rPr lang="en-GB" err="1"/>
              <a:t>malesuada</a:t>
            </a:r>
            <a:r>
              <a:rPr lang="en-GB"/>
              <a:t> fames ac ante ipsum </a:t>
            </a:r>
            <a:r>
              <a:rPr lang="en-GB" err="1"/>
              <a:t>primis</a:t>
            </a:r>
            <a:r>
              <a:rPr lang="en-GB"/>
              <a:t> in </a:t>
            </a:r>
            <a:r>
              <a:rPr lang="en-GB" err="1"/>
              <a:t>faucibus</a:t>
            </a:r>
            <a:r>
              <a:rPr lang="en-GB"/>
              <a:t>. Donec vestibulum </a:t>
            </a:r>
            <a:r>
              <a:rPr lang="en-GB" err="1"/>
              <a:t>nulla</a:t>
            </a:r>
            <a:r>
              <a:rPr lang="en-GB"/>
              <a:t> sit </a:t>
            </a:r>
            <a:r>
              <a:rPr lang="en-GB" err="1"/>
              <a:t>amet</a:t>
            </a:r>
            <a:r>
              <a:rPr lang="en-GB"/>
              <a:t> </a:t>
            </a:r>
            <a:r>
              <a:rPr lang="en-GB" err="1"/>
              <a:t>ultrices</a:t>
            </a:r>
            <a:r>
              <a:rPr lang="en-GB"/>
              <a:t> </a:t>
            </a:r>
            <a:r>
              <a:rPr lang="en-GB" err="1"/>
              <a:t>porttitor</a:t>
            </a:r>
            <a:r>
              <a:rPr lang="en-GB"/>
              <a:t>. </a:t>
            </a:r>
            <a:r>
              <a:rPr lang="en-GB" err="1"/>
              <a:t>Fusce</a:t>
            </a:r>
            <a:r>
              <a:rPr lang="en-GB"/>
              <a:t> </a:t>
            </a:r>
            <a:r>
              <a:rPr lang="en-GB" err="1"/>
              <a:t>iaculis</a:t>
            </a:r>
            <a:r>
              <a:rPr lang="en-GB"/>
              <a:t> </a:t>
            </a:r>
            <a:r>
              <a:rPr lang="en-GB" err="1"/>
              <a:t>nisl</a:t>
            </a:r>
            <a:r>
              <a:rPr lang="en-GB"/>
              <a:t> et </a:t>
            </a:r>
            <a:r>
              <a:rPr lang="en-GB" err="1"/>
              <a:t>quam</a:t>
            </a:r>
            <a:r>
              <a:rPr lang="en-GB"/>
              <a:t> </a:t>
            </a:r>
            <a:r>
              <a:rPr lang="en-GB" err="1"/>
              <a:t>bibendum</a:t>
            </a:r>
            <a:r>
              <a:rPr lang="en-GB"/>
              <a:t> </a:t>
            </a:r>
            <a:r>
              <a:rPr lang="en-GB" err="1"/>
              <a:t>luctus</a:t>
            </a:r>
            <a:r>
              <a:rPr lang="en-GB"/>
              <a:t>. </a:t>
            </a:r>
            <a:r>
              <a:rPr lang="en-GB" err="1"/>
              <a:t>Nullam</a:t>
            </a:r>
            <a:r>
              <a:rPr lang="en-GB"/>
              <a:t> </a:t>
            </a:r>
            <a:r>
              <a:rPr lang="en-GB" err="1"/>
              <a:t>urna</a:t>
            </a:r>
            <a:r>
              <a:rPr lang="en-GB"/>
              <a:t> </a:t>
            </a:r>
            <a:r>
              <a:rPr lang="en-GB" err="1"/>
              <a:t>est</a:t>
            </a:r>
            <a:r>
              <a:rPr lang="en-GB"/>
              <a:t>, </a:t>
            </a:r>
            <a:r>
              <a:rPr lang="en-GB" err="1"/>
              <a:t>euismod</a:t>
            </a:r>
            <a:r>
              <a:rPr lang="en-GB"/>
              <a:t> </a:t>
            </a:r>
            <a:r>
              <a:rPr lang="en-GB" err="1"/>
              <a:t>vel</a:t>
            </a:r>
            <a:r>
              <a:rPr lang="en-GB"/>
              <a:t> </a:t>
            </a:r>
            <a:r>
              <a:rPr lang="en-GB" err="1"/>
              <a:t>nulla</a:t>
            </a:r>
            <a:r>
              <a:rPr lang="en-GB"/>
              <a:t> id, </a:t>
            </a:r>
            <a:r>
              <a:rPr lang="en-GB" err="1"/>
              <a:t>dapibus</a:t>
            </a:r>
            <a:r>
              <a:rPr lang="en-GB"/>
              <a:t> </a:t>
            </a:r>
            <a:r>
              <a:rPr lang="en-GB" err="1"/>
              <a:t>consequat</a:t>
            </a:r>
            <a:r>
              <a:rPr lang="en-GB"/>
              <a:t> </a:t>
            </a:r>
          </a:p>
        </p:txBody>
      </p:sp>
      <p:sp>
        <p:nvSpPr>
          <p:cNvPr id="29" name="Text Placeholder 7">
            <a:extLst>
              <a:ext uri="{FF2B5EF4-FFF2-40B4-BE49-F238E27FC236}">
                <a16:creationId xmlns:a16="http://schemas.microsoft.com/office/drawing/2014/main" id="{359DC7E0-4367-3F40-B197-0C1E085ED589}"/>
              </a:ext>
            </a:extLst>
          </p:cNvPr>
          <p:cNvSpPr>
            <a:spLocks noGrp="1"/>
          </p:cNvSpPr>
          <p:nvPr>
            <p:ph type="body" sz="quarter" idx="84" hasCustomPrompt="1"/>
          </p:nvPr>
        </p:nvSpPr>
        <p:spPr>
          <a:xfrm>
            <a:off x="324001" y="1169896"/>
            <a:ext cx="2587689" cy="323165"/>
          </a:xfrm>
          <a:prstGeom prst="rect">
            <a:avLst/>
          </a:prstGeom>
        </p:spPr>
        <p:txBody>
          <a:bodyPr lIns="0" anchor="t">
            <a:normAutofit/>
          </a:bodyPr>
          <a:lstStyle>
            <a:lvl1pPr marL="0" indent="0">
              <a:lnSpc>
                <a:spcPct val="100000"/>
              </a:lnSpc>
              <a:buNone/>
              <a:defRPr lang="en-GB" sz="1200" kern="1200" spc="-56" dirty="0">
                <a:solidFill>
                  <a:schemeClr val="accent1"/>
                </a:solidFill>
                <a:latin typeface="+mn-lt"/>
                <a:ea typeface="+mn-ea"/>
                <a:cs typeface="+mn-cs"/>
              </a:defRPr>
            </a:lvl1pPr>
          </a:lstStyle>
          <a:p>
            <a:pPr lvl="0"/>
            <a:r>
              <a:rPr lang="en-GB"/>
              <a:t>Lorem ipsum </a:t>
            </a:r>
            <a:r>
              <a:rPr lang="en-GB" err="1"/>
              <a:t>dolor</a:t>
            </a:r>
            <a:r>
              <a:rPr lang="en-GB"/>
              <a:t> sit </a:t>
            </a:r>
            <a:r>
              <a:rPr lang="en-GB" err="1"/>
              <a:t>amet</a:t>
            </a:r>
            <a:endParaRPr lang="en-GB"/>
          </a:p>
        </p:txBody>
      </p:sp>
      <p:sp>
        <p:nvSpPr>
          <p:cNvPr id="12" name="Text Placeholder 7">
            <a:extLst>
              <a:ext uri="{FF2B5EF4-FFF2-40B4-BE49-F238E27FC236}">
                <a16:creationId xmlns:a16="http://schemas.microsoft.com/office/drawing/2014/main" id="{38AEB910-E851-4B43-856F-C950EABA142D}"/>
              </a:ext>
            </a:extLst>
          </p:cNvPr>
          <p:cNvSpPr>
            <a:spLocks noGrp="1"/>
          </p:cNvSpPr>
          <p:nvPr>
            <p:ph type="body" sz="quarter" idx="86" hasCustomPrompt="1"/>
          </p:nvPr>
        </p:nvSpPr>
        <p:spPr>
          <a:xfrm>
            <a:off x="3278232" y="1169896"/>
            <a:ext cx="2587689" cy="323165"/>
          </a:xfrm>
          <a:prstGeom prst="rect">
            <a:avLst/>
          </a:prstGeom>
        </p:spPr>
        <p:txBody>
          <a:bodyPr lIns="0" anchor="t">
            <a:normAutofit/>
          </a:bodyPr>
          <a:lstStyle>
            <a:lvl1pPr marL="0" indent="0">
              <a:lnSpc>
                <a:spcPct val="100000"/>
              </a:lnSpc>
              <a:buNone/>
              <a:defRPr lang="en-GB" sz="1200" kern="1200" spc="-56" dirty="0">
                <a:solidFill>
                  <a:schemeClr val="accent1"/>
                </a:solidFill>
                <a:latin typeface="+mn-lt"/>
                <a:ea typeface="+mn-ea"/>
                <a:cs typeface="+mn-cs"/>
              </a:defRPr>
            </a:lvl1pPr>
          </a:lstStyle>
          <a:p>
            <a:pPr lvl="0"/>
            <a:r>
              <a:rPr lang="en-GB"/>
              <a:t>Lorem ipsum </a:t>
            </a:r>
            <a:r>
              <a:rPr lang="en-GB" err="1"/>
              <a:t>dolor</a:t>
            </a:r>
            <a:r>
              <a:rPr lang="en-GB"/>
              <a:t> sit </a:t>
            </a:r>
            <a:r>
              <a:rPr lang="en-GB" err="1"/>
              <a:t>amet</a:t>
            </a:r>
            <a:endParaRPr lang="en-GB"/>
          </a:p>
        </p:txBody>
      </p:sp>
      <p:sp>
        <p:nvSpPr>
          <p:cNvPr id="13" name="Date Placeholder 2">
            <a:extLst>
              <a:ext uri="{FF2B5EF4-FFF2-40B4-BE49-F238E27FC236}">
                <a16:creationId xmlns:a16="http://schemas.microsoft.com/office/drawing/2014/main" id="{02C48C39-9542-2F41-AD64-DE6E85719EE8}"/>
              </a:ext>
            </a:extLst>
          </p:cNvPr>
          <p:cNvSpPr>
            <a:spLocks noGrp="1"/>
          </p:cNvSpPr>
          <p:nvPr>
            <p:ph type="dt" sz="half" idx="10"/>
          </p:nvPr>
        </p:nvSpPr>
        <p:spPr>
          <a:xfrm>
            <a:off x="324002" y="4972079"/>
            <a:ext cx="494319" cy="92455"/>
          </a:xfrm>
        </p:spPr>
        <p:txBody>
          <a:bodyPr/>
          <a:lstStyle/>
          <a:p>
            <a:fld id="{6C441DF7-22D0-4E16-ADE7-8F111E87FF99}" type="datetime1">
              <a:rPr lang="de-DE" smtClean="0"/>
              <a:t>24.01.2024</a:t>
            </a:fld>
            <a:endParaRPr lang="en-US"/>
          </a:p>
        </p:txBody>
      </p:sp>
      <p:sp>
        <p:nvSpPr>
          <p:cNvPr id="18" name="Footer Placeholder 2">
            <a:extLst>
              <a:ext uri="{FF2B5EF4-FFF2-40B4-BE49-F238E27FC236}">
                <a16:creationId xmlns:a16="http://schemas.microsoft.com/office/drawing/2014/main" id="{04D4EA48-19AC-F941-8F45-9607E6E4991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pic>
        <p:nvPicPr>
          <p:cNvPr id="20" name="Graphic 19">
            <a:extLst>
              <a:ext uri="{FF2B5EF4-FFF2-40B4-BE49-F238E27FC236}">
                <a16:creationId xmlns:a16="http://schemas.microsoft.com/office/drawing/2014/main" id="{C0EFFF32-D4B3-064D-A4B4-116BB5BC8F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21" name="Slide Number Placeholder 3">
            <a:extLst>
              <a:ext uri="{FF2B5EF4-FFF2-40B4-BE49-F238E27FC236}">
                <a16:creationId xmlns:a16="http://schemas.microsoft.com/office/drawing/2014/main" id="{D4C98653-57D1-964B-BFFE-024F1B6936BF}"/>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
        <p:nvSpPr>
          <p:cNvPr id="14" name="Text Placeholder 7">
            <a:extLst>
              <a:ext uri="{FF2B5EF4-FFF2-40B4-BE49-F238E27FC236}">
                <a16:creationId xmlns:a16="http://schemas.microsoft.com/office/drawing/2014/main" id="{42766D75-A739-AD49-A6BD-FE79D5F80656}"/>
              </a:ext>
            </a:extLst>
          </p:cNvPr>
          <p:cNvSpPr>
            <a:spLocks noGrp="1"/>
          </p:cNvSpPr>
          <p:nvPr>
            <p:ph type="body" sz="quarter" idx="87" hasCustomPrompt="1"/>
          </p:nvPr>
        </p:nvSpPr>
        <p:spPr>
          <a:xfrm>
            <a:off x="6232462" y="1169896"/>
            <a:ext cx="2587689" cy="323165"/>
          </a:xfrm>
          <a:prstGeom prst="rect">
            <a:avLst/>
          </a:prstGeom>
        </p:spPr>
        <p:txBody>
          <a:bodyPr lIns="0" anchor="t">
            <a:normAutofit/>
          </a:bodyPr>
          <a:lstStyle>
            <a:lvl1pPr marL="0" indent="0">
              <a:lnSpc>
                <a:spcPct val="100000"/>
              </a:lnSpc>
              <a:buNone/>
              <a:defRPr lang="en-GB" sz="1200" kern="1200" spc="-56" dirty="0">
                <a:solidFill>
                  <a:schemeClr val="accent1"/>
                </a:solidFill>
                <a:latin typeface="+mn-lt"/>
                <a:ea typeface="+mn-ea"/>
                <a:cs typeface="+mn-cs"/>
              </a:defRPr>
            </a:lvl1pPr>
          </a:lstStyle>
          <a:p>
            <a:pPr lvl="0"/>
            <a:r>
              <a:rPr lang="en-GB"/>
              <a:t>Lorem ipsum </a:t>
            </a:r>
            <a:r>
              <a:rPr lang="en-GB" err="1"/>
              <a:t>dolor</a:t>
            </a:r>
            <a:r>
              <a:rPr lang="en-GB"/>
              <a:t> sit </a:t>
            </a:r>
            <a:r>
              <a:rPr lang="en-GB" err="1"/>
              <a:t>amet</a:t>
            </a:r>
            <a:endParaRPr lang="en-GB"/>
          </a:p>
        </p:txBody>
      </p:sp>
      <p:sp>
        <p:nvSpPr>
          <p:cNvPr id="17" name="Text Placeholder 7">
            <a:extLst>
              <a:ext uri="{FF2B5EF4-FFF2-40B4-BE49-F238E27FC236}">
                <a16:creationId xmlns:a16="http://schemas.microsoft.com/office/drawing/2014/main" id="{B6A74B7C-944B-E149-AFBB-1C6C19A2673F}"/>
              </a:ext>
            </a:extLst>
          </p:cNvPr>
          <p:cNvSpPr>
            <a:spLocks noGrp="1"/>
          </p:cNvSpPr>
          <p:nvPr>
            <p:ph type="body" sz="quarter" idx="88" hasCustomPrompt="1"/>
          </p:nvPr>
        </p:nvSpPr>
        <p:spPr>
          <a:xfrm>
            <a:off x="3279620" y="1493060"/>
            <a:ext cx="2587688" cy="3161443"/>
          </a:xfrm>
          <a:prstGeom prst="rect">
            <a:avLst/>
          </a:prstGeom>
        </p:spPr>
        <p:txBody>
          <a:bodyPr lIns="0">
            <a:no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a:p>
            <a:pPr lvl="0"/>
            <a:r>
              <a:rPr lang="en-GB"/>
              <a:t>In </a:t>
            </a:r>
            <a:r>
              <a:rPr lang="en-GB" err="1"/>
              <a:t>consectetur</a:t>
            </a:r>
            <a:r>
              <a:rPr lang="en-GB"/>
              <a:t> eros </a:t>
            </a:r>
            <a:r>
              <a:rPr lang="en-GB" err="1"/>
              <a:t>sed</a:t>
            </a:r>
            <a:r>
              <a:rPr lang="en-GB"/>
              <a:t> </a:t>
            </a:r>
            <a:r>
              <a:rPr lang="en-GB" err="1"/>
              <a:t>purus</a:t>
            </a:r>
            <a:r>
              <a:rPr lang="en-GB"/>
              <a:t> </a:t>
            </a:r>
            <a:r>
              <a:rPr lang="en-GB" err="1"/>
              <a:t>porttitor</a:t>
            </a:r>
            <a:r>
              <a:rPr lang="en-GB"/>
              <a:t> maximus. Ut </a:t>
            </a:r>
            <a:r>
              <a:rPr lang="en-GB" err="1"/>
              <a:t>sed</a:t>
            </a:r>
            <a:r>
              <a:rPr lang="en-GB"/>
              <a:t> </a:t>
            </a:r>
            <a:r>
              <a:rPr lang="en-GB" err="1"/>
              <a:t>sollicitudin</a:t>
            </a:r>
            <a:r>
              <a:rPr lang="en-GB"/>
              <a:t> </a:t>
            </a:r>
            <a:r>
              <a:rPr lang="en-GB" err="1"/>
              <a:t>quam</a:t>
            </a:r>
            <a:r>
              <a:rPr lang="en-GB"/>
              <a:t>. </a:t>
            </a:r>
            <a:r>
              <a:rPr lang="en-GB" err="1"/>
              <a:t>Interdum</a:t>
            </a:r>
            <a:r>
              <a:rPr lang="en-GB"/>
              <a:t> et </a:t>
            </a:r>
            <a:r>
              <a:rPr lang="en-GB" err="1"/>
              <a:t>malesuada</a:t>
            </a:r>
            <a:r>
              <a:rPr lang="en-GB"/>
              <a:t> fames ac ante ipsum </a:t>
            </a:r>
            <a:r>
              <a:rPr lang="en-GB" err="1"/>
              <a:t>primis</a:t>
            </a:r>
            <a:r>
              <a:rPr lang="en-GB"/>
              <a:t> in </a:t>
            </a:r>
            <a:r>
              <a:rPr lang="en-GB" err="1"/>
              <a:t>faucibus</a:t>
            </a:r>
            <a:r>
              <a:rPr lang="en-GB"/>
              <a:t>. Donec vestibulum </a:t>
            </a:r>
            <a:r>
              <a:rPr lang="en-GB" err="1"/>
              <a:t>nulla</a:t>
            </a:r>
            <a:r>
              <a:rPr lang="en-GB"/>
              <a:t> sit </a:t>
            </a:r>
            <a:r>
              <a:rPr lang="en-GB" err="1"/>
              <a:t>amet</a:t>
            </a:r>
            <a:r>
              <a:rPr lang="en-GB"/>
              <a:t> </a:t>
            </a:r>
            <a:r>
              <a:rPr lang="en-GB" err="1"/>
              <a:t>ultrices</a:t>
            </a:r>
            <a:r>
              <a:rPr lang="en-GB"/>
              <a:t> </a:t>
            </a:r>
            <a:r>
              <a:rPr lang="en-GB" err="1"/>
              <a:t>porttitor</a:t>
            </a:r>
            <a:r>
              <a:rPr lang="en-GB"/>
              <a:t>. </a:t>
            </a:r>
            <a:r>
              <a:rPr lang="en-GB" err="1"/>
              <a:t>Fusce</a:t>
            </a:r>
            <a:r>
              <a:rPr lang="en-GB"/>
              <a:t> </a:t>
            </a:r>
            <a:r>
              <a:rPr lang="en-GB" err="1"/>
              <a:t>iaculis</a:t>
            </a:r>
            <a:r>
              <a:rPr lang="en-GB"/>
              <a:t> </a:t>
            </a:r>
            <a:r>
              <a:rPr lang="en-GB" err="1"/>
              <a:t>nisl</a:t>
            </a:r>
            <a:r>
              <a:rPr lang="en-GB"/>
              <a:t> et </a:t>
            </a:r>
            <a:r>
              <a:rPr lang="en-GB" err="1"/>
              <a:t>quam</a:t>
            </a:r>
            <a:r>
              <a:rPr lang="en-GB"/>
              <a:t> </a:t>
            </a:r>
            <a:r>
              <a:rPr lang="en-GB" err="1"/>
              <a:t>bibendum</a:t>
            </a:r>
            <a:r>
              <a:rPr lang="en-GB"/>
              <a:t> </a:t>
            </a:r>
            <a:r>
              <a:rPr lang="en-GB" err="1"/>
              <a:t>luctus</a:t>
            </a:r>
            <a:r>
              <a:rPr lang="en-GB"/>
              <a:t>. </a:t>
            </a:r>
            <a:r>
              <a:rPr lang="en-GB" err="1"/>
              <a:t>Nullam</a:t>
            </a:r>
            <a:r>
              <a:rPr lang="en-GB"/>
              <a:t> </a:t>
            </a:r>
            <a:r>
              <a:rPr lang="en-GB" err="1"/>
              <a:t>urna</a:t>
            </a:r>
            <a:r>
              <a:rPr lang="en-GB"/>
              <a:t> </a:t>
            </a:r>
            <a:r>
              <a:rPr lang="en-GB" err="1"/>
              <a:t>est</a:t>
            </a:r>
            <a:r>
              <a:rPr lang="en-GB"/>
              <a:t>, </a:t>
            </a:r>
            <a:r>
              <a:rPr lang="en-GB" err="1"/>
              <a:t>euismod</a:t>
            </a:r>
            <a:r>
              <a:rPr lang="en-GB"/>
              <a:t> </a:t>
            </a:r>
            <a:r>
              <a:rPr lang="en-GB" err="1"/>
              <a:t>vel</a:t>
            </a:r>
            <a:r>
              <a:rPr lang="en-GB"/>
              <a:t> </a:t>
            </a:r>
            <a:r>
              <a:rPr lang="en-GB" err="1"/>
              <a:t>nulla</a:t>
            </a:r>
            <a:r>
              <a:rPr lang="en-GB"/>
              <a:t> id, </a:t>
            </a:r>
            <a:r>
              <a:rPr lang="en-GB" err="1"/>
              <a:t>dapibus</a:t>
            </a:r>
            <a:r>
              <a:rPr lang="en-GB"/>
              <a:t> </a:t>
            </a:r>
            <a:r>
              <a:rPr lang="en-GB" err="1"/>
              <a:t>consequat</a:t>
            </a:r>
            <a:r>
              <a:rPr lang="en-GB"/>
              <a:t> </a:t>
            </a:r>
          </a:p>
        </p:txBody>
      </p:sp>
      <p:sp>
        <p:nvSpPr>
          <p:cNvPr id="19" name="Text Placeholder 7">
            <a:extLst>
              <a:ext uri="{FF2B5EF4-FFF2-40B4-BE49-F238E27FC236}">
                <a16:creationId xmlns:a16="http://schemas.microsoft.com/office/drawing/2014/main" id="{B3BA5B1A-F833-9B49-825C-EAB2DC604D66}"/>
              </a:ext>
            </a:extLst>
          </p:cNvPr>
          <p:cNvSpPr>
            <a:spLocks noGrp="1"/>
          </p:cNvSpPr>
          <p:nvPr>
            <p:ph type="body" sz="quarter" idx="89" hasCustomPrompt="1"/>
          </p:nvPr>
        </p:nvSpPr>
        <p:spPr>
          <a:xfrm>
            <a:off x="6231073" y="1493060"/>
            <a:ext cx="2589079" cy="3161443"/>
          </a:xfrm>
          <a:prstGeom prst="rect">
            <a:avLst/>
          </a:prstGeom>
        </p:spPr>
        <p:txBody>
          <a:bodyPr lIns="0">
            <a:noAutofit/>
          </a:bodyPr>
          <a:lstStyle>
            <a:lvl1pPr marL="0" indent="0">
              <a:lnSpc>
                <a:spcPct val="150000"/>
              </a:lnSpc>
              <a:buNone/>
              <a:defRPr sz="900">
                <a:solidFill>
                  <a:srgbClr val="000000"/>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Quisque</a:t>
            </a:r>
            <a:r>
              <a:rPr lang="en-GB"/>
              <a:t> in </a:t>
            </a:r>
            <a:r>
              <a:rPr lang="en-GB" err="1"/>
              <a:t>tellus</a:t>
            </a:r>
            <a:r>
              <a:rPr lang="en-GB"/>
              <a:t> </a:t>
            </a:r>
            <a:r>
              <a:rPr lang="en-GB" err="1"/>
              <a:t>placerat</a:t>
            </a:r>
            <a:r>
              <a:rPr lang="en-GB"/>
              <a:t>, </a:t>
            </a:r>
            <a:r>
              <a:rPr lang="en-GB" err="1"/>
              <a:t>pretium</a:t>
            </a:r>
            <a:r>
              <a:rPr lang="en-GB"/>
              <a:t> nisi et, </a:t>
            </a:r>
            <a:r>
              <a:rPr lang="en-GB" err="1"/>
              <a:t>tempor</a:t>
            </a:r>
            <a:r>
              <a:rPr lang="en-GB"/>
              <a:t> </a:t>
            </a:r>
            <a:r>
              <a:rPr lang="en-GB" err="1"/>
              <a:t>elit</a:t>
            </a:r>
            <a:r>
              <a:rPr lang="en-GB"/>
              <a:t>. </a:t>
            </a:r>
            <a:r>
              <a:rPr lang="en-GB" err="1"/>
              <a:t>Phasellus</a:t>
            </a:r>
            <a:r>
              <a:rPr lang="en-GB"/>
              <a:t> cursus </a:t>
            </a:r>
            <a:r>
              <a:rPr lang="en-GB" err="1"/>
              <a:t>venenatis</a:t>
            </a:r>
            <a:r>
              <a:rPr lang="en-GB"/>
              <a:t> </a:t>
            </a:r>
            <a:r>
              <a:rPr lang="en-GB" err="1"/>
              <a:t>metus</a:t>
            </a:r>
            <a:r>
              <a:rPr lang="en-GB"/>
              <a:t>, </a:t>
            </a:r>
            <a:r>
              <a:rPr lang="en-GB" err="1"/>
              <a:t>ut</a:t>
            </a:r>
            <a:r>
              <a:rPr lang="en-GB"/>
              <a:t> fermentum </a:t>
            </a:r>
            <a:r>
              <a:rPr lang="en-GB" err="1"/>
              <a:t>nunc</a:t>
            </a:r>
            <a:r>
              <a:rPr lang="en-GB"/>
              <a:t> semper at. </a:t>
            </a:r>
            <a:r>
              <a:rPr lang="en-GB" err="1"/>
              <a:t>Fusce</a:t>
            </a:r>
            <a:r>
              <a:rPr lang="en-GB"/>
              <a:t> </a:t>
            </a:r>
            <a:r>
              <a:rPr lang="en-GB" err="1"/>
              <a:t>interdum</a:t>
            </a:r>
            <a:r>
              <a:rPr lang="en-GB"/>
              <a:t> </a:t>
            </a:r>
            <a:r>
              <a:rPr lang="en-GB" err="1"/>
              <a:t>massa</a:t>
            </a:r>
            <a:r>
              <a:rPr lang="en-GB"/>
              <a:t> </a:t>
            </a:r>
            <a:r>
              <a:rPr lang="en-GB" err="1"/>
              <a:t>nec</a:t>
            </a:r>
            <a:r>
              <a:rPr lang="en-GB"/>
              <a:t> lorem </a:t>
            </a:r>
            <a:r>
              <a:rPr lang="en-GB" err="1"/>
              <a:t>pellentesque</a:t>
            </a:r>
            <a:r>
              <a:rPr lang="en-GB"/>
              <a:t>, id </a:t>
            </a:r>
            <a:r>
              <a:rPr lang="en-GB" err="1"/>
              <a:t>molestie</a:t>
            </a:r>
            <a:r>
              <a:rPr lang="en-GB"/>
              <a:t> </a:t>
            </a:r>
            <a:r>
              <a:rPr lang="en-GB" err="1"/>
              <a:t>purus</a:t>
            </a:r>
            <a:r>
              <a:rPr lang="en-GB"/>
              <a:t> </a:t>
            </a:r>
            <a:r>
              <a:rPr lang="en-GB" err="1"/>
              <a:t>venenatis</a:t>
            </a:r>
            <a:r>
              <a:rPr lang="en-GB"/>
              <a:t>. </a:t>
            </a:r>
            <a:r>
              <a:rPr lang="en-GB" err="1"/>
              <a:t>Suspendisse</a:t>
            </a:r>
            <a:r>
              <a:rPr lang="en-GB"/>
              <a:t> </a:t>
            </a:r>
            <a:r>
              <a:rPr lang="en-GB" err="1"/>
              <a:t>ut</a:t>
            </a:r>
            <a:r>
              <a:rPr lang="en-GB"/>
              <a:t> </a:t>
            </a:r>
            <a:r>
              <a:rPr lang="en-GB" err="1"/>
              <a:t>mauris</a:t>
            </a:r>
            <a:r>
              <a:rPr lang="en-GB"/>
              <a:t> sit </a:t>
            </a:r>
            <a:r>
              <a:rPr lang="en-GB" err="1"/>
              <a:t>amet</a:t>
            </a:r>
            <a:r>
              <a:rPr lang="en-GB"/>
              <a:t> </a:t>
            </a:r>
            <a:r>
              <a:rPr lang="en-GB" err="1"/>
              <a:t>sem</a:t>
            </a:r>
            <a:r>
              <a:rPr lang="en-GB"/>
              <a:t> </a:t>
            </a:r>
            <a:r>
              <a:rPr lang="en-GB" err="1"/>
              <a:t>aliquet</a:t>
            </a:r>
            <a:r>
              <a:rPr lang="en-GB"/>
              <a:t> </a:t>
            </a:r>
            <a:r>
              <a:rPr lang="en-GB" err="1"/>
              <a:t>ultrices</a:t>
            </a:r>
            <a:r>
              <a:rPr lang="en-GB"/>
              <a:t>. In </a:t>
            </a:r>
            <a:r>
              <a:rPr lang="en-GB" err="1"/>
              <a:t>ut</a:t>
            </a:r>
            <a:r>
              <a:rPr lang="en-GB"/>
              <a:t> </a:t>
            </a:r>
            <a:r>
              <a:rPr lang="en-GB" err="1"/>
              <a:t>nulla</a:t>
            </a:r>
            <a:r>
              <a:rPr lang="en-GB"/>
              <a:t> </a:t>
            </a:r>
            <a:r>
              <a:rPr lang="en-GB" err="1"/>
              <a:t>nunc</a:t>
            </a:r>
            <a:r>
              <a:rPr lang="en-GB"/>
              <a:t>. </a:t>
            </a:r>
          </a:p>
          <a:p>
            <a:pPr lvl="0"/>
            <a:r>
              <a:rPr lang="en-GB"/>
              <a:t>In </a:t>
            </a:r>
            <a:r>
              <a:rPr lang="en-GB" err="1"/>
              <a:t>consectetur</a:t>
            </a:r>
            <a:r>
              <a:rPr lang="en-GB"/>
              <a:t> eros </a:t>
            </a:r>
            <a:r>
              <a:rPr lang="en-GB" err="1"/>
              <a:t>sed</a:t>
            </a:r>
            <a:r>
              <a:rPr lang="en-GB"/>
              <a:t> </a:t>
            </a:r>
            <a:r>
              <a:rPr lang="en-GB" err="1"/>
              <a:t>purus</a:t>
            </a:r>
            <a:r>
              <a:rPr lang="en-GB"/>
              <a:t> </a:t>
            </a:r>
            <a:r>
              <a:rPr lang="en-GB" err="1"/>
              <a:t>porttitor</a:t>
            </a:r>
            <a:r>
              <a:rPr lang="en-GB"/>
              <a:t> maximus. Ut </a:t>
            </a:r>
            <a:r>
              <a:rPr lang="en-GB" err="1"/>
              <a:t>sed</a:t>
            </a:r>
            <a:r>
              <a:rPr lang="en-GB"/>
              <a:t> </a:t>
            </a:r>
            <a:r>
              <a:rPr lang="en-GB" err="1"/>
              <a:t>sollicitudin</a:t>
            </a:r>
            <a:r>
              <a:rPr lang="en-GB"/>
              <a:t> </a:t>
            </a:r>
            <a:r>
              <a:rPr lang="en-GB" err="1"/>
              <a:t>quam</a:t>
            </a:r>
            <a:r>
              <a:rPr lang="en-GB"/>
              <a:t>. </a:t>
            </a:r>
            <a:r>
              <a:rPr lang="en-GB" err="1"/>
              <a:t>Interdum</a:t>
            </a:r>
            <a:r>
              <a:rPr lang="en-GB"/>
              <a:t> et </a:t>
            </a:r>
            <a:r>
              <a:rPr lang="en-GB" err="1"/>
              <a:t>malesuada</a:t>
            </a:r>
            <a:r>
              <a:rPr lang="en-GB"/>
              <a:t> fames ac ante ipsum </a:t>
            </a:r>
            <a:r>
              <a:rPr lang="en-GB" err="1"/>
              <a:t>primis</a:t>
            </a:r>
            <a:r>
              <a:rPr lang="en-GB"/>
              <a:t> in </a:t>
            </a:r>
            <a:r>
              <a:rPr lang="en-GB" err="1"/>
              <a:t>faucibus</a:t>
            </a:r>
            <a:r>
              <a:rPr lang="en-GB"/>
              <a:t>. Donec vestibulum </a:t>
            </a:r>
            <a:r>
              <a:rPr lang="en-GB" err="1"/>
              <a:t>nulla</a:t>
            </a:r>
            <a:r>
              <a:rPr lang="en-GB"/>
              <a:t> sit </a:t>
            </a:r>
            <a:r>
              <a:rPr lang="en-GB" err="1"/>
              <a:t>amet</a:t>
            </a:r>
            <a:r>
              <a:rPr lang="en-GB"/>
              <a:t> </a:t>
            </a:r>
            <a:r>
              <a:rPr lang="en-GB" err="1"/>
              <a:t>ultrices</a:t>
            </a:r>
            <a:r>
              <a:rPr lang="en-GB"/>
              <a:t> </a:t>
            </a:r>
            <a:r>
              <a:rPr lang="en-GB" err="1"/>
              <a:t>porttitor</a:t>
            </a:r>
            <a:r>
              <a:rPr lang="en-GB"/>
              <a:t>. </a:t>
            </a:r>
            <a:r>
              <a:rPr lang="en-GB" err="1"/>
              <a:t>Fusce</a:t>
            </a:r>
            <a:r>
              <a:rPr lang="en-GB"/>
              <a:t> </a:t>
            </a:r>
            <a:r>
              <a:rPr lang="en-GB" err="1"/>
              <a:t>iaculis</a:t>
            </a:r>
            <a:r>
              <a:rPr lang="en-GB"/>
              <a:t> </a:t>
            </a:r>
            <a:r>
              <a:rPr lang="en-GB" err="1"/>
              <a:t>nisl</a:t>
            </a:r>
            <a:r>
              <a:rPr lang="en-GB"/>
              <a:t> et </a:t>
            </a:r>
            <a:r>
              <a:rPr lang="en-GB" err="1"/>
              <a:t>quam</a:t>
            </a:r>
            <a:r>
              <a:rPr lang="en-GB"/>
              <a:t> </a:t>
            </a:r>
            <a:r>
              <a:rPr lang="en-GB" err="1"/>
              <a:t>bibendum</a:t>
            </a:r>
            <a:r>
              <a:rPr lang="en-GB"/>
              <a:t> </a:t>
            </a:r>
            <a:r>
              <a:rPr lang="en-GB" err="1"/>
              <a:t>luctus</a:t>
            </a:r>
            <a:r>
              <a:rPr lang="en-GB"/>
              <a:t>. </a:t>
            </a:r>
            <a:r>
              <a:rPr lang="en-GB" err="1"/>
              <a:t>Nullam</a:t>
            </a:r>
            <a:r>
              <a:rPr lang="en-GB"/>
              <a:t> </a:t>
            </a:r>
            <a:r>
              <a:rPr lang="en-GB" err="1"/>
              <a:t>urna</a:t>
            </a:r>
            <a:r>
              <a:rPr lang="en-GB"/>
              <a:t> </a:t>
            </a:r>
            <a:r>
              <a:rPr lang="en-GB" err="1"/>
              <a:t>est</a:t>
            </a:r>
            <a:r>
              <a:rPr lang="en-GB"/>
              <a:t>, </a:t>
            </a:r>
            <a:r>
              <a:rPr lang="en-GB" err="1"/>
              <a:t>euismod</a:t>
            </a:r>
            <a:r>
              <a:rPr lang="en-GB"/>
              <a:t> </a:t>
            </a:r>
            <a:r>
              <a:rPr lang="en-GB" err="1"/>
              <a:t>vel</a:t>
            </a:r>
            <a:r>
              <a:rPr lang="en-GB"/>
              <a:t> </a:t>
            </a:r>
            <a:r>
              <a:rPr lang="en-GB" err="1"/>
              <a:t>nulla</a:t>
            </a:r>
            <a:r>
              <a:rPr lang="en-GB"/>
              <a:t> id, </a:t>
            </a:r>
            <a:r>
              <a:rPr lang="en-GB" err="1"/>
              <a:t>dapibus</a:t>
            </a:r>
            <a:r>
              <a:rPr lang="en-GB"/>
              <a:t> </a:t>
            </a:r>
            <a:r>
              <a:rPr lang="en-GB" err="1"/>
              <a:t>consequat</a:t>
            </a:r>
            <a:r>
              <a:rPr lang="en-GB"/>
              <a:t> </a:t>
            </a:r>
          </a:p>
        </p:txBody>
      </p:sp>
    </p:spTree>
    <p:extLst>
      <p:ext uri="{BB962C8B-B14F-4D97-AF65-F5344CB8AC3E}">
        <p14:creationId xmlns:p14="http://schemas.microsoft.com/office/powerpoint/2010/main" val="32184974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 Gradient 0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4904B2-AB8D-4855-B555-C6FC04223994}"/>
              </a:ext>
            </a:extLst>
          </p:cNvPr>
          <p:cNvSpPr/>
          <p:nvPr userDrawn="1"/>
        </p:nvSpPr>
        <p:spPr>
          <a:xfrm>
            <a:off x="1" y="0"/>
            <a:ext cx="9144000" cy="5143500"/>
          </a:xfrm>
          <a:prstGeom prst="rect">
            <a:avLst/>
          </a:prstGeom>
          <a:gradFill flip="none" rotWithShape="1">
            <a:gsLst>
              <a:gs pos="0">
                <a:schemeClr val="tx2">
                  <a:lumMod val="75000"/>
                </a:schemeClr>
              </a:gs>
              <a:gs pos="75000">
                <a:schemeClr val="tx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6" name="Rectangle 15">
            <a:extLst>
              <a:ext uri="{FF2B5EF4-FFF2-40B4-BE49-F238E27FC236}">
                <a16:creationId xmlns:a16="http://schemas.microsoft.com/office/drawing/2014/main" id="{6CD69B03-6A7D-2643-9E2B-EFFFB5BF6863}"/>
              </a:ext>
            </a:extLst>
          </p:cNvPr>
          <p:cNvSpPr/>
          <p:nvPr/>
        </p:nvSpPr>
        <p:spPr>
          <a:xfrm>
            <a:off x="1" y="0"/>
            <a:ext cx="9144000" cy="5143500"/>
          </a:xfrm>
          <a:prstGeom prst="rect">
            <a:avLst/>
          </a:prstGeom>
          <a:gradFill flip="none" rotWithShape="1">
            <a:gsLst>
              <a:gs pos="0">
                <a:schemeClr val="tx2">
                  <a:lumMod val="75000"/>
                </a:schemeClr>
              </a:gs>
              <a:gs pos="75000">
                <a:schemeClr val="tx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2" name="Text Placeholder 4"/>
          <p:cNvSpPr>
            <a:spLocks noGrp="1"/>
          </p:cNvSpPr>
          <p:nvPr>
            <p:ph type="body" sz="quarter" idx="14" hasCustomPrompt="1"/>
          </p:nvPr>
        </p:nvSpPr>
        <p:spPr>
          <a:xfrm>
            <a:off x="324000" y="1943886"/>
            <a:ext cx="6481589" cy="1262269"/>
          </a:xfrm>
          <a:prstGeom prst="rect">
            <a:avLst/>
          </a:prstGeom>
        </p:spPr>
        <p:txBody>
          <a:bodyPr wrap="square" lIns="0" tIns="0" rIns="0" bIns="0">
            <a:spAutoFit/>
          </a:bodyPr>
          <a:lstStyle>
            <a:lvl1pPr marL="0" indent="0">
              <a:lnSpc>
                <a:spcPct val="80000"/>
              </a:lnSpc>
              <a:spcBef>
                <a:spcPts val="0"/>
              </a:spcBef>
              <a:buFontTx/>
              <a:buNone/>
              <a:defRPr sz="5100" spc="-151" baseline="0">
                <a:solidFill>
                  <a:schemeClr val="bg1"/>
                </a:solidFill>
                <a:latin typeface="+mn-lt"/>
              </a:defRPr>
            </a:lvl1pPr>
          </a:lstStyle>
          <a:p>
            <a:pPr lvl="0"/>
            <a:r>
              <a:rPr lang="en-US"/>
              <a:t>Lorem ipsum dolor sit </a:t>
            </a:r>
            <a:r>
              <a:rPr lang="en-US" err="1"/>
              <a:t>amet</a:t>
            </a:r>
            <a:endParaRPr lang="en-US"/>
          </a:p>
        </p:txBody>
      </p:sp>
      <p:sp>
        <p:nvSpPr>
          <p:cNvPr id="7" name="Text Placeholder 4">
            <a:extLst>
              <a:ext uri="{FF2B5EF4-FFF2-40B4-BE49-F238E27FC236}">
                <a16:creationId xmlns:a16="http://schemas.microsoft.com/office/drawing/2014/main" id="{59A31858-4983-714E-8A3A-977BBFAC8DB8}"/>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rgbClr val="3399FF"/>
                </a:solidFill>
                <a:latin typeface="+mj-lt"/>
              </a:defRPr>
            </a:lvl1pPr>
          </a:lstStyle>
          <a:p>
            <a:r>
              <a:rPr lang="en-US"/>
              <a:t>Lorem ipsum dolor sit </a:t>
            </a:r>
            <a:r>
              <a:rPr lang="en-US" err="1"/>
              <a:t>amet</a:t>
            </a:r>
            <a:endParaRPr lang="en-US"/>
          </a:p>
        </p:txBody>
      </p:sp>
      <p:sp>
        <p:nvSpPr>
          <p:cNvPr id="8" name="Text Placeholder 4">
            <a:extLst>
              <a:ext uri="{FF2B5EF4-FFF2-40B4-BE49-F238E27FC236}">
                <a16:creationId xmlns:a16="http://schemas.microsoft.com/office/drawing/2014/main" id="{B8DD12A0-9573-2D45-B04A-F543A6A304B1}"/>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Lorem ipsum</a:t>
            </a:r>
          </a:p>
        </p:txBody>
      </p:sp>
      <p:sp>
        <p:nvSpPr>
          <p:cNvPr id="10" name="Date Placeholder 2">
            <a:extLst>
              <a:ext uri="{FF2B5EF4-FFF2-40B4-BE49-F238E27FC236}">
                <a16:creationId xmlns:a16="http://schemas.microsoft.com/office/drawing/2014/main" id="{4E8E1B35-AE80-2B4E-A340-055C18DB08AF}"/>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8FAC72BD-2620-4ADC-B9C4-2805312B605A}" type="datetime1">
              <a:rPr lang="de-DE" smtClean="0"/>
              <a:t>24.01.2024</a:t>
            </a:fld>
            <a:endParaRPr lang="en-US"/>
          </a:p>
        </p:txBody>
      </p:sp>
      <p:sp>
        <p:nvSpPr>
          <p:cNvPr id="15" name="Footer Placeholder 3">
            <a:extLst>
              <a:ext uri="{FF2B5EF4-FFF2-40B4-BE49-F238E27FC236}">
                <a16:creationId xmlns:a16="http://schemas.microsoft.com/office/drawing/2014/main" id="{8CD66271-723C-4C4F-8E4A-7A039E95AC05}"/>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7" name="Graphic 16">
            <a:extLst>
              <a:ext uri="{FF2B5EF4-FFF2-40B4-BE49-F238E27FC236}">
                <a16:creationId xmlns:a16="http://schemas.microsoft.com/office/drawing/2014/main" id="{813DB530-7670-4944-B81E-1C3590B8892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8" name="Slide Number Placeholder 4">
            <a:extLst>
              <a:ext uri="{FF2B5EF4-FFF2-40B4-BE49-F238E27FC236}">
                <a16:creationId xmlns:a16="http://schemas.microsoft.com/office/drawing/2014/main" id="{CB1CA88B-CAD1-264D-A236-9E1511A2A81D}"/>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2254847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asic - Green header">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D09185BF-0C74-8147-86FC-D86A3464A2C8}"/>
              </a:ext>
            </a:extLst>
          </p:cNvPr>
          <p:cNvSpPr/>
          <p:nvPr userDrawn="1"/>
        </p:nvSpPr>
        <p:spPr>
          <a:xfrm>
            <a:off x="-3968" y="4641"/>
            <a:ext cx="9147967" cy="847182"/>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chemeClr val="accent2"/>
          </a:solidFill>
        </p:spPr>
        <p:txBody>
          <a:bodyPr wrap="square" lIns="0" tIns="0" rIns="0" bIns="0" rtlCol="0"/>
          <a:lstStyle/>
          <a:p>
            <a:endParaRPr sz="675"/>
          </a:p>
        </p:txBody>
      </p:sp>
      <p:sp>
        <p:nvSpPr>
          <p:cNvPr id="3" name="Date Placeholder 2">
            <a:extLst>
              <a:ext uri="{FF2B5EF4-FFF2-40B4-BE49-F238E27FC236}">
                <a16:creationId xmlns:a16="http://schemas.microsoft.com/office/drawing/2014/main" id="{02E38D53-B9C2-8C4D-9B4D-2DCA657FC538}"/>
              </a:ext>
            </a:extLst>
          </p:cNvPr>
          <p:cNvSpPr>
            <a:spLocks noGrp="1"/>
          </p:cNvSpPr>
          <p:nvPr>
            <p:ph type="dt" sz="half" idx="10"/>
          </p:nvPr>
        </p:nvSpPr>
        <p:spPr>
          <a:xfrm>
            <a:off x="323851" y="4972079"/>
            <a:ext cx="494319" cy="92455"/>
          </a:xfrm>
        </p:spPr>
        <p:txBody>
          <a:bodyPr/>
          <a:lstStyle/>
          <a:p>
            <a:fld id="{E9EF77A4-AFBE-41A2-9E81-238D4A1AE177}" type="datetime1">
              <a:rPr lang="de-DE" smtClean="0"/>
              <a:t>24.01.2024</a:t>
            </a:fld>
            <a:endParaRPr lang="en-US"/>
          </a:p>
        </p:txBody>
      </p:sp>
      <p:sp>
        <p:nvSpPr>
          <p:cNvPr id="4" name="Footer Placeholder 3">
            <a:extLst>
              <a:ext uri="{FF2B5EF4-FFF2-40B4-BE49-F238E27FC236}">
                <a16:creationId xmlns:a16="http://schemas.microsoft.com/office/drawing/2014/main" id="{3BE681BA-592A-5047-9AD9-7EA40D099B0A}"/>
              </a:ext>
            </a:extLst>
          </p:cNvPr>
          <p:cNvSpPr>
            <a:spLocks noGrp="1"/>
          </p:cNvSpPr>
          <p:nvPr>
            <p:ph type="ftr" sz="quarter" idx="11"/>
          </p:nvPr>
        </p:nvSpPr>
        <p:spPr>
          <a:xfrm>
            <a:off x="2424056" y="4972079"/>
            <a:ext cx="4295888" cy="92455"/>
          </a:xfrm>
        </p:spPr>
        <p:txBody>
          <a:bodyPr/>
          <a:lstStyle/>
          <a:p>
            <a:pPr marL="4763" algn="ctr">
              <a:spcBef>
                <a:spcPts val="51"/>
              </a:spcBef>
            </a:pPr>
            <a:r>
              <a:rPr lang="en-US" spc="7"/>
              <a:t>P3 | Master Thesis Update | Arav Barot</a:t>
            </a:r>
            <a:endParaRPr lang="en-US" spc="-7"/>
          </a:p>
        </p:txBody>
      </p:sp>
      <p:sp>
        <p:nvSpPr>
          <p:cNvPr id="5" name="Slide Number Placeholder 4">
            <a:extLst>
              <a:ext uri="{FF2B5EF4-FFF2-40B4-BE49-F238E27FC236}">
                <a16:creationId xmlns:a16="http://schemas.microsoft.com/office/drawing/2014/main" id="{F3A1D6D2-74E2-CD43-A62B-E74FF4DF68FF}"/>
              </a:ext>
            </a:extLst>
          </p:cNvPr>
          <p:cNvSpPr>
            <a:spLocks noGrp="1"/>
          </p:cNvSpPr>
          <p:nvPr>
            <p:ph type="sldNum" sz="quarter" idx="12"/>
          </p:nvPr>
        </p:nvSpPr>
        <p:spPr>
          <a:xfrm>
            <a:off x="8482628" y="4972079"/>
            <a:ext cx="337523" cy="92455"/>
          </a:xfrm>
        </p:spPr>
        <p:txBody>
          <a:bodyPr/>
          <a:lstStyle/>
          <a:p>
            <a:pPr algn="r"/>
            <a:fld id="{B6F15528-21DE-4FAA-801E-634DDDAF4B2B}" type="slidenum">
              <a:rPr lang="en-RO" smtClean="0"/>
              <a:pPr algn="r"/>
              <a:t>‹#›</a:t>
            </a:fld>
            <a:endParaRPr lang="en-RO"/>
          </a:p>
        </p:txBody>
      </p:sp>
      <p:sp>
        <p:nvSpPr>
          <p:cNvPr id="16" name="Text Placeholder 14">
            <a:extLst>
              <a:ext uri="{FF2B5EF4-FFF2-40B4-BE49-F238E27FC236}">
                <a16:creationId xmlns:a16="http://schemas.microsoft.com/office/drawing/2014/main" id="{1A4AA961-EEC0-B242-A2EB-258EC808F765}"/>
              </a:ext>
            </a:extLst>
          </p:cNvPr>
          <p:cNvSpPr>
            <a:spLocks noGrp="1"/>
          </p:cNvSpPr>
          <p:nvPr>
            <p:ph idx="1"/>
          </p:nvPr>
        </p:nvSpPr>
        <p:spPr>
          <a:xfrm>
            <a:off x="323851" y="1115766"/>
            <a:ext cx="8496299" cy="3516956"/>
          </a:xfrm>
          <a:prstGeom prst="rect">
            <a:avLst/>
          </a:prstGeom>
        </p:spPr>
        <p:txBody>
          <a:bodyPr vert="horz" lIns="0" tIns="45720" rIns="91440" bIns="45720" rtlCol="0">
            <a:normAutofit/>
          </a:bodyPr>
          <a:lstStyle>
            <a:lvl1pPr marL="89998" indent="-89998">
              <a:defRPr/>
            </a:lvl1pPr>
            <a:lvl2pPr indent="-89998">
              <a:defRPr/>
            </a:lvl2pPr>
            <a:lvl3pPr indent="-89998">
              <a:defRPr/>
            </a:lvl3pPr>
            <a:lvl4pPr indent="-89998">
              <a:defRPr/>
            </a:lvl4pPr>
            <a:lvl5pPr indent="-8999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8" name="Text Placeholder 4">
            <a:extLst>
              <a:ext uri="{FF2B5EF4-FFF2-40B4-BE49-F238E27FC236}">
                <a16:creationId xmlns:a16="http://schemas.microsoft.com/office/drawing/2014/main" id="{1601C9F1-E284-0545-8320-360C4DB5B7C5}"/>
              </a:ext>
            </a:extLst>
          </p:cNvPr>
          <p:cNvSpPr>
            <a:spLocks noGrp="1"/>
          </p:cNvSpPr>
          <p:nvPr>
            <p:ph type="body" sz="quarter" idx="77" hasCustomPrompt="1"/>
          </p:nvPr>
        </p:nvSpPr>
        <p:spPr>
          <a:xfrm>
            <a:off x="323851" y="570062"/>
            <a:ext cx="6982437"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Subtitle</a:t>
            </a:r>
          </a:p>
        </p:txBody>
      </p:sp>
      <p:sp>
        <p:nvSpPr>
          <p:cNvPr id="19" name="Text Placeholder 4">
            <a:extLst>
              <a:ext uri="{FF2B5EF4-FFF2-40B4-BE49-F238E27FC236}">
                <a16:creationId xmlns:a16="http://schemas.microsoft.com/office/drawing/2014/main" id="{E08A88AE-F782-7648-A6F6-47846F5DC0DF}"/>
              </a:ext>
            </a:extLst>
          </p:cNvPr>
          <p:cNvSpPr>
            <a:spLocks noGrp="1"/>
          </p:cNvSpPr>
          <p:nvPr>
            <p:ph type="body" sz="quarter" idx="78" hasCustomPrompt="1"/>
          </p:nvPr>
        </p:nvSpPr>
        <p:spPr>
          <a:xfrm>
            <a:off x="323852" y="169202"/>
            <a:ext cx="6987753" cy="373949"/>
          </a:xfrm>
          <a:prstGeom prst="rect">
            <a:avLst/>
          </a:prstGeom>
        </p:spPr>
        <p:txBody>
          <a:bodyPr vert="horz" wrap="square" lIns="0" tIns="0" rIns="0" bIns="0" rtlCol="0">
            <a:spAutoFit/>
          </a:bodyPr>
          <a:lstStyle>
            <a:lvl1pPr marL="0" indent="0">
              <a:buNone/>
              <a:defRPr lang="en-US" sz="2700" spc="-151" baseline="0" dirty="0">
                <a:solidFill>
                  <a:schemeClr val="bg1"/>
                </a:solidFill>
              </a:defRPr>
            </a:lvl1pPr>
          </a:lstStyle>
          <a:p>
            <a:pPr marL="67498" lvl="0" indent="-67498">
              <a:spcBef>
                <a:spcPts val="0"/>
              </a:spcBef>
            </a:pPr>
            <a:r>
              <a:rPr lang="en-US"/>
              <a:t>Title</a:t>
            </a:r>
          </a:p>
        </p:txBody>
      </p:sp>
      <p:pic>
        <p:nvPicPr>
          <p:cNvPr id="20" name="Graphic 19">
            <a:extLst>
              <a:ext uri="{FF2B5EF4-FFF2-40B4-BE49-F238E27FC236}">
                <a16:creationId xmlns:a16="http://schemas.microsoft.com/office/drawing/2014/main" id="{4F0A64D2-4697-0A40-9A6B-8DD8A78004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2210308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 Gradient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FB7CE2-AFDE-43F0-B853-9B67159CC173}"/>
              </a:ext>
            </a:extLst>
          </p:cNvPr>
          <p:cNvSpPr/>
          <p:nvPr userDrawn="1"/>
        </p:nvSpPr>
        <p:spPr>
          <a:xfrm>
            <a:off x="1" y="0"/>
            <a:ext cx="9144000" cy="5143500"/>
          </a:xfrm>
          <a:prstGeom prst="rect">
            <a:avLst/>
          </a:prstGeom>
          <a:gradFill flip="none" rotWithShape="1">
            <a:gsLst>
              <a:gs pos="0">
                <a:schemeClr val="accent4">
                  <a:lumMod val="75000"/>
                </a:schemeClr>
              </a:gs>
              <a:gs pos="75000">
                <a:schemeClr val="tx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4" name="Rectangle 13">
            <a:extLst>
              <a:ext uri="{FF2B5EF4-FFF2-40B4-BE49-F238E27FC236}">
                <a16:creationId xmlns:a16="http://schemas.microsoft.com/office/drawing/2014/main" id="{3C3C0C03-B8C0-5C46-A7CA-0767F2BC2B90}"/>
              </a:ext>
            </a:extLst>
          </p:cNvPr>
          <p:cNvSpPr/>
          <p:nvPr/>
        </p:nvSpPr>
        <p:spPr>
          <a:xfrm>
            <a:off x="1" y="0"/>
            <a:ext cx="9144000" cy="5143500"/>
          </a:xfrm>
          <a:prstGeom prst="rect">
            <a:avLst/>
          </a:prstGeom>
          <a:gradFill flip="none" rotWithShape="1">
            <a:gsLst>
              <a:gs pos="0">
                <a:schemeClr val="accent4">
                  <a:lumMod val="75000"/>
                </a:schemeClr>
              </a:gs>
              <a:gs pos="75000">
                <a:schemeClr val="tx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22" name="Text Placeholder 4"/>
          <p:cNvSpPr>
            <a:spLocks noGrp="1"/>
          </p:cNvSpPr>
          <p:nvPr>
            <p:ph type="body" sz="quarter" idx="14" hasCustomPrompt="1"/>
          </p:nvPr>
        </p:nvSpPr>
        <p:spPr>
          <a:xfrm>
            <a:off x="324000" y="1943886"/>
            <a:ext cx="6481589" cy="1262269"/>
          </a:xfrm>
          <a:prstGeom prst="rect">
            <a:avLst/>
          </a:prstGeom>
        </p:spPr>
        <p:txBody>
          <a:bodyPr wrap="square" lIns="0" tIns="0" rIns="0" bIns="0">
            <a:spAutoFit/>
          </a:bodyPr>
          <a:lstStyle>
            <a:lvl1pPr marL="0" indent="0">
              <a:lnSpc>
                <a:spcPct val="80000"/>
              </a:lnSpc>
              <a:spcBef>
                <a:spcPts val="0"/>
              </a:spcBef>
              <a:buFontTx/>
              <a:buNone/>
              <a:defRPr sz="5100" spc="-151" baseline="0">
                <a:solidFill>
                  <a:schemeClr val="bg1"/>
                </a:solidFill>
                <a:latin typeface="+mn-lt"/>
              </a:defRPr>
            </a:lvl1pPr>
          </a:lstStyle>
          <a:p>
            <a:pPr lvl="0"/>
            <a:r>
              <a:rPr lang="en-US"/>
              <a:t>Lorem ipsum dolor sit </a:t>
            </a:r>
            <a:r>
              <a:rPr lang="en-US" err="1"/>
              <a:t>amet</a:t>
            </a:r>
            <a:endParaRPr lang="en-US"/>
          </a:p>
        </p:txBody>
      </p:sp>
      <p:sp>
        <p:nvSpPr>
          <p:cNvPr id="7" name="Text Placeholder 4">
            <a:extLst>
              <a:ext uri="{FF2B5EF4-FFF2-40B4-BE49-F238E27FC236}">
                <a16:creationId xmlns:a16="http://schemas.microsoft.com/office/drawing/2014/main" id="{59A31858-4983-714E-8A3A-977BBFAC8DB8}"/>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rgbClr val="3399FF"/>
                </a:solidFill>
                <a:latin typeface="+mj-lt"/>
              </a:defRPr>
            </a:lvl1pPr>
          </a:lstStyle>
          <a:p>
            <a:r>
              <a:rPr lang="en-US"/>
              <a:t>Lorem ipsum dolor sit </a:t>
            </a:r>
            <a:r>
              <a:rPr lang="en-US" err="1"/>
              <a:t>amet</a:t>
            </a:r>
            <a:endParaRPr lang="en-US"/>
          </a:p>
        </p:txBody>
      </p:sp>
      <p:sp>
        <p:nvSpPr>
          <p:cNvPr id="8" name="Text Placeholder 4">
            <a:extLst>
              <a:ext uri="{FF2B5EF4-FFF2-40B4-BE49-F238E27FC236}">
                <a16:creationId xmlns:a16="http://schemas.microsoft.com/office/drawing/2014/main" id="{B8DD12A0-9573-2D45-B04A-F543A6A304B1}"/>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Lorem ipsum</a:t>
            </a:r>
          </a:p>
        </p:txBody>
      </p:sp>
      <p:sp>
        <p:nvSpPr>
          <p:cNvPr id="10" name="Date Placeholder 2">
            <a:extLst>
              <a:ext uri="{FF2B5EF4-FFF2-40B4-BE49-F238E27FC236}">
                <a16:creationId xmlns:a16="http://schemas.microsoft.com/office/drawing/2014/main" id="{11B9FFE4-7C54-5944-8938-EC3AE1D807F2}"/>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51F4563E-3879-40C3-9754-17B1D0734F9D}" type="datetime1">
              <a:rPr lang="de-DE" smtClean="0"/>
              <a:t>24.01.2024</a:t>
            </a:fld>
            <a:endParaRPr lang="en-US"/>
          </a:p>
        </p:txBody>
      </p:sp>
      <p:sp>
        <p:nvSpPr>
          <p:cNvPr id="16" name="Footer Placeholder 3">
            <a:extLst>
              <a:ext uri="{FF2B5EF4-FFF2-40B4-BE49-F238E27FC236}">
                <a16:creationId xmlns:a16="http://schemas.microsoft.com/office/drawing/2014/main" id="{F010C23D-818E-6A4A-9A94-477103C9F350}"/>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7" name="Graphic 16">
            <a:extLst>
              <a:ext uri="{FF2B5EF4-FFF2-40B4-BE49-F238E27FC236}">
                <a16:creationId xmlns:a16="http://schemas.microsoft.com/office/drawing/2014/main" id="{79DAED6B-0795-3B41-A53A-7EFD048651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8" name="Slide Number Placeholder 4">
            <a:extLst>
              <a:ext uri="{FF2B5EF4-FFF2-40B4-BE49-F238E27FC236}">
                <a16:creationId xmlns:a16="http://schemas.microsoft.com/office/drawing/2014/main" id="{E86DDADC-E53A-EA4E-9AF9-E52010F54788}"/>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9849953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 Gradient 3">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9C4ECB1-18D6-4D62-A0CE-ED0214774067}"/>
              </a:ext>
            </a:extLst>
          </p:cNvPr>
          <p:cNvSpPr/>
          <p:nvPr userDrawn="1"/>
        </p:nvSpPr>
        <p:spPr>
          <a:xfrm>
            <a:off x="1" y="0"/>
            <a:ext cx="9144000" cy="5143500"/>
          </a:xfrm>
          <a:prstGeom prst="rect">
            <a:avLst/>
          </a:prstGeom>
          <a:gradFill flip="none" rotWithShape="1">
            <a:gsLst>
              <a:gs pos="0">
                <a:schemeClr val="accent2"/>
              </a:gs>
              <a:gs pos="75000">
                <a:schemeClr val="tx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18" name="Rectangle 17">
            <a:extLst>
              <a:ext uri="{FF2B5EF4-FFF2-40B4-BE49-F238E27FC236}">
                <a16:creationId xmlns:a16="http://schemas.microsoft.com/office/drawing/2014/main" id="{611CBB86-7C81-D94C-8C82-9F81ED41087B}"/>
              </a:ext>
            </a:extLst>
          </p:cNvPr>
          <p:cNvSpPr/>
          <p:nvPr/>
        </p:nvSpPr>
        <p:spPr>
          <a:xfrm>
            <a:off x="1" y="0"/>
            <a:ext cx="9144000" cy="5143500"/>
          </a:xfrm>
          <a:prstGeom prst="rect">
            <a:avLst/>
          </a:prstGeom>
          <a:gradFill flip="none" rotWithShape="1">
            <a:gsLst>
              <a:gs pos="0">
                <a:schemeClr val="accent2"/>
              </a:gs>
              <a:gs pos="75000">
                <a:schemeClr val="tx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a:p>
        </p:txBody>
      </p:sp>
      <p:sp>
        <p:nvSpPr>
          <p:cNvPr id="7" name="Text Placeholder 4">
            <a:extLst>
              <a:ext uri="{FF2B5EF4-FFF2-40B4-BE49-F238E27FC236}">
                <a16:creationId xmlns:a16="http://schemas.microsoft.com/office/drawing/2014/main" id="{CA49EB4E-F658-3F42-8EAF-8280F1329729}"/>
              </a:ext>
            </a:extLst>
          </p:cNvPr>
          <p:cNvSpPr>
            <a:spLocks noGrp="1"/>
          </p:cNvSpPr>
          <p:nvPr>
            <p:ph type="body" sz="quarter" idx="14" hasCustomPrompt="1"/>
          </p:nvPr>
        </p:nvSpPr>
        <p:spPr>
          <a:xfrm>
            <a:off x="324000" y="1943886"/>
            <a:ext cx="6481589" cy="1262269"/>
          </a:xfrm>
          <a:prstGeom prst="rect">
            <a:avLst/>
          </a:prstGeom>
        </p:spPr>
        <p:txBody>
          <a:bodyPr wrap="square" lIns="0" tIns="0" rIns="0" bIns="0">
            <a:spAutoFit/>
          </a:bodyPr>
          <a:lstStyle>
            <a:lvl1pPr marL="0" indent="0">
              <a:lnSpc>
                <a:spcPct val="80000"/>
              </a:lnSpc>
              <a:spcBef>
                <a:spcPts val="0"/>
              </a:spcBef>
              <a:buFontTx/>
              <a:buNone/>
              <a:defRPr sz="5100" spc="-151" baseline="0">
                <a:solidFill>
                  <a:schemeClr val="bg1"/>
                </a:solidFill>
                <a:latin typeface="+mn-lt"/>
              </a:defRPr>
            </a:lvl1pPr>
          </a:lstStyle>
          <a:p>
            <a:pPr lvl="0"/>
            <a:r>
              <a:rPr lang="en-US"/>
              <a:t>Lorem ipsum dolor sit </a:t>
            </a:r>
            <a:r>
              <a:rPr lang="en-US" err="1"/>
              <a:t>amet</a:t>
            </a:r>
            <a:endParaRPr lang="en-US"/>
          </a:p>
        </p:txBody>
      </p:sp>
      <p:sp>
        <p:nvSpPr>
          <p:cNvPr id="8" name="Text Placeholder 4">
            <a:extLst>
              <a:ext uri="{FF2B5EF4-FFF2-40B4-BE49-F238E27FC236}">
                <a16:creationId xmlns:a16="http://schemas.microsoft.com/office/drawing/2014/main" id="{667373A9-2E59-ED41-9D2E-A953F481EA8B}"/>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rgbClr val="3399FF"/>
                </a:solidFill>
                <a:latin typeface="+mj-lt"/>
              </a:defRPr>
            </a:lvl1pPr>
          </a:lstStyle>
          <a:p>
            <a:r>
              <a:rPr lang="en-US"/>
              <a:t>Lorem ipsum dolor sit </a:t>
            </a:r>
            <a:r>
              <a:rPr lang="en-US" err="1"/>
              <a:t>amet</a:t>
            </a:r>
            <a:endParaRPr lang="en-US"/>
          </a:p>
        </p:txBody>
      </p:sp>
      <p:sp>
        <p:nvSpPr>
          <p:cNvPr id="9" name="Text Placeholder 4">
            <a:extLst>
              <a:ext uri="{FF2B5EF4-FFF2-40B4-BE49-F238E27FC236}">
                <a16:creationId xmlns:a16="http://schemas.microsoft.com/office/drawing/2014/main" id="{11373B77-5CE4-EE48-9D06-6D64E1EEBDF7}"/>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Lorem ipsum</a:t>
            </a:r>
          </a:p>
        </p:txBody>
      </p:sp>
      <p:sp>
        <p:nvSpPr>
          <p:cNvPr id="10" name="Date Placeholder 2">
            <a:extLst>
              <a:ext uri="{FF2B5EF4-FFF2-40B4-BE49-F238E27FC236}">
                <a16:creationId xmlns:a16="http://schemas.microsoft.com/office/drawing/2014/main" id="{22B98018-8AF8-A540-940C-20BAC57B756E}"/>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538EF31B-2E71-4CF4-8EE8-9957FFF79C79}" type="datetime1">
              <a:rPr lang="de-DE" smtClean="0"/>
              <a:t>24.01.2024</a:t>
            </a:fld>
            <a:endParaRPr lang="en-US"/>
          </a:p>
        </p:txBody>
      </p:sp>
      <p:sp>
        <p:nvSpPr>
          <p:cNvPr id="15" name="Footer Placeholder 3">
            <a:extLst>
              <a:ext uri="{FF2B5EF4-FFF2-40B4-BE49-F238E27FC236}">
                <a16:creationId xmlns:a16="http://schemas.microsoft.com/office/drawing/2014/main" id="{10678D7B-3AF4-7147-8A20-C29BE96888AF}"/>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6" name="Graphic 15">
            <a:extLst>
              <a:ext uri="{FF2B5EF4-FFF2-40B4-BE49-F238E27FC236}">
                <a16:creationId xmlns:a16="http://schemas.microsoft.com/office/drawing/2014/main" id="{78D6674D-39A4-174D-9458-0E90A3BB42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7" name="Slide Number Placeholder 4">
            <a:extLst>
              <a:ext uri="{FF2B5EF4-FFF2-40B4-BE49-F238E27FC236}">
                <a16:creationId xmlns:a16="http://schemas.microsoft.com/office/drawing/2014/main" id="{AC86669F-6CCF-2645-ACD4-A7902E5A5206}"/>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199168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Gradient 4">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DBCC86D-A9FB-1441-B74B-E7D9B3ADFEE5}"/>
              </a:ext>
            </a:extLst>
          </p:cNvPr>
          <p:cNvPicPr>
            <a:picLocks noChangeAspect="1"/>
          </p:cNvPicPr>
          <p:nvPr/>
        </p:nvPicPr>
        <p:blipFill rotWithShape="1">
          <a:blip r:embed="rId2">
            <a:extLst>
              <a:ext uri="{28A0092B-C50C-407E-A947-70E740481C1C}">
                <a14:useLocalDpi xmlns:a14="http://schemas.microsoft.com/office/drawing/2010/main" val="0"/>
              </a:ext>
            </a:extLst>
          </a:blip>
          <a:srcRect l="1828" t="730" r="1828" b="730"/>
          <a:stretch/>
        </p:blipFill>
        <p:spPr>
          <a:xfrm>
            <a:off x="0" y="1"/>
            <a:ext cx="9144000" cy="5143499"/>
          </a:xfrm>
          <a:prstGeom prst="rect">
            <a:avLst/>
          </a:prstGeom>
        </p:spPr>
      </p:pic>
      <p:pic>
        <p:nvPicPr>
          <p:cNvPr id="14" name="Picture 13">
            <a:extLst>
              <a:ext uri="{FF2B5EF4-FFF2-40B4-BE49-F238E27FC236}">
                <a16:creationId xmlns:a16="http://schemas.microsoft.com/office/drawing/2014/main" id="{C6AFF7F2-7EE9-41D4-BCB5-9CFDE2D1CEE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828" t="730" r="1828" b="730"/>
          <a:stretch/>
        </p:blipFill>
        <p:spPr>
          <a:xfrm>
            <a:off x="0" y="1"/>
            <a:ext cx="9144000" cy="5143499"/>
          </a:xfrm>
          <a:prstGeom prst="rect">
            <a:avLst/>
          </a:prstGeom>
        </p:spPr>
      </p:pic>
      <p:sp>
        <p:nvSpPr>
          <p:cNvPr id="7" name="Text Placeholder 4">
            <a:extLst>
              <a:ext uri="{FF2B5EF4-FFF2-40B4-BE49-F238E27FC236}">
                <a16:creationId xmlns:a16="http://schemas.microsoft.com/office/drawing/2014/main" id="{59A31858-4983-714E-8A3A-977BBFAC8DB8}"/>
              </a:ext>
            </a:extLst>
          </p:cNvPr>
          <p:cNvSpPr>
            <a:spLocks noGrp="1"/>
          </p:cNvSpPr>
          <p:nvPr>
            <p:ph type="body" sz="quarter" idx="77" hasCustomPrompt="1"/>
          </p:nvPr>
        </p:nvSpPr>
        <p:spPr>
          <a:xfrm>
            <a:off x="324001" y="569828"/>
            <a:ext cx="7103775" cy="119392"/>
          </a:xfrm>
          <a:prstGeom prst="rect">
            <a:avLst/>
          </a:prstGeom>
        </p:spPr>
        <p:txBody>
          <a:bodyPr wrap="square" lIns="0" tIns="0" rIns="0" bIns="0">
            <a:spAutoFit/>
          </a:bodyPr>
          <a:lstStyle>
            <a:lvl1pPr marL="0" indent="0">
              <a:lnSpc>
                <a:spcPct val="120000"/>
              </a:lnSpc>
              <a:spcBef>
                <a:spcPts val="0"/>
              </a:spcBef>
              <a:spcAft>
                <a:spcPts val="0"/>
              </a:spcAft>
              <a:buFontTx/>
              <a:buNone/>
              <a:defRPr sz="700" cap="all" spc="56" baseline="0">
                <a:solidFill>
                  <a:schemeClr val="bg1"/>
                </a:solidFill>
                <a:latin typeface="+mj-lt"/>
              </a:defRPr>
            </a:lvl1pPr>
          </a:lstStyle>
          <a:p>
            <a:r>
              <a:rPr lang="en-US"/>
              <a:t>WE SERVE A WIDE RANGE OF INDUSTRIES </a:t>
            </a:r>
          </a:p>
        </p:txBody>
      </p:sp>
      <p:sp>
        <p:nvSpPr>
          <p:cNvPr id="8" name="Text Placeholder 4">
            <a:extLst>
              <a:ext uri="{FF2B5EF4-FFF2-40B4-BE49-F238E27FC236}">
                <a16:creationId xmlns:a16="http://schemas.microsoft.com/office/drawing/2014/main" id="{B8DD12A0-9573-2D45-B04A-F543A6A304B1}"/>
              </a:ext>
            </a:extLst>
          </p:cNvPr>
          <p:cNvSpPr>
            <a:spLocks noGrp="1"/>
          </p:cNvSpPr>
          <p:nvPr>
            <p:ph type="body" sz="quarter" idx="78" hasCustomPrompt="1"/>
          </p:nvPr>
        </p:nvSpPr>
        <p:spPr>
          <a:xfrm>
            <a:off x="324001" y="170008"/>
            <a:ext cx="7103775" cy="373949"/>
          </a:xfrm>
          <a:prstGeom prst="rect">
            <a:avLst/>
          </a:prstGeom>
        </p:spPr>
        <p:txBody>
          <a:bodyPr vert="horz" wrap="square" lIns="0" tIns="0" rIns="0" bIns="0" rtlCol="0">
            <a:spAutoFit/>
          </a:bodyPr>
          <a:lstStyle>
            <a:lvl1pPr marL="0" indent="0">
              <a:buNone/>
              <a:defRPr lang="en-US" sz="2700" spc="-151" baseline="0" dirty="0">
                <a:solidFill>
                  <a:srgbClr val="FFFFFF"/>
                </a:solidFill>
              </a:defRPr>
            </a:lvl1pPr>
          </a:lstStyle>
          <a:p>
            <a:pPr marL="67498" lvl="0" indent="-67498">
              <a:spcBef>
                <a:spcPts val="0"/>
              </a:spcBef>
            </a:pPr>
            <a:r>
              <a:rPr lang="en-US"/>
              <a:t>At a glance</a:t>
            </a:r>
          </a:p>
        </p:txBody>
      </p:sp>
      <p:sp>
        <p:nvSpPr>
          <p:cNvPr id="9" name="Date Placeholder 2">
            <a:extLst>
              <a:ext uri="{FF2B5EF4-FFF2-40B4-BE49-F238E27FC236}">
                <a16:creationId xmlns:a16="http://schemas.microsoft.com/office/drawing/2014/main" id="{3E02ED47-3404-014C-AF9E-49390B29A29C}"/>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C60663FC-6F8D-474F-AE72-CB3539E4BC67}" type="datetime1">
              <a:rPr lang="de-DE" smtClean="0"/>
              <a:t>24.01.2024</a:t>
            </a:fld>
            <a:endParaRPr lang="en-US"/>
          </a:p>
        </p:txBody>
      </p:sp>
      <p:sp>
        <p:nvSpPr>
          <p:cNvPr id="15" name="Text Placeholder 4">
            <a:extLst>
              <a:ext uri="{FF2B5EF4-FFF2-40B4-BE49-F238E27FC236}">
                <a16:creationId xmlns:a16="http://schemas.microsoft.com/office/drawing/2014/main" id="{8F70981C-17A9-3C4C-A738-D50C6E696816}"/>
              </a:ext>
            </a:extLst>
          </p:cNvPr>
          <p:cNvSpPr>
            <a:spLocks noGrp="1"/>
          </p:cNvSpPr>
          <p:nvPr>
            <p:ph type="body" sz="quarter" idx="14" hasCustomPrompt="1"/>
          </p:nvPr>
        </p:nvSpPr>
        <p:spPr>
          <a:xfrm>
            <a:off x="324000" y="1943886"/>
            <a:ext cx="6481589" cy="1262269"/>
          </a:xfrm>
          <a:prstGeom prst="rect">
            <a:avLst/>
          </a:prstGeom>
        </p:spPr>
        <p:txBody>
          <a:bodyPr wrap="square" lIns="0" tIns="0" rIns="0" bIns="0">
            <a:spAutoFit/>
          </a:bodyPr>
          <a:lstStyle>
            <a:lvl1pPr marL="0" indent="0">
              <a:lnSpc>
                <a:spcPct val="80000"/>
              </a:lnSpc>
              <a:spcBef>
                <a:spcPts val="0"/>
              </a:spcBef>
              <a:buFontTx/>
              <a:buNone/>
              <a:defRPr sz="5100" spc="-151" baseline="0">
                <a:solidFill>
                  <a:schemeClr val="bg1"/>
                </a:solidFill>
                <a:latin typeface="+mn-lt"/>
              </a:defRPr>
            </a:lvl1pPr>
          </a:lstStyle>
          <a:p>
            <a:pPr lvl="0"/>
            <a:r>
              <a:rPr lang="en-US"/>
              <a:t>Lorem ipsum dolor sit </a:t>
            </a:r>
            <a:r>
              <a:rPr lang="en-US" err="1"/>
              <a:t>amet</a:t>
            </a:r>
            <a:endParaRPr lang="en-US"/>
          </a:p>
        </p:txBody>
      </p:sp>
      <p:sp>
        <p:nvSpPr>
          <p:cNvPr id="16" name="Footer Placeholder 3">
            <a:extLst>
              <a:ext uri="{FF2B5EF4-FFF2-40B4-BE49-F238E27FC236}">
                <a16:creationId xmlns:a16="http://schemas.microsoft.com/office/drawing/2014/main" id="{02B5D9F0-3908-CA41-8535-3CF6A04A3825}"/>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7" name="Graphic 16">
            <a:extLst>
              <a:ext uri="{FF2B5EF4-FFF2-40B4-BE49-F238E27FC236}">
                <a16:creationId xmlns:a16="http://schemas.microsoft.com/office/drawing/2014/main" id="{9C70221E-A3C2-4148-8C3E-DFBB9B31021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908" y="202500"/>
            <a:ext cx="312243" cy="302760"/>
          </a:xfrm>
          <a:prstGeom prst="rect">
            <a:avLst/>
          </a:prstGeom>
        </p:spPr>
      </p:pic>
      <p:sp>
        <p:nvSpPr>
          <p:cNvPr id="18" name="Slide Number Placeholder 4">
            <a:extLst>
              <a:ext uri="{FF2B5EF4-FFF2-40B4-BE49-F238E27FC236}">
                <a16:creationId xmlns:a16="http://schemas.microsoft.com/office/drawing/2014/main" id="{38A5FF54-4256-9146-9CA8-E08572FD4E6D}"/>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17266730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asic - Blank">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8D8155A-19CC-4C85-89F8-A55168F76CEA}"/>
              </a:ext>
            </a:extLst>
          </p:cNvPr>
          <p:cNvGraphicFramePr>
            <a:graphicFrameLocks noChangeAspect="1"/>
          </p:cNvGraphicFramePr>
          <p:nvPr userDrawn="1">
            <p:custDataLst>
              <p:tags r:id="rId1"/>
            </p:custDataLst>
            <p:extLst>
              <p:ext uri="{D42A27DB-BD31-4B8C-83A1-F6EECF244321}">
                <p14:modId xmlns:p14="http://schemas.microsoft.com/office/powerpoint/2010/main" val="55374006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606" imgH="608" progId="TCLayout.ActiveDocument.1">
                  <p:embed/>
                </p:oleObj>
              </mc:Choice>
              <mc:Fallback>
                <p:oleObj name="think-cell Folie" r:id="rId3" imgW="606" imgH="608" progId="TCLayout.ActiveDocument.1">
                  <p:embed/>
                  <p:pic>
                    <p:nvPicPr>
                      <p:cNvPr id="4" name="Objekt 3" hidden="1">
                        <a:extLst>
                          <a:ext uri="{FF2B5EF4-FFF2-40B4-BE49-F238E27FC236}">
                            <a16:creationId xmlns:a16="http://schemas.microsoft.com/office/drawing/2014/main" id="{F8D8155A-19CC-4C85-89F8-A55168F76CEA}"/>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20" name="Graphic 19">
            <a:extLst>
              <a:ext uri="{FF2B5EF4-FFF2-40B4-BE49-F238E27FC236}">
                <a16:creationId xmlns:a16="http://schemas.microsoft.com/office/drawing/2014/main" id="{4F0A64D2-4697-0A40-9A6B-8DD8A78004C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07908" y="202500"/>
            <a:ext cx="312243" cy="302760"/>
          </a:xfrm>
          <a:prstGeom prst="rect">
            <a:avLst/>
          </a:prstGeom>
        </p:spPr>
      </p:pic>
      <p:sp>
        <p:nvSpPr>
          <p:cNvPr id="8" name="Text Placeholder 4">
            <a:extLst>
              <a:ext uri="{FF2B5EF4-FFF2-40B4-BE49-F238E27FC236}">
                <a16:creationId xmlns:a16="http://schemas.microsoft.com/office/drawing/2014/main" id="{1F43BCD3-8FDE-0FC0-BCCC-48578B55031A}"/>
              </a:ext>
            </a:extLst>
          </p:cNvPr>
          <p:cNvSpPr>
            <a:spLocks noGrp="1"/>
          </p:cNvSpPr>
          <p:nvPr>
            <p:ph type="body" sz="quarter" idx="77" hasCustomPrompt="1"/>
          </p:nvPr>
        </p:nvSpPr>
        <p:spPr>
          <a:xfrm>
            <a:off x="323849" y="202500"/>
            <a:ext cx="7920000"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accent3"/>
                </a:solidFill>
                <a:latin typeface="+mj-lt"/>
              </a:defRPr>
            </a:lvl1pPr>
          </a:lstStyle>
          <a:p>
            <a:r>
              <a:rPr lang="en-US"/>
              <a:t>Edit Subtitle</a:t>
            </a:r>
          </a:p>
        </p:txBody>
      </p:sp>
      <p:sp>
        <p:nvSpPr>
          <p:cNvPr id="2" name="Title 1">
            <a:extLst>
              <a:ext uri="{FF2B5EF4-FFF2-40B4-BE49-F238E27FC236}">
                <a16:creationId xmlns:a16="http://schemas.microsoft.com/office/drawing/2014/main" id="{CE266FC2-DA4A-18F7-CB92-A839B3126E29}"/>
              </a:ext>
            </a:extLst>
          </p:cNvPr>
          <p:cNvSpPr>
            <a:spLocks noGrp="1"/>
          </p:cNvSpPr>
          <p:nvPr>
            <p:ph type="title" hasCustomPrompt="1"/>
          </p:nvPr>
        </p:nvSpPr>
        <p:spPr>
          <a:xfrm>
            <a:off x="323849" y="423199"/>
            <a:ext cx="7920000" cy="457200"/>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6" name="Date Placeholder 5">
            <a:extLst>
              <a:ext uri="{FF2B5EF4-FFF2-40B4-BE49-F238E27FC236}">
                <a16:creationId xmlns:a16="http://schemas.microsoft.com/office/drawing/2014/main" id="{B3180E40-D65F-1C6C-EC8D-98DAD3A3F09B}"/>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7" name="Footer Placeholder 6">
            <a:extLst>
              <a:ext uri="{FF2B5EF4-FFF2-40B4-BE49-F238E27FC236}">
                <a16:creationId xmlns:a16="http://schemas.microsoft.com/office/drawing/2014/main" id="{770679BC-2FE5-0B42-0F7B-583850F7AFEC}"/>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10" name="Slide Number Placeholder 9">
            <a:extLst>
              <a:ext uri="{FF2B5EF4-FFF2-40B4-BE49-F238E27FC236}">
                <a16:creationId xmlns:a16="http://schemas.microsoft.com/office/drawing/2014/main" id="{7022A33E-5801-F1D8-3E6F-FBB95473F2F5}"/>
              </a:ext>
            </a:extLst>
          </p:cNvPr>
          <p:cNvSpPr>
            <a:spLocks noGrp="1"/>
          </p:cNvSpPr>
          <p:nvPr>
            <p:ph type="sldNum" sz="quarter" idx="80"/>
          </p:nvPr>
        </p:nvSpPr>
        <p:spPr/>
        <p:txBody>
          <a:body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37109437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25_Titel + Untertitel ohne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E7783A7-C43E-4010-ABB7-6B203A63DAFE}"/>
              </a:ext>
            </a:extLst>
          </p:cNvPr>
          <p:cNvGraphicFramePr>
            <a:graphicFrameLocks noChangeAspect="1"/>
          </p:cNvGraphicFramePr>
          <p:nvPr>
            <p:custDataLst>
              <p:tags r:id="rId1"/>
            </p:custDataLst>
            <p:extLst>
              <p:ext uri="{D42A27DB-BD31-4B8C-83A1-F6EECF244321}">
                <p14:modId xmlns:p14="http://schemas.microsoft.com/office/powerpoint/2010/main" val="373162810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3" name="Objekt 2" hidden="1">
                        <a:extLst>
                          <a:ext uri="{FF2B5EF4-FFF2-40B4-BE49-F238E27FC236}">
                            <a16:creationId xmlns:a16="http://schemas.microsoft.com/office/drawing/2014/main" id="{6E7783A7-C43E-4010-ABB7-6B203A63DAF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A7493F1C-EC4A-7D45-8D08-9CD8AD5C18F4}"/>
              </a:ext>
            </a:extLst>
          </p:cNvPr>
          <p:cNvSpPr/>
          <p:nvPr/>
        </p:nvSpPr>
        <p:spPr>
          <a:xfrm>
            <a:off x="1" y="948848"/>
            <a:ext cx="9159049" cy="98738"/>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Font typeface="Wingdings" pitchFamily="2" charset="2"/>
              <a:buNone/>
            </a:pPr>
            <a:endParaRPr lang="en-US" sz="1400">
              <a:solidFill>
                <a:schemeClr val="tx1">
                  <a:lumMod val="95000"/>
                  <a:lumOff val="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 name="Title 1">
            <a:extLst>
              <a:ext uri="{FF2B5EF4-FFF2-40B4-BE49-F238E27FC236}">
                <a16:creationId xmlns:a16="http://schemas.microsoft.com/office/drawing/2014/main" id="{F0E63713-9BD6-4E4D-8D90-58DFB7F5AB4C}"/>
              </a:ext>
            </a:extLst>
          </p:cNvPr>
          <p:cNvSpPr>
            <a:spLocks noGrp="1"/>
          </p:cNvSpPr>
          <p:nvPr>
            <p:ph type="title" hasCustomPrompt="1"/>
          </p:nvPr>
        </p:nvSpPr>
        <p:spPr>
          <a:xfrm>
            <a:off x="249350" y="136058"/>
            <a:ext cx="8024261" cy="272156"/>
          </a:xfrm>
          <a:prstGeom prst="rect">
            <a:avLst/>
          </a:prstGeom>
        </p:spPr>
        <p:txBody>
          <a:bodyPr>
            <a:noAutofit/>
          </a:bodyPr>
          <a:lstStyle>
            <a:lvl1pPr>
              <a:defRPr>
                <a:latin typeface="Calibri Light" panose="020F0302020204030204" pitchFamily="34" charset="0"/>
                <a:cs typeface="Calibri Light" panose="020F0302020204030204" pitchFamily="34" charset="0"/>
                <a:sym typeface="Calibri Light" panose="020F0302020204030204" pitchFamily="34" charset="0"/>
              </a:defRPr>
            </a:lvl1pPr>
          </a:lstStyle>
          <a:p>
            <a:r>
              <a:rPr lang="de-DE"/>
              <a:t>Edit title</a:t>
            </a:r>
            <a:endParaRPr lang="en-US"/>
          </a:p>
        </p:txBody>
      </p:sp>
      <p:sp>
        <p:nvSpPr>
          <p:cNvPr id="14" name="Textplatzhalter 6">
            <a:extLst>
              <a:ext uri="{FF2B5EF4-FFF2-40B4-BE49-F238E27FC236}">
                <a16:creationId xmlns:a16="http://schemas.microsoft.com/office/drawing/2014/main" id="{E2899900-BB4E-4557-932C-CBA908AE54B0}"/>
              </a:ext>
            </a:extLst>
          </p:cNvPr>
          <p:cNvSpPr>
            <a:spLocks noGrp="1"/>
          </p:cNvSpPr>
          <p:nvPr>
            <p:ph type="body" sz="quarter" idx="13" hasCustomPrompt="1"/>
          </p:nvPr>
        </p:nvSpPr>
        <p:spPr>
          <a:xfrm>
            <a:off x="250826" y="494600"/>
            <a:ext cx="8022201" cy="286232"/>
          </a:xfrm>
          <a:prstGeom prst="rect">
            <a:avLst/>
          </a:prstGeom>
        </p:spPr>
        <p:txBody>
          <a:bodyPr>
            <a:spAutoFit/>
          </a:bodyPr>
          <a:lstStyle>
            <a:lvl1pPr marL="0" indent="0">
              <a:buFontTx/>
              <a:buNone/>
              <a:defRPr sz="1400">
                <a:latin typeface="Calibri Light" panose="020F0302020204030204" pitchFamily="34" charset="0"/>
                <a:cs typeface="Calibri Light" panose="020F0302020204030204" pitchFamily="34" charset="0"/>
                <a:sym typeface="Calibri Light" panose="020F0302020204030204" pitchFamily="34" charset="0"/>
              </a:defRPr>
            </a:lvl1pPr>
          </a:lstStyle>
          <a:p>
            <a:r>
              <a:rPr lang="de-DE"/>
              <a:t>Edit </a:t>
            </a:r>
            <a:r>
              <a:rPr lang="de-DE" err="1"/>
              <a:t>subtitle</a:t>
            </a:r>
            <a:endParaRPr lang="de-DE"/>
          </a:p>
        </p:txBody>
      </p:sp>
      <p:sp>
        <p:nvSpPr>
          <p:cNvPr id="6" name="Date Placeholder 5">
            <a:extLst>
              <a:ext uri="{FF2B5EF4-FFF2-40B4-BE49-F238E27FC236}">
                <a16:creationId xmlns:a16="http://schemas.microsoft.com/office/drawing/2014/main" id="{A834AE8B-DD76-41B2-8B40-C4561F6144D0}"/>
              </a:ext>
            </a:extLst>
          </p:cNvPr>
          <p:cNvSpPr>
            <a:spLocks noGrp="1"/>
          </p:cNvSpPr>
          <p:nvPr>
            <p:ph type="dt" sz="half" idx="14"/>
          </p:nvPr>
        </p:nvSpPr>
        <p:spPr/>
        <p:txBody>
          <a:bodyPr/>
          <a:lstStyle/>
          <a:p>
            <a:fld id="{44C86823-D965-4A5D-8256-75537331CB32}" type="datetime1">
              <a:rPr lang="de-DE" smtClean="0"/>
              <a:t>24.01.2024</a:t>
            </a:fld>
            <a:endParaRPr lang="en-US"/>
          </a:p>
        </p:txBody>
      </p:sp>
      <p:sp>
        <p:nvSpPr>
          <p:cNvPr id="7" name="Footer Placeholder 6">
            <a:extLst>
              <a:ext uri="{FF2B5EF4-FFF2-40B4-BE49-F238E27FC236}">
                <a16:creationId xmlns:a16="http://schemas.microsoft.com/office/drawing/2014/main" id="{A26E95D6-292A-4C88-8447-55A764FC5600}"/>
              </a:ext>
            </a:extLst>
          </p:cNvPr>
          <p:cNvSpPr>
            <a:spLocks noGrp="1"/>
          </p:cNvSpPr>
          <p:nvPr>
            <p:ph type="ftr" sz="quarter" idx="15"/>
          </p:nvPr>
        </p:nvSpPr>
        <p:spPr/>
        <p:txBody>
          <a:bodyPr/>
          <a:lstStyle/>
          <a:p>
            <a:r>
              <a:rPr lang="en-US"/>
              <a:t>P3 | Master Thesis Update | Arav Barot</a:t>
            </a:r>
            <a:endParaRPr lang="de-DE"/>
          </a:p>
        </p:txBody>
      </p:sp>
      <p:sp>
        <p:nvSpPr>
          <p:cNvPr id="8" name="Slide Number Placeholder 7">
            <a:extLst>
              <a:ext uri="{FF2B5EF4-FFF2-40B4-BE49-F238E27FC236}">
                <a16:creationId xmlns:a16="http://schemas.microsoft.com/office/drawing/2014/main" id="{EE57F446-ECB3-46E5-8BFC-7F04D9C6FBC9}"/>
              </a:ext>
            </a:extLst>
          </p:cNvPr>
          <p:cNvSpPr>
            <a:spLocks noGrp="1"/>
          </p:cNvSpPr>
          <p:nvPr>
            <p:ph type="sldNum" sz="quarter" idx="16"/>
          </p:nvPr>
        </p:nvSpPr>
        <p:spPr/>
        <p:txBody>
          <a:bodyPr/>
          <a:lstStyle/>
          <a:p>
            <a:fld id="{E9128632-72D1-F84F-99AA-6B3BB0B51F38}" type="slidenum">
              <a:rPr lang="de-DE" smtClean="0"/>
              <a:pPr/>
              <a:t>‹#›</a:t>
            </a:fld>
            <a:endParaRPr lang="de-DE"/>
          </a:p>
        </p:txBody>
      </p:sp>
    </p:spTree>
    <p:extLst>
      <p:ext uri="{BB962C8B-B14F-4D97-AF65-F5344CB8AC3E}">
        <p14:creationId xmlns:p14="http://schemas.microsoft.com/office/powerpoint/2010/main" val="3904107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asic - Red header">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D09185BF-0C74-8147-86FC-D86A3464A2C8}"/>
              </a:ext>
            </a:extLst>
          </p:cNvPr>
          <p:cNvSpPr/>
          <p:nvPr userDrawn="1"/>
        </p:nvSpPr>
        <p:spPr>
          <a:xfrm>
            <a:off x="-3968" y="0"/>
            <a:ext cx="9147967" cy="847182"/>
          </a:xfrm>
          <a:custGeom>
            <a:avLst/>
            <a:gdLst/>
            <a:ahLst/>
            <a:cxnLst/>
            <a:rect l="l" t="t" r="r" b="b"/>
            <a:pathLst>
              <a:path w="6031230" h="11057255">
                <a:moveTo>
                  <a:pt x="6031219" y="0"/>
                </a:moveTo>
                <a:lnTo>
                  <a:pt x="0" y="0"/>
                </a:lnTo>
                <a:lnTo>
                  <a:pt x="0" y="11057254"/>
                </a:lnTo>
                <a:lnTo>
                  <a:pt x="6031219" y="11057254"/>
                </a:lnTo>
                <a:lnTo>
                  <a:pt x="6031219" y="0"/>
                </a:lnTo>
                <a:close/>
              </a:path>
            </a:pathLst>
          </a:custGeom>
          <a:solidFill>
            <a:schemeClr val="tx2">
              <a:lumMod val="75000"/>
            </a:schemeClr>
          </a:solidFill>
        </p:spPr>
        <p:txBody>
          <a:bodyPr wrap="square" lIns="0" tIns="0" rIns="0" bIns="0" rtlCol="0"/>
          <a:lstStyle/>
          <a:p>
            <a:endParaRPr sz="675"/>
          </a:p>
        </p:txBody>
      </p:sp>
      <p:sp>
        <p:nvSpPr>
          <p:cNvPr id="3" name="Date Placeholder 2">
            <a:extLst>
              <a:ext uri="{FF2B5EF4-FFF2-40B4-BE49-F238E27FC236}">
                <a16:creationId xmlns:a16="http://schemas.microsoft.com/office/drawing/2014/main" id="{02E38D53-B9C2-8C4D-9B4D-2DCA657FC538}"/>
              </a:ext>
            </a:extLst>
          </p:cNvPr>
          <p:cNvSpPr>
            <a:spLocks noGrp="1"/>
          </p:cNvSpPr>
          <p:nvPr>
            <p:ph type="dt" sz="half" idx="10"/>
          </p:nvPr>
        </p:nvSpPr>
        <p:spPr>
          <a:xfrm>
            <a:off x="323851" y="4972079"/>
            <a:ext cx="494319" cy="92455"/>
          </a:xfrm>
        </p:spPr>
        <p:txBody>
          <a:bodyPr/>
          <a:lstStyle/>
          <a:p>
            <a:fld id="{303A9A79-3EEF-464D-85E2-64FDA4E8F1B9}" type="datetime1">
              <a:rPr lang="de-DE" smtClean="0"/>
              <a:t>24.01.2024</a:t>
            </a:fld>
            <a:endParaRPr lang="en-US"/>
          </a:p>
        </p:txBody>
      </p:sp>
      <p:sp>
        <p:nvSpPr>
          <p:cNvPr id="4" name="Footer Placeholder 3">
            <a:extLst>
              <a:ext uri="{FF2B5EF4-FFF2-40B4-BE49-F238E27FC236}">
                <a16:creationId xmlns:a16="http://schemas.microsoft.com/office/drawing/2014/main" id="{3BE681BA-592A-5047-9AD9-7EA40D099B0A}"/>
              </a:ext>
            </a:extLst>
          </p:cNvPr>
          <p:cNvSpPr>
            <a:spLocks noGrp="1"/>
          </p:cNvSpPr>
          <p:nvPr>
            <p:ph type="ftr" sz="quarter" idx="11"/>
          </p:nvPr>
        </p:nvSpPr>
        <p:spPr>
          <a:xfrm>
            <a:off x="2424056" y="4972079"/>
            <a:ext cx="4295888" cy="92455"/>
          </a:xfrm>
        </p:spPr>
        <p:txBody>
          <a:bodyPr/>
          <a:lstStyle/>
          <a:p>
            <a:pPr marL="4763" algn="ctr">
              <a:spcBef>
                <a:spcPts val="51"/>
              </a:spcBef>
            </a:pPr>
            <a:r>
              <a:rPr lang="en-US" spc="7"/>
              <a:t>P3 | Master Thesis Update | Arav Barot</a:t>
            </a:r>
            <a:endParaRPr lang="en-US" spc="-7"/>
          </a:p>
        </p:txBody>
      </p:sp>
      <p:sp>
        <p:nvSpPr>
          <p:cNvPr id="5" name="Slide Number Placeholder 4">
            <a:extLst>
              <a:ext uri="{FF2B5EF4-FFF2-40B4-BE49-F238E27FC236}">
                <a16:creationId xmlns:a16="http://schemas.microsoft.com/office/drawing/2014/main" id="{F3A1D6D2-74E2-CD43-A62B-E74FF4DF68FF}"/>
              </a:ext>
            </a:extLst>
          </p:cNvPr>
          <p:cNvSpPr>
            <a:spLocks noGrp="1"/>
          </p:cNvSpPr>
          <p:nvPr>
            <p:ph type="sldNum" sz="quarter" idx="12"/>
          </p:nvPr>
        </p:nvSpPr>
        <p:spPr>
          <a:xfrm>
            <a:off x="8482628" y="4972079"/>
            <a:ext cx="337523" cy="92455"/>
          </a:xfrm>
        </p:spPr>
        <p:txBody>
          <a:bodyPr/>
          <a:lstStyle/>
          <a:p>
            <a:pPr algn="r"/>
            <a:fld id="{B6F15528-21DE-4FAA-801E-634DDDAF4B2B}" type="slidenum">
              <a:rPr lang="en-RO" smtClean="0"/>
              <a:pPr algn="r"/>
              <a:t>‹#›</a:t>
            </a:fld>
            <a:endParaRPr lang="en-RO"/>
          </a:p>
        </p:txBody>
      </p:sp>
      <p:sp>
        <p:nvSpPr>
          <p:cNvPr id="16" name="Text Placeholder 14">
            <a:extLst>
              <a:ext uri="{FF2B5EF4-FFF2-40B4-BE49-F238E27FC236}">
                <a16:creationId xmlns:a16="http://schemas.microsoft.com/office/drawing/2014/main" id="{1A4AA961-EEC0-B242-A2EB-258EC808F765}"/>
              </a:ext>
            </a:extLst>
          </p:cNvPr>
          <p:cNvSpPr>
            <a:spLocks noGrp="1"/>
          </p:cNvSpPr>
          <p:nvPr>
            <p:ph idx="1"/>
          </p:nvPr>
        </p:nvSpPr>
        <p:spPr>
          <a:xfrm>
            <a:off x="323851" y="1115766"/>
            <a:ext cx="8496299" cy="3516956"/>
          </a:xfrm>
          <a:prstGeom prst="rect">
            <a:avLst/>
          </a:prstGeom>
        </p:spPr>
        <p:txBody>
          <a:bodyPr vert="horz" lIns="0" tIns="45720" rIns="91440" bIns="45720" rtlCol="0">
            <a:normAutofit/>
          </a:bodyPr>
          <a:lstStyle>
            <a:lvl1pPr marL="89998" indent="-89998">
              <a:defRPr/>
            </a:lvl1pPr>
            <a:lvl2pPr indent="-89998">
              <a:defRPr/>
            </a:lvl2pPr>
            <a:lvl3pPr indent="-89998">
              <a:defRPr/>
            </a:lvl3pPr>
            <a:lvl4pPr indent="-89998">
              <a:defRPr/>
            </a:lvl4pPr>
            <a:lvl5pPr indent="-8999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8" name="Text Placeholder 4">
            <a:extLst>
              <a:ext uri="{FF2B5EF4-FFF2-40B4-BE49-F238E27FC236}">
                <a16:creationId xmlns:a16="http://schemas.microsoft.com/office/drawing/2014/main" id="{1601C9F1-E284-0545-8320-360C4DB5B7C5}"/>
              </a:ext>
            </a:extLst>
          </p:cNvPr>
          <p:cNvSpPr>
            <a:spLocks noGrp="1"/>
          </p:cNvSpPr>
          <p:nvPr>
            <p:ph type="body" sz="quarter" idx="77" hasCustomPrompt="1"/>
          </p:nvPr>
        </p:nvSpPr>
        <p:spPr>
          <a:xfrm>
            <a:off x="323851" y="570062"/>
            <a:ext cx="6982437"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Subtitle</a:t>
            </a:r>
          </a:p>
        </p:txBody>
      </p:sp>
      <p:sp>
        <p:nvSpPr>
          <p:cNvPr id="19" name="Text Placeholder 4">
            <a:extLst>
              <a:ext uri="{FF2B5EF4-FFF2-40B4-BE49-F238E27FC236}">
                <a16:creationId xmlns:a16="http://schemas.microsoft.com/office/drawing/2014/main" id="{E08A88AE-F782-7648-A6F6-47846F5DC0DF}"/>
              </a:ext>
            </a:extLst>
          </p:cNvPr>
          <p:cNvSpPr>
            <a:spLocks noGrp="1"/>
          </p:cNvSpPr>
          <p:nvPr>
            <p:ph type="body" sz="quarter" idx="78" hasCustomPrompt="1"/>
          </p:nvPr>
        </p:nvSpPr>
        <p:spPr>
          <a:xfrm>
            <a:off x="323852" y="170242"/>
            <a:ext cx="6987753" cy="373949"/>
          </a:xfrm>
          <a:prstGeom prst="rect">
            <a:avLst/>
          </a:prstGeom>
        </p:spPr>
        <p:txBody>
          <a:bodyPr vert="horz" wrap="square" lIns="0" tIns="0" rIns="0" bIns="0" rtlCol="0">
            <a:spAutoFit/>
          </a:bodyPr>
          <a:lstStyle>
            <a:lvl1pPr marL="0" indent="0">
              <a:buNone/>
              <a:defRPr lang="en-US" sz="2700" spc="-151" baseline="0" dirty="0">
                <a:solidFill>
                  <a:schemeClr val="bg1"/>
                </a:solidFill>
              </a:defRPr>
            </a:lvl1pPr>
          </a:lstStyle>
          <a:p>
            <a:pPr marL="67498" lvl="0" indent="-67498">
              <a:spcBef>
                <a:spcPts val="0"/>
              </a:spcBef>
            </a:pPr>
            <a:r>
              <a:rPr lang="en-US"/>
              <a:t>Title</a:t>
            </a:r>
          </a:p>
        </p:txBody>
      </p:sp>
      <p:pic>
        <p:nvPicPr>
          <p:cNvPr id="20" name="Graphic 19">
            <a:extLst>
              <a:ext uri="{FF2B5EF4-FFF2-40B4-BE49-F238E27FC236}">
                <a16:creationId xmlns:a16="http://schemas.microsoft.com/office/drawing/2014/main" id="{4F0A64D2-4697-0A40-9A6B-8DD8A78004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23280571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asic blue">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9E0F4B9F-5213-4E4C-8722-DC071C708F4A}"/>
              </a:ext>
            </a:extLst>
          </p:cNvPr>
          <p:cNvSpPr>
            <a:spLocks noGrp="1"/>
          </p:cNvSpPr>
          <p:nvPr>
            <p:ph type="body" sz="quarter" idx="77" hasCustomPrompt="1"/>
          </p:nvPr>
        </p:nvSpPr>
        <p:spPr>
          <a:xfrm>
            <a:off x="324000" y="570062"/>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Subtitle</a:t>
            </a:r>
          </a:p>
        </p:txBody>
      </p:sp>
      <p:sp>
        <p:nvSpPr>
          <p:cNvPr id="19" name="Text Placeholder 4">
            <a:extLst>
              <a:ext uri="{FF2B5EF4-FFF2-40B4-BE49-F238E27FC236}">
                <a16:creationId xmlns:a16="http://schemas.microsoft.com/office/drawing/2014/main" id="{794F9ABA-8847-F94E-BEE3-5811F5F7029C}"/>
              </a:ext>
            </a:extLst>
          </p:cNvPr>
          <p:cNvSpPr>
            <a:spLocks noGrp="1"/>
          </p:cNvSpPr>
          <p:nvPr>
            <p:ph type="body" sz="quarter" idx="78" hasCustomPrompt="1"/>
          </p:nvPr>
        </p:nvSpPr>
        <p:spPr>
          <a:xfrm>
            <a:off x="324000" y="170242"/>
            <a:ext cx="5795525" cy="373949"/>
          </a:xfrm>
          <a:prstGeom prst="rect">
            <a:avLst/>
          </a:prstGeom>
        </p:spPr>
        <p:txBody>
          <a:bodyPr vert="horz" wrap="square" lIns="0" tIns="0" rIns="0" bIns="0" rtlCol="0">
            <a:spAutoFit/>
          </a:bodyPr>
          <a:lstStyle>
            <a:lvl1pPr marL="0" indent="0">
              <a:buNone/>
              <a:defRPr lang="en-US" sz="2700" spc="-151" baseline="0" dirty="0">
                <a:solidFill>
                  <a:schemeClr val="bg1"/>
                </a:solidFill>
              </a:defRPr>
            </a:lvl1pPr>
          </a:lstStyle>
          <a:p>
            <a:pPr marL="67498" lvl="0" indent="-67498">
              <a:spcBef>
                <a:spcPts val="0"/>
              </a:spcBef>
            </a:pPr>
            <a:r>
              <a:rPr lang="en-US"/>
              <a:t>Title</a:t>
            </a:r>
          </a:p>
        </p:txBody>
      </p:sp>
      <p:sp>
        <p:nvSpPr>
          <p:cNvPr id="3" name="Date Placeholder 2">
            <a:extLst>
              <a:ext uri="{FF2B5EF4-FFF2-40B4-BE49-F238E27FC236}">
                <a16:creationId xmlns:a16="http://schemas.microsoft.com/office/drawing/2014/main" id="{0A39C9FE-7ED5-7243-B900-C8A1E77A9EC7}"/>
              </a:ext>
            </a:extLst>
          </p:cNvPr>
          <p:cNvSpPr>
            <a:spLocks noGrp="1"/>
          </p:cNvSpPr>
          <p:nvPr>
            <p:ph type="dt" sz="half" idx="79"/>
          </p:nvPr>
        </p:nvSpPr>
        <p:spPr>
          <a:xfrm>
            <a:off x="323851" y="4972079"/>
            <a:ext cx="494319" cy="92455"/>
          </a:xfrm>
        </p:spPr>
        <p:txBody>
          <a:bodyPr/>
          <a:lstStyle>
            <a:lvl1pPr>
              <a:defRPr>
                <a:solidFill>
                  <a:schemeClr val="bg1">
                    <a:alpha val="50000"/>
                  </a:schemeClr>
                </a:solidFill>
              </a:defRPr>
            </a:lvl1pPr>
          </a:lstStyle>
          <a:p>
            <a:fld id="{36FCC456-C152-4A71-9638-96D908E9833C}" type="datetime1">
              <a:rPr lang="de-DE" smtClean="0"/>
              <a:t>24.01.2024</a:t>
            </a:fld>
            <a:endParaRPr lang="en-US"/>
          </a:p>
        </p:txBody>
      </p:sp>
      <p:sp>
        <p:nvSpPr>
          <p:cNvPr id="4" name="Footer Placeholder 3">
            <a:extLst>
              <a:ext uri="{FF2B5EF4-FFF2-40B4-BE49-F238E27FC236}">
                <a16:creationId xmlns:a16="http://schemas.microsoft.com/office/drawing/2014/main" id="{72CF6480-DF6E-B149-9203-3123490FAAF8}"/>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sp>
        <p:nvSpPr>
          <p:cNvPr id="5" name="Slide Number Placeholder 4">
            <a:extLst>
              <a:ext uri="{FF2B5EF4-FFF2-40B4-BE49-F238E27FC236}">
                <a16:creationId xmlns:a16="http://schemas.microsoft.com/office/drawing/2014/main" id="{B68BE9BD-ECDE-E04D-97F2-583C23D9ECBD}"/>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
        <p:nvSpPr>
          <p:cNvPr id="12" name="Text Placeholder 14">
            <a:extLst>
              <a:ext uri="{FF2B5EF4-FFF2-40B4-BE49-F238E27FC236}">
                <a16:creationId xmlns:a16="http://schemas.microsoft.com/office/drawing/2014/main" id="{2A0E2E59-82F0-014A-9D6A-3A8083ED1439}"/>
              </a:ext>
            </a:extLst>
          </p:cNvPr>
          <p:cNvSpPr>
            <a:spLocks noGrp="1"/>
          </p:cNvSpPr>
          <p:nvPr>
            <p:ph idx="1"/>
          </p:nvPr>
        </p:nvSpPr>
        <p:spPr>
          <a:xfrm>
            <a:off x="323851" y="884041"/>
            <a:ext cx="8496299" cy="3748683"/>
          </a:xfrm>
          <a:prstGeom prst="rect">
            <a:avLst/>
          </a:prstGeom>
        </p:spPr>
        <p:txBody>
          <a:bodyPr vert="horz" lIns="0" tIns="45720" rIns="91440" bIns="45720" rtlCol="0">
            <a:normAutofit/>
          </a:bodyPr>
          <a:lstStyle>
            <a:lvl1pPr marL="89998" indent="-89998">
              <a:buClr>
                <a:srgbClr val="3399FF"/>
              </a:buClr>
              <a:defRPr>
                <a:solidFill>
                  <a:schemeClr val="bg1"/>
                </a:solidFill>
              </a:defRPr>
            </a:lvl1pPr>
            <a:lvl2pPr indent="-89998">
              <a:buClr>
                <a:srgbClr val="3399FF"/>
              </a:buClr>
              <a:defRPr>
                <a:solidFill>
                  <a:schemeClr val="bg1"/>
                </a:solidFill>
              </a:defRPr>
            </a:lvl2pPr>
            <a:lvl3pPr indent="-89998">
              <a:buClr>
                <a:srgbClr val="3399FF"/>
              </a:buClr>
              <a:defRPr>
                <a:solidFill>
                  <a:schemeClr val="bg1"/>
                </a:solidFill>
              </a:defRPr>
            </a:lvl3pPr>
            <a:lvl4pPr indent="-89998">
              <a:buClr>
                <a:srgbClr val="3399FF"/>
              </a:buClr>
              <a:defRPr>
                <a:solidFill>
                  <a:schemeClr val="bg1"/>
                </a:solidFill>
              </a:defRPr>
            </a:lvl4pPr>
            <a:lvl5pPr indent="-89998">
              <a:buClr>
                <a:srgbClr val="3399FF"/>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pic>
        <p:nvPicPr>
          <p:cNvPr id="9" name="Graphic 8">
            <a:extLst>
              <a:ext uri="{FF2B5EF4-FFF2-40B4-BE49-F238E27FC236}">
                <a16:creationId xmlns:a16="http://schemas.microsoft.com/office/drawing/2014/main" id="{78F46092-2993-FC42-95A1-DDDB094753D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Tree>
    <p:extLst>
      <p:ext uri="{BB962C8B-B14F-4D97-AF65-F5344CB8AC3E}">
        <p14:creationId xmlns:p14="http://schemas.microsoft.com/office/powerpoint/2010/main" val="17319689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asic Bright blue">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012CDCAD-01B2-A44E-B825-73F57A328FCC}"/>
              </a:ext>
            </a:extLst>
          </p:cNvPr>
          <p:cNvSpPr>
            <a:spLocks noGrp="1"/>
          </p:cNvSpPr>
          <p:nvPr>
            <p:ph type="body" sz="quarter" idx="77" hasCustomPrompt="1"/>
          </p:nvPr>
        </p:nvSpPr>
        <p:spPr>
          <a:xfrm>
            <a:off x="324000" y="570062"/>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Subtitle</a:t>
            </a:r>
          </a:p>
        </p:txBody>
      </p:sp>
      <p:sp>
        <p:nvSpPr>
          <p:cNvPr id="19" name="Text Placeholder 4">
            <a:extLst>
              <a:ext uri="{FF2B5EF4-FFF2-40B4-BE49-F238E27FC236}">
                <a16:creationId xmlns:a16="http://schemas.microsoft.com/office/drawing/2014/main" id="{6C6977D3-AD93-A743-A3F4-6720C61FA8A0}"/>
              </a:ext>
            </a:extLst>
          </p:cNvPr>
          <p:cNvSpPr>
            <a:spLocks noGrp="1"/>
          </p:cNvSpPr>
          <p:nvPr>
            <p:ph type="body" sz="quarter" idx="78" hasCustomPrompt="1"/>
          </p:nvPr>
        </p:nvSpPr>
        <p:spPr>
          <a:xfrm>
            <a:off x="323851" y="170242"/>
            <a:ext cx="5795675" cy="373949"/>
          </a:xfrm>
          <a:prstGeom prst="rect">
            <a:avLst/>
          </a:prstGeom>
        </p:spPr>
        <p:txBody>
          <a:bodyPr vert="horz" wrap="square" lIns="0" tIns="0" rIns="0" bIns="0" rtlCol="0">
            <a:spAutoFit/>
          </a:bodyPr>
          <a:lstStyle>
            <a:lvl1pPr marL="0" indent="0">
              <a:buNone/>
              <a:defRPr lang="en-US" sz="2700" spc="-151" baseline="0" dirty="0">
                <a:solidFill>
                  <a:schemeClr val="bg1"/>
                </a:solidFill>
              </a:defRPr>
            </a:lvl1pPr>
          </a:lstStyle>
          <a:p>
            <a:pPr marL="67498" lvl="0" indent="-67498">
              <a:spcBef>
                <a:spcPts val="0"/>
              </a:spcBef>
            </a:pPr>
            <a:r>
              <a:rPr lang="en-US"/>
              <a:t>Title</a:t>
            </a:r>
          </a:p>
        </p:txBody>
      </p:sp>
      <p:sp>
        <p:nvSpPr>
          <p:cNvPr id="8" name="Date Placeholder 2">
            <a:extLst>
              <a:ext uri="{FF2B5EF4-FFF2-40B4-BE49-F238E27FC236}">
                <a16:creationId xmlns:a16="http://schemas.microsoft.com/office/drawing/2014/main" id="{4B410FE0-9BA9-C34D-9E87-B08F0E9C8F46}"/>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750994B4-76C8-4A4F-AC3E-761EBCB5BFC9}" type="datetime1">
              <a:rPr lang="de-DE" smtClean="0"/>
              <a:t>24.01.2024</a:t>
            </a:fld>
            <a:endParaRPr lang="en-US"/>
          </a:p>
        </p:txBody>
      </p:sp>
      <p:sp>
        <p:nvSpPr>
          <p:cNvPr id="13" name="Text Placeholder 14">
            <a:extLst>
              <a:ext uri="{FF2B5EF4-FFF2-40B4-BE49-F238E27FC236}">
                <a16:creationId xmlns:a16="http://schemas.microsoft.com/office/drawing/2014/main" id="{6DB2E95F-417D-3B4E-A09A-E0B9DAD08DAE}"/>
              </a:ext>
            </a:extLst>
          </p:cNvPr>
          <p:cNvSpPr>
            <a:spLocks noGrp="1"/>
          </p:cNvSpPr>
          <p:nvPr>
            <p:ph idx="1"/>
          </p:nvPr>
        </p:nvSpPr>
        <p:spPr>
          <a:xfrm>
            <a:off x="324001" y="884041"/>
            <a:ext cx="8496151" cy="3748683"/>
          </a:xfrm>
          <a:prstGeom prst="rect">
            <a:avLst/>
          </a:prstGeom>
        </p:spPr>
        <p:txBody>
          <a:bodyPr vert="horz" lIns="0" tIns="45720" rIns="91440" bIns="45720" rtlCol="0">
            <a:normAutofit/>
          </a:bodyPr>
          <a:lstStyle>
            <a:lvl1pPr marL="89998" indent="-89998">
              <a:buClr>
                <a:srgbClr val="3399FF"/>
              </a:buClr>
              <a:defRPr>
                <a:solidFill>
                  <a:schemeClr val="bg1"/>
                </a:solidFill>
              </a:defRPr>
            </a:lvl1pPr>
            <a:lvl2pPr indent="-89998">
              <a:buClr>
                <a:srgbClr val="3399FF"/>
              </a:buClr>
              <a:defRPr>
                <a:solidFill>
                  <a:schemeClr val="bg1"/>
                </a:solidFill>
              </a:defRPr>
            </a:lvl2pPr>
            <a:lvl3pPr indent="-89998">
              <a:buClr>
                <a:srgbClr val="3399FF"/>
              </a:buClr>
              <a:defRPr>
                <a:solidFill>
                  <a:schemeClr val="bg1"/>
                </a:solidFill>
              </a:defRPr>
            </a:lvl3pPr>
            <a:lvl4pPr indent="-89998">
              <a:buClr>
                <a:srgbClr val="3399FF"/>
              </a:buClr>
              <a:defRPr>
                <a:solidFill>
                  <a:schemeClr val="bg1"/>
                </a:solidFill>
              </a:defRPr>
            </a:lvl4pPr>
            <a:lvl5pPr indent="-89998">
              <a:buClr>
                <a:srgbClr val="3399FF"/>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2" name="Footer Placeholder 3">
            <a:extLst>
              <a:ext uri="{FF2B5EF4-FFF2-40B4-BE49-F238E27FC236}">
                <a16:creationId xmlns:a16="http://schemas.microsoft.com/office/drawing/2014/main" id="{D2D9C474-36BD-F442-8219-2692502B7EFB}"/>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4" name="Graphic 13">
            <a:extLst>
              <a:ext uri="{FF2B5EF4-FFF2-40B4-BE49-F238E27FC236}">
                <a16:creationId xmlns:a16="http://schemas.microsoft.com/office/drawing/2014/main" id="{2114F27B-F2DA-9541-B881-7F2EECE210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5" name="Slide Number Placeholder 4">
            <a:extLst>
              <a:ext uri="{FF2B5EF4-FFF2-40B4-BE49-F238E27FC236}">
                <a16:creationId xmlns:a16="http://schemas.microsoft.com/office/drawing/2014/main" id="{864A111D-9271-0C4A-A0FF-E3A89790F5E4}"/>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24314878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asic Green">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EBB4378-E8FA-C145-A6A9-5013C7271854}"/>
              </a:ext>
            </a:extLst>
          </p:cNvPr>
          <p:cNvSpPr>
            <a:spLocks noGrp="1"/>
          </p:cNvSpPr>
          <p:nvPr>
            <p:ph type="body" sz="quarter" idx="77" hasCustomPrompt="1"/>
          </p:nvPr>
        </p:nvSpPr>
        <p:spPr>
          <a:xfrm>
            <a:off x="324000" y="570062"/>
            <a:ext cx="5795525" cy="119392"/>
          </a:xfrm>
          <a:prstGeom prst="rect">
            <a:avLst/>
          </a:prstGeom>
        </p:spPr>
        <p:txBody>
          <a:bodyPr wrap="square" lIns="0" tIns="0" rIns="0" bIns="0">
            <a:spAutoFit/>
          </a:bodyPr>
          <a:lstStyle>
            <a:lvl1pPr marL="0" marR="0" indent="0" algn="l" defTabSz="685758" rtl="0" eaLnBrk="1" fontAlgn="auto" latinLnBrk="0" hangingPunct="1">
              <a:lnSpc>
                <a:spcPct val="120000"/>
              </a:lnSpc>
              <a:spcBef>
                <a:spcPts val="0"/>
              </a:spcBef>
              <a:spcAft>
                <a:spcPts val="0"/>
              </a:spcAft>
              <a:buClrTx/>
              <a:buSzTx/>
              <a:buFontTx/>
              <a:buNone/>
              <a:tabLst/>
              <a:defRPr sz="700" cap="all" spc="56" baseline="0">
                <a:solidFill>
                  <a:schemeClr val="bg1"/>
                </a:solidFill>
                <a:latin typeface="+mj-lt"/>
              </a:defRPr>
            </a:lvl1pPr>
          </a:lstStyle>
          <a:p>
            <a:r>
              <a:rPr lang="en-US"/>
              <a:t>Subtitle</a:t>
            </a:r>
          </a:p>
        </p:txBody>
      </p:sp>
      <p:sp>
        <p:nvSpPr>
          <p:cNvPr id="16" name="Text Placeholder 4">
            <a:extLst>
              <a:ext uri="{FF2B5EF4-FFF2-40B4-BE49-F238E27FC236}">
                <a16:creationId xmlns:a16="http://schemas.microsoft.com/office/drawing/2014/main" id="{BFCCB505-4E53-5544-8FBA-D1715C8C5A53}"/>
              </a:ext>
            </a:extLst>
          </p:cNvPr>
          <p:cNvSpPr>
            <a:spLocks noGrp="1"/>
          </p:cNvSpPr>
          <p:nvPr>
            <p:ph type="body" sz="quarter" idx="78" hasCustomPrompt="1"/>
          </p:nvPr>
        </p:nvSpPr>
        <p:spPr>
          <a:xfrm>
            <a:off x="324000" y="170242"/>
            <a:ext cx="5795525" cy="373949"/>
          </a:xfrm>
          <a:prstGeom prst="rect">
            <a:avLst/>
          </a:prstGeom>
        </p:spPr>
        <p:txBody>
          <a:bodyPr vert="horz" wrap="square" lIns="0" tIns="0" rIns="0" bIns="0" rtlCol="0">
            <a:spAutoFit/>
          </a:bodyPr>
          <a:lstStyle>
            <a:lvl1pPr marL="0" indent="0">
              <a:buNone/>
              <a:defRPr lang="en-US" sz="2700" spc="-151" baseline="0" dirty="0">
                <a:solidFill>
                  <a:schemeClr val="bg1"/>
                </a:solidFill>
              </a:defRPr>
            </a:lvl1pPr>
          </a:lstStyle>
          <a:p>
            <a:pPr marL="67498" lvl="0" indent="-67498">
              <a:spcBef>
                <a:spcPts val="0"/>
              </a:spcBef>
            </a:pPr>
            <a:r>
              <a:rPr lang="en-US"/>
              <a:t>Title</a:t>
            </a:r>
          </a:p>
        </p:txBody>
      </p:sp>
      <p:sp>
        <p:nvSpPr>
          <p:cNvPr id="8" name="Date Placeholder 2">
            <a:extLst>
              <a:ext uri="{FF2B5EF4-FFF2-40B4-BE49-F238E27FC236}">
                <a16:creationId xmlns:a16="http://schemas.microsoft.com/office/drawing/2014/main" id="{7CD38AF9-A5E9-8E42-B58D-35A3AFD58076}"/>
              </a:ext>
            </a:extLst>
          </p:cNvPr>
          <p:cNvSpPr>
            <a:spLocks noGrp="1"/>
          </p:cNvSpPr>
          <p:nvPr>
            <p:ph type="dt" sz="half" idx="79"/>
          </p:nvPr>
        </p:nvSpPr>
        <p:spPr>
          <a:xfrm>
            <a:off x="324002" y="4972079"/>
            <a:ext cx="494319" cy="92455"/>
          </a:xfrm>
        </p:spPr>
        <p:txBody>
          <a:bodyPr/>
          <a:lstStyle>
            <a:lvl1pPr>
              <a:defRPr>
                <a:solidFill>
                  <a:schemeClr val="bg1">
                    <a:alpha val="50000"/>
                  </a:schemeClr>
                </a:solidFill>
              </a:defRPr>
            </a:lvl1pPr>
          </a:lstStyle>
          <a:p>
            <a:fld id="{9E9368B8-D36E-4323-B0F3-D5F241CC69AD}" type="datetime1">
              <a:rPr lang="de-DE" smtClean="0"/>
              <a:t>24.01.2024</a:t>
            </a:fld>
            <a:endParaRPr lang="en-US"/>
          </a:p>
        </p:txBody>
      </p:sp>
      <p:sp>
        <p:nvSpPr>
          <p:cNvPr id="12" name="Text Placeholder 14">
            <a:extLst>
              <a:ext uri="{FF2B5EF4-FFF2-40B4-BE49-F238E27FC236}">
                <a16:creationId xmlns:a16="http://schemas.microsoft.com/office/drawing/2014/main" id="{EEC6F914-7489-FA4A-BC02-30D3BFF568EC}"/>
              </a:ext>
            </a:extLst>
          </p:cNvPr>
          <p:cNvSpPr>
            <a:spLocks noGrp="1"/>
          </p:cNvSpPr>
          <p:nvPr>
            <p:ph idx="1"/>
          </p:nvPr>
        </p:nvSpPr>
        <p:spPr>
          <a:xfrm>
            <a:off x="324001" y="884041"/>
            <a:ext cx="8496151" cy="3748683"/>
          </a:xfrm>
          <a:prstGeom prst="rect">
            <a:avLst/>
          </a:prstGeom>
        </p:spPr>
        <p:txBody>
          <a:bodyPr vert="horz" lIns="0" tIns="45720" rIns="91440" bIns="45720" rtlCol="0">
            <a:normAutofit/>
          </a:bodyPr>
          <a:lstStyle>
            <a:lvl1pPr marL="89998" indent="-89998">
              <a:buClr>
                <a:schemeClr val="accent2">
                  <a:lumMod val="40000"/>
                  <a:lumOff val="60000"/>
                </a:schemeClr>
              </a:buClr>
              <a:defRPr>
                <a:solidFill>
                  <a:schemeClr val="bg1"/>
                </a:solidFill>
              </a:defRPr>
            </a:lvl1pPr>
            <a:lvl2pPr indent="-89998">
              <a:buClr>
                <a:schemeClr val="accent2">
                  <a:lumMod val="40000"/>
                  <a:lumOff val="60000"/>
                </a:schemeClr>
              </a:buClr>
              <a:defRPr>
                <a:solidFill>
                  <a:schemeClr val="bg1"/>
                </a:solidFill>
              </a:defRPr>
            </a:lvl2pPr>
            <a:lvl3pPr indent="-89998">
              <a:buClr>
                <a:schemeClr val="accent2">
                  <a:lumMod val="40000"/>
                  <a:lumOff val="60000"/>
                </a:schemeClr>
              </a:buClr>
              <a:defRPr>
                <a:solidFill>
                  <a:schemeClr val="bg1"/>
                </a:solidFill>
              </a:defRPr>
            </a:lvl3pPr>
            <a:lvl4pPr indent="-89998">
              <a:buClr>
                <a:schemeClr val="accent2">
                  <a:lumMod val="40000"/>
                  <a:lumOff val="60000"/>
                </a:schemeClr>
              </a:buClr>
              <a:defRPr>
                <a:solidFill>
                  <a:schemeClr val="bg1"/>
                </a:solidFill>
              </a:defRPr>
            </a:lvl4pPr>
            <a:lvl5pPr indent="-89998">
              <a:buClr>
                <a:schemeClr val="accent2">
                  <a:lumMod val="40000"/>
                  <a:lumOff val="6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3" name="Footer Placeholder 3">
            <a:extLst>
              <a:ext uri="{FF2B5EF4-FFF2-40B4-BE49-F238E27FC236}">
                <a16:creationId xmlns:a16="http://schemas.microsoft.com/office/drawing/2014/main" id="{C51A6F4F-9D93-914B-9B62-EFC729279A0D}"/>
              </a:ext>
            </a:extLst>
          </p:cNvPr>
          <p:cNvSpPr>
            <a:spLocks noGrp="1"/>
          </p:cNvSpPr>
          <p:nvPr>
            <p:ph type="ftr" sz="quarter" idx="80"/>
          </p:nvPr>
        </p:nvSpPr>
        <p:spPr>
          <a:xfrm>
            <a:off x="2424056" y="4972079"/>
            <a:ext cx="4295888" cy="92455"/>
          </a:xfrm>
        </p:spPr>
        <p:txBody>
          <a:bodyPr/>
          <a:lstStyle>
            <a:lvl1pPr>
              <a:defRPr>
                <a:solidFill>
                  <a:schemeClr val="bg1">
                    <a:alpha val="50000"/>
                  </a:schemeClr>
                </a:solidFill>
              </a:defRPr>
            </a:lvl1pPr>
          </a:lstStyle>
          <a:p>
            <a:pPr marL="4763" algn="ctr">
              <a:spcBef>
                <a:spcPts val="51"/>
              </a:spcBef>
            </a:pPr>
            <a:r>
              <a:rPr lang="en-US" spc="7"/>
              <a:t>P3 | Master Thesis Update | Arav Barot</a:t>
            </a:r>
            <a:endParaRPr lang="en-US" spc="-7"/>
          </a:p>
        </p:txBody>
      </p:sp>
      <p:pic>
        <p:nvPicPr>
          <p:cNvPr id="14" name="Graphic 13">
            <a:extLst>
              <a:ext uri="{FF2B5EF4-FFF2-40B4-BE49-F238E27FC236}">
                <a16:creationId xmlns:a16="http://schemas.microsoft.com/office/drawing/2014/main" id="{CC6966F1-EA51-0A41-A5F4-5DC0A24DB77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07908" y="202500"/>
            <a:ext cx="312243" cy="302760"/>
          </a:xfrm>
          <a:prstGeom prst="rect">
            <a:avLst/>
          </a:prstGeom>
        </p:spPr>
      </p:pic>
      <p:sp>
        <p:nvSpPr>
          <p:cNvPr id="17" name="Slide Number Placeholder 4">
            <a:extLst>
              <a:ext uri="{FF2B5EF4-FFF2-40B4-BE49-F238E27FC236}">
                <a16:creationId xmlns:a16="http://schemas.microsoft.com/office/drawing/2014/main" id="{98CF640D-420C-BD45-B7B2-7776A83D2092}"/>
              </a:ext>
            </a:extLst>
          </p:cNvPr>
          <p:cNvSpPr>
            <a:spLocks noGrp="1"/>
          </p:cNvSpPr>
          <p:nvPr>
            <p:ph type="sldNum" sz="quarter" idx="81"/>
          </p:nvPr>
        </p:nvSpPr>
        <p:spPr>
          <a:xfrm>
            <a:off x="8482628" y="4972079"/>
            <a:ext cx="337523" cy="92455"/>
          </a:xfrm>
        </p:spPr>
        <p:txBody>
          <a:bodyPr/>
          <a:lstStyle>
            <a:lvl1pPr>
              <a:defRPr>
                <a:solidFill>
                  <a:schemeClr val="bg1">
                    <a:alpha val="50000"/>
                  </a:schemeClr>
                </a:solidFill>
              </a:defRPr>
            </a:lvl1pPr>
          </a:lstStyle>
          <a:p>
            <a:pPr algn="r"/>
            <a:fld id="{B6F15528-21DE-4FAA-801E-634DDDAF4B2B}" type="slidenum">
              <a:rPr lang="en-RO" smtClean="0"/>
              <a:pPr algn="r"/>
              <a:t>‹#›</a:t>
            </a:fld>
            <a:endParaRPr lang="en-RO"/>
          </a:p>
        </p:txBody>
      </p:sp>
    </p:spTree>
    <p:extLst>
      <p:ext uri="{BB962C8B-B14F-4D97-AF65-F5344CB8AC3E}">
        <p14:creationId xmlns:p14="http://schemas.microsoft.com/office/powerpoint/2010/main" val="2856660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jp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57">
            <a:alphaModFix amt="17000"/>
            <a:lum/>
          </a:blip>
          <a:srcRect/>
          <a:stretch>
            <a:fillRect t="-6000" b="-6000"/>
          </a:stretch>
        </a:blip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74A0543-E343-4C32-B3A8-51A1B23102E8}"/>
              </a:ext>
            </a:extLst>
          </p:cNvPr>
          <p:cNvGraphicFramePr>
            <a:graphicFrameLocks noChangeAspect="1"/>
          </p:cNvGraphicFramePr>
          <p:nvPr userDrawn="1">
            <p:custDataLst>
              <p:tags r:id="rId56"/>
            </p:custDataLst>
            <p:extLst>
              <p:ext uri="{D42A27DB-BD31-4B8C-83A1-F6EECF244321}">
                <p14:modId xmlns:p14="http://schemas.microsoft.com/office/powerpoint/2010/main" val="180386036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58" imgW="395" imgH="396" progId="TCLayout.ActiveDocument.1">
                  <p:embed/>
                </p:oleObj>
              </mc:Choice>
              <mc:Fallback>
                <p:oleObj name="think-cell Folie" r:id="rId58" imgW="395" imgH="396" progId="TCLayout.ActiveDocument.1">
                  <p:embed/>
                  <p:pic>
                    <p:nvPicPr>
                      <p:cNvPr id="3" name="Objekt 2" hidden="1">
                        <a:extLst>
                          <a:ext uri="{FF2B5EF4-FFF2-40B4-BE49-F238E27FC236}">
                            <a16:creationId xmlns:a16="http://schemas.microsoft.com/office/drawing/2014/main" id="{F74A0543-E343-4C32-B3A8-51A1B23102E8}"/>
                          </a:ext>
                        </a:extLst>
                      </p:cNvPr>
                      <p:cNvPicPr/>
                      <p:nvPr/>
                    </p:nvPicPr>
                    <p:blipFill>
                      <a:blip r:embed="rId59"/>
                      <a:stretch>
                        <a:fillRect/>
                      </a:stretch>
                    </p:blipFill>
                    <p:spPr>
                      <a:xfrm>
                        <a:off x="1589" y="1588"/>
                        <a:ext cx="1588" cy="1588"/>
                      </a:xfrm>
                      <a:prstGeom prst="rect">
                        <a:avLst/>
                      </a:prstGeom>
                    </p:spPr>
                  </p:pic>
                </p:oleObj>
              </mc:Fallback>
            </mc:AlternateContent>
          </a:graphicData>
        </a:graphic>
      </p:graphicFrame>
      <p:sp>
        <p:nvSpPr>
          <p:cNvPr id="10" name="Date Placeholder 1">
            <a:extLst>
              <a:ext uri="{FF2B5EF4-FFF2-40B4-BE49-F238E27FC236}">
                <a16:creationId xmlns:a16="http://schemas.microsoft.com/office/drawing/2014/main" id="{8347BD7C-C358-F44B-AA54-409401A4675B}"/>
              </a:ext>
            </a:extLst>
          </p:cNvPr>
          <p:cNvSpPr>
            <a:spLocks noGrp="1"/>
          </p:cNvSpPr>
          <p:nvPr>
            <p:ph type="dt" sz="half" idx="2"/>
          </p:nvPr>
        </p:nvSpPr>
        <p:spPr>
          <a:xfrm>
            <a:off x="323851" y="4972079"/>
            <a:ext cx="494319" cy="92455"/>
          </a:xfrm>
          <a:prstGeom prst="rect">
            <a:avLst/>
          </a:prstGeom>
        </p:spPr>
        <p:txBody>
          <a:bodyPr lIns="0" tIns="0" rIns="0" bIns="0"/>
          <a:lstStyle>
            <a:lvl1pPr>
              <a:defRPr sz="525">
                <a:solidFill>
                  <a:srgbClr val="B1B1B1"/>
                </a:solidFill>
              </a:defRPr>
            </a:lvl1pPr>
          </a:lstStyle>
          <a:p>
            <a:fld id="{AA3357E4-2432-471B-9513-1C2A467B5E34}" type="datetime1">
              <a:rPr lang="de-DE" smtClean="0"/>
              <a:t>24.01.2024</a:t>
            </a:fld>
            <a:endParaRPr lang="en-US"/>
          </a:p>
        </p:txBody>
      </p:sp>
      <p:sp>
        <p:nvSpPr>
          <p:cNvPr id="11" name="Footer Placeholder 2">
            <a:extLst>
              <a:ext uri="{FF2B5EF4-FFF2-40B4-BE49-F238E27FC236}">
                <a16:creationId xmlns:a16="http://schemas.microsoft.com/office/drawing/2014/main" id="{CF317480-CA0B-9043-A99D-1B1FFF140361}"/>
              </a:ext>
            </a:extLst>
          </p:cNvPr>
          <p:cNvSpPr>
            <a:spLocks noGrp="1"/>
          </p:cNvSpPr>
          <p:nvPr>
            <p:ph type="ftr" sz="quarter" idx="3"/>
          </p:nvPr>
        </p:nvSpPr>
        <p:spPr>
          <a:xfrm>
            <a:off x="2424056" y="4972079"/>
            <a:ext cx="4295888" cy="92455"/>
          </a:xfrm>
          <a:prstGeom prst="rect">
            <a:avLst/>
          </a:prstGeom>
        </p:spPr>
        <p:txBody>
          <a:bodyPr lIns="0" tIns="0" rIns="0" bIns="0"/>
          <a:lstStyle>
            <a:lvl1pPr>
              <a:defRPr sz="525">
                <a:solidFill>
                  <a:srgbClr val="B1B1B1"/>
                </a:solidFill>
              </a:defRPr>
            </a:lvl1pPr>
          </a:lstStyle>
          <a:p>
            <a:pPr marL="4763" algn="ctr">
              <a:spcBef>
                <a:spcPts val="51"/>
              </a:spcBef>
            </a:pPr>
            <a:r>
              <a:rPr lang="en-US" spc="7"/>
              <a:t>P3 | Master Thesis Update | Arav Barot</a:t>
            </a:r>
            <a:endParaRPr lang="en-US" spc="-7"/>
          </a:p>
        </p:txBody>
      </p:sp>
      <p:sp>
        <p:nvSpPr>
          <p:cNvPr id="12" name="Slide Number Placeholder 3">
            <a:extLst>
              <a:ext uri="{FF2B5EF4-FFF2-40B4-BE49-F238E27FC236}">
                <a16:creationId xmlns:a16="http://schemas.microsoft.com/office/drawing/2014/main" id="{73AD3961-E89C-0C43-8D9D-27B72C97D478}"/>
              </a:ext>
            </a:extLst>
          </p:cNvPr>
          <p:cNvSpPr>
            <a:spLocks noGrp="1"/>
          </p:cNvSpPr>
          <p:nvPr>
            <p:ph type="sldNum" sz="quarter" idx="4"/>
          </p:nvPr>
        </p:nvSpPr>
        <p:spPr>
          <a:xfrm>
            <a:off x="8482628" y="4972079"/>
            <a:ext cx="337523" cy="92455"/>
          </a:xfrm>
          <a:prstGeom prst="rect">
            <a:avLst/>
          </a:prstGeom>
        </p:spPr>
        <p:txBody>
          <a:bodyPr lIns="0" tIns="0" rIns="0" bIns="0"/>
          <a:lstStyle>
            <a:lvl1pPr>
              <a:defRPr sz="525">
                <a:solidFill>
                  <a:srgbClr val="B1B1B1"/>
                </a:solidFill>
              </a:defRPr>
            </a:lvl1pPr>
          </a:lstStyle>
          <a:p>
            <a:pPr algn="r"/>
            <a:fld id="{B6F15528-21DE-4FAA-801E-634DDDAF4B2B}" type="slidenum">
              <a:rPr lang="en-RO" smtClean="0"/>
              <a:pPr algn="r"/>
              <a:t>‹#›</a:t>
            </a:fld>
            <a:endParaRPr lang="en-RO"/>
          </a:p>
        </p:txBody>
      </p:sp>
      <p:sp>
        <p:nvSpPr>
          <p:cNvPr id="15" name="Text Placeholder 14">
            <a:extLst>
              <a:ext uri="{FF2B5EF4-FFF2-40B4-BE49-F238E27FC236}">
                <a16:creationId xmlns:a16="http://schemas.microsoft.com/office/drawing/2014/main" id="{A68400A4-883C-004A-A7F2-D037699194F5}"/>
              </a:ext>
            </a:extLst>
          </p:cNvPr>
          <p:cNvSpPr>
            <a:spLocks noGrp="1"/>
          </p:cNvSpPr>
          <p:nvPr>
            <p:ph type="body" idx="1"/>
          </p:nvPr>
        </p:nvSpPr>
        <p:spPr>
          <a:xfrm>
            <a:off x="323851" y="884041"/>
            <a:ext cx="8496300" cy="3748683"/>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RO"/>
          </a:p>
        </p:txBody>
      </p:sp>
      <p:sp>
        <p:nvSpPr>
          <p:cNvPr id="13" name="Title Placeholder 3">
            <a:extLst>
              <a:ext uri="{FF2B5EF4-FFF2-40B4-BE49-F238E27FC236}">
                <a16:creationId xmlns:a16="http://schemas.microsoft.com/office/drawing/2014/main" id="{9B330CFF-DB8A-4E42-AA0F-E9A32C99241B}"/>
              </a:ext>
            </a:extLst>
          </p:cNvPr>
          <p:cNvSpPr>
            <a:spLocks noGrp="1"/>
          </p:cNvSpPr>
          <p:nvPr>
            <p:ph type="title"/>
          </p:nvPr>
        </p:nvSpPr>
        <p:spPr>
          <a:xfrm>
            <a:off x="323850" y="170006"/>
            <a:ext cx="7724663" cy="351106"/>
          </a:xfrm>
          <a:prstGeom prst="rect">
            <a:avLst/>
          </a:prstGeom>
        </p:spPr>
        <p:txBody>
          <a:bodyPr vert="horz" lIns="0" tIns="0" rIns="0" bIns="0" rtlCol="0" anchor="t">
            <a:normAutofit/>
          </a:bodyPr>
          <a:lstStyle/>
          <a:p>
            <a:r>
              <a:rPr lang="en-US"/>
              <a:t>Click to edit Master title style</a:t>
            </a:r>
            <a:endParaRPr lang="en-RO"/>
          </a:p>
        </p:txBody>
      </p:sp>
    </p:spTree>
    <p:extLst>
      <p:ext uri="{BB962C8B-B14F-4D97-AF65-F5344CB8AC3E}">
        <p14:creationId xmlns:p14="http://schemas.microsoft.com/office/powerpoint/2010/main" val="3187980257"/>
      </p:ext>
    </p:extLst>
  </p:cSld>
  <p:clrMap bg1="lt1" tx1="dk1" bg2="lt2" tx2="dk2" accent1="accent1" accent2="accent2" accent3="accent3" accent4="accent4" accent5="accent5" accent6="accent6" hlink="hlink" folHlink="folHlink"/>
  <p:sldLayoutIdLst>
    <p:sldLayoutId id="2147483818" r:id="rId1"/>
    <p:sldLayoutId id="2147483872" r:id="rId2"/>
    <p:sldLayoutId id="2147483819" r:id="rId3"/>
    <p:sldLayoutId id="2147483866" r:id="rId4"/>
    <p:sldLayoutId id="2147483867" r:id="rId5"/>
    <p:sldLayoutId id="2147483868" r:id="rId6"/>
    <p:sldLayoutId id="2147483820" r:id="rId7"/>
    <p:sldLayoutId id="2147483821" r:id="rId8"/>
    <p:sldLayoutId id="2147483822" r:id="rId9"/>
    <p:sldLayoutId id="2147483823" r:id="rId10"/>
    <p:sldLayoutId id="2147483824" r:id="rId11"/>
    <p:sldLayoutId id="2147483825" r:id="rId12"/>
    <p:sldLayoutId id="2147483871"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8" r:id="rId22"/>
    <p:sldLayoutId id="2147483834" r:id="rId23"/>
    <p:sldLayoutId id="2147483835" r:id="rId24"/>
    <p:sldLayoutId id="2147483836" r:id="rId25"/>
    <p:sldLayoutId id="2147483837" r:id="rId26"/>
    <p:sldLayoutId id="2147483873" r:id="rId27"/>
    <p:sldLayoutId id="2147483875" r:id="rId28"/>
    <p:sldLayoutId id="2147483874" r:id="rId29"/>
    <p:sldLayoutId id="2147483839" r:id="rId30"/>
    <p:sldLayoutId id="2147483842" r:id="rId31"/>
    <p:sldLayoutId id="2147483844" r:id="rId32"/>
    <p:sldLayoutId id="2147483845" r:id="rId33"/>
    <p:sldLayoutId id="2147483846" r:id="rId34"/>
    <p:sldLayoutId id="2147483869" r:id="rId35"/>
    <p:sldLayoutId id="2147483877"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 id="2147483855" r:id="rId45"/>
    <p:sldLayoutId id="2147483856" r:id="rId46"/>
    <p:sldLayoutId id="2147483857" r:id="rId47"/>
    <p:sldLayoutId id="2147483870" r:id="rId48"/>
    <p:sldLayoutId id="2147483861" r:id="rId49"/>
    <p:sldLayoutId id="2147483862" r:id="rId50"/>
    <p:sldLayoutId id="2147483864" r:id="rId51"/>
    <p:sldLayoutId id="2147483863" r:id="rId52"/>
    <p:sldLayoutId id="2147483887" r:id="rId53"/>
    <p:sldLayoutId id="2147483893" r:id="rId54"/>
  </p:sldLayoutIdLst>
  <p:hf hdr="0"/>
  <p:txStyles>
    <p:titleStyle>
      <a:lvl1pPr algn="l" defTabSz="685758" rtl="0" eaLnBrk="1" latinLnBrk="0" hangingPunct="1">
        <a:lnSpc>
          <a:spcPct val="90000"/>
        </a:lnSpc>
        <a:spcBef>
          <a:spcPct val="0"/>
        </a:spcBef>
        <a:buNone/>
        <a:defRPr sz="2700" kern="1200" spc="-151" baseline="0">
          <a:solidFill>
            <a:schemeClr val="accent1"/>
          </a:solidFill>
          <a:latin typeface="+mn-lt"/>
          <a:ea typeface="+mj-ea"/>
          <a:cs typeface="+mj-cs"/>
        </a:defRPr>
      </a:lvl1pPr>
    </p:titleStyle>
    <p:bodyStyle>
      <a:lvl1pPr marL="67498" indent="-67498" algn="l" defTabSz="685758" rtl="0" eaLnBrk="1" latinLnBrk="0" hangingPunct="1">
        <a:lnSpc>
          <a:spcPct val="90000"/>
        </a:lnSpc>
        <a:spcBef>
          <a:spcPts val="751"/>
        </a:spcBef>
        <a:buClr>
          <a:schemeClr val="accent1"/>
        </a:buClr>
        <a:buFont typeface="Arial" panose="020B0604020202020204" pitchFamily="34" charset="0"/>
        <a:buChar char="•"/>
        <a:defRPr sz="751" kern="1200">
          <a:solidFill>
            <a:srgbClr val="000000"/>
          </a:solidFill>
          <a:latin typeface="+mn-lt"/>
          <a:ea typeface="+mn-ea"/>
          <a:cs typeface="+mn-cs"/>
        </a:defRPr>
      </a:lvl1pPr>
      <a:lvl2pPr marL="202998" indent="-83342" algn="l" defTabSz="685758" rtl="0" eaLnBrk="1" latinLnBrk="0" hangingPunct="1">
        <a:lnSpc>
          <a:spcPct val="90000"/>
        </a:lnSpc>
        <a:spcBef>
          <a:spcPts val="375"/>
        </a:spcBef>
        <a:buClr>
          <a:schemeClr val="accent1"/>
        </a:buClr>
        <a:buFont typeface="Arial" panose="020B0604020202020204" pitchFamily="34" charset="0"/>
        <a:buChar char="•"/>
        <a:tabLst/>
        <a:defRPr sz="751" kern="1200">
          <a:solidFill>
            <a:srgbClr val="000000"/>
          </a:solidFill>
          <a:latin typeface="+mn-lt"/>
          <a:ea typeface="+mn-ea"/>
          <a:cs typeface="+mn-cs"/>
        </a:defRPr>
      </a:lvl2pPr>
      <a:lvl3pPr marL="336344" indent="-83342" algn="l" defTabSz="685758" rtl="0" eaLnBrk="1" latinLnBrk="0" hangingPunct="1">
        <a:lnSpc>
          <a:spcPct val="90000"/>
        </a:lnSpc>
        <a:spcBef>
          <a:spcPts val="375"/>
        </a:spcBef>
        <a:buClr>
          <a:schemeClr val="accent1"/>
        </a:buClr>
        <a:buFont typeface="Arial" panose="020B0604020202020204" pitchFamily="34" charset="0"/>
        <a:buChar char="•"/>
        <a:tabLst/>
        <a:defRPr sz="751" kern="1200">
          <a:solidFill>
            <a:srgbClr val="000000"/>
          </a:solidFill>
          <a:latin typeface="+mn-lt"/>
          <a:ea typeface="+mn-ea"/>
          <a:cs typeface="+mn-cs"/>
        </a:defRPr>
      </a:lvl3pPr>
      <a:lvl4pPr marL="469095" indent="-83342" algn="l" defTabSz="685758" rtl="0" eaLnBrk="1" latinLnBrk="0" hangingPunct="1">
        <a:lnSpc>
          <a:spcPct val="90000"/>
        </a:lnSpc>
        <a:spcBef>
          <a:spcPts val="375"/>
        </a:spcBef>
        <a:buClr>
          <a:schemeClr val="accent1"/>
        </a:buClr>
        <a:buFont typeface="Arial" panose="020B0604020202020204" pitchFamily="34" charset="0"/>
        <a:buChar char="•"/>
        <a:tabLst/>
        <a:defRPr sz="751" kern="1200">
          <a:solidFill>
            <a:srgbClr val="000000"/>
          </a:solidFill>
          <a:latin typeface="+mn-lt"/>
          <a:ea typeface="+mn-ea"/>
          <a:cs typeface="+mn-cs"/>
        </a:defRPr>
      </a:lvl4pPr>
      <a:lvl5pPr marL="619110" indent="-83342" algn="l" defTabSz="685758" rtl="0" eaLnBrk="1" latinLnBrk="0" hangingPunct="1">
        <a:lnSpc>
          <a:spcPct val="90000"/>
        </a:lnSpc>
        <a:spcBef>
          <a:spcPts val="375"/>
        </a:spcBef>
        <a:buClr>
          <a:schemeClr val="accent1"/>
        </a:buClr>
        <a:buFont typeface="Arial" panose="020B0604020202020204" pitchFamily="34" charset="0"/>
        <a:buChar char="•"/>
        <a:tabLst/>
        <a:defRPr sz="751" kern="1200">
          <a:solidFill>
            <a:srgbClr val="000000"/>
          </a:solidFill>
          <a:latin typeface="+mn-lt"/>
          <a:ea typeface="+mn-ea"/>
          <a:cs typeface="+mn-cs"/>
        </a:defRPr>
      </a:lvl5pPr>
      <a:lvl6pPr marL="1885833" indent="-171438" algn="l" defTabSz="685758"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11" indent="-171438" algn="l" defTabSz="685758"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589" indent="-171438" algn="l" defTabSz="685758"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468" indent="-171438" algn="l" defTabSz="685758"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58" rtl="0" eaLnBrk="1" latinLnBrk="0" hangingPunct="1">
        <a:defRPr sz="1351" kern="1200">
          <a:solidFill>
            <a:schemeClr val="tx1"/>
          </a:solidFill>
          <a:latin typeface="+mn-lt"/>
          <a:ea typeface="+mn-ea"/>
          <a:cs typeface="+mn-cs"/>
        </a:defRPr>
      </a:lvl1pPr>
      <a:lvl2pPr marL="342878" algn="l" defTabSz="685758" rtl="0" eaLnBrk="1" latinLnBrk="0" hangingPunct="1">
        <a:defRPr sz="1351" kern="1200">
          <a:solidFill>
            <a:schemeClr val="tx1"/>
          </a:solidFill>
          <a:latin typeface="+mn-lt"/>
          <a:ea typeface="+mn-ea"/>
          <a:cs typeface="+mn-cs"/>
        </a:defRPr>
      </a:lvl2pPr>
      <a:lvl3pPr marL="685758" algn="l" defTabSz="685758" rtl="0" eaLnBrk="1" latinLnBrk="0" hangingPunct="1">
        <a:defRPr sz="1351" kern="1200">
          <a:solidFill>
            <a:schemeClr val="tx1"/>
          </a:solidFill>
          <a:latin typeface="+mn-lt"/>
          <a:ea typeface="+mn-ea"/>
          <a:cs typeface="+mn-cs"/>
        </a:defRPr>
      </a:lvl3pPr>
      <a:lvl4pPr marL="1028637" algn="l" defTabSz="685758" rtl="0" eaLnBrk="1" latinLnBrk="0" hangingPunct="1">
        <a:defRPr sz="1351" kern="1200">
          <a:solidFill>
            <a:schemeClr val="tx1"/>
          </a:solidFill>
          <a:latin typeface="+mn-lt"/>
          <a:ea typeface="+mn-ea"/>
          <a:cs typeface="+mn-cs"/>
        </a:defRPr>
      </a:lvl4pPr>
      <a:lvl5pPr marL="1371514" algn="l" defTabSz="685758" rtl="0" eaLnBrk="1" latinLnBrk="0" hangingPunct="1">
        <a:defRPr sz="1351" kern="1200">
          <a:solidFill>
            <a:schemeClr val="tx1"/>
          </a:solidFill>
          <a:latin typeface="+mn-lt"/>
          <a:ea typeface="+mn-ea"/>
          <a:cs typeface="+mn-cs"/>
        </a:defRPr>
      </a:lvl5pPr>
      <a:lvl6pPr marL="1714393" algn="l" defTabSz="685758" rtl="0" eaLnBrk="1" latinLnBrk="0" hangingPunct="1">
        <a:defRPr sz="1351" kern="1200">
          <a:solidFill>
            <a:schemeClr val="tx1"/>
          </a:solidFill>
          <a:latin typeface="+mn-lt"/>
          <a:ea typeface="+mn-ea"/>
          <a:cs typeface="+mn-cs"/>
        </a:defRPr>
      </a:lvl6pPr>
      <a:lvl7pPr marL="2057271" algn="l" defTabSz="685758" rtl="0" eaLnBrk="1" latinLnBrk="0" hangingPunct="1">
        <a:defRPr sz="1351" kern="1200">
          <a:solidFill>
            <a:schemeClr val="tx1"/>
          </a:solidFill>
          <a:latin typeface="+mn-lt"/>
          <a:ea typeface="+mn-ea"/>
          <a:cs typeface="+mn-cs"/>
        </a:defRPr>
      </a:lvl7pPr>
      <a:lvl8pPr marL="2400151" algn="l" defTabSz="685758" rtl="0" eaLnBrk="1" latinLnBrk="0" hangingPunct="1">
        <a:defRPr sz="1351" kern="1200">
          <a:solidFill>
            <a:schemeClr val="tx1"/>
          </a:solidFill>
          <a:latin typeface="+mn-lt"/>
          <a:ea typeface="+mn-ea"/>
          <a:cs typeface="+mn-cs"/>
        </a:defRPr>
      </a:lvl8pPr>
      <a:lvl9pPr marL="2743029" algn="l" defTabSz="685758"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1620" userDrawn="1">
          <p15:clr>
            <a:srgbClr val="F26B43"/>
          </p15:clr>
        </p15:guide>
        <p15:guide id="54" orient="horz" pos="7971" userDrawn="1">
          <p15:clr>
            <a:srgbClr val="F26B43"/>
          </p15:clr>
        </p15:guide>
        <p15:guide id="57" pos="204" userDrawn="1">
          <p15:clr>
            <a:srgbClr val="F26B43"/>
          </p15:clr>
        </p15:guide>
        <p15:guide id="58" pos="555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53.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025DB1-6433-E5F3-7AA1-8E9FCEC163B2}"/>
              </a:ext>
            </a:extLst>
          </p:cNvPr>
          <p:cNvSpPr>
            <a:spLocks noGrp="1"/>
          </p:cNvSpPr>
          <p:nvPr>
            <p:ph type="body" sz="quarter" idx="11"/>
          </p:nvPr>
        </p:nvSpPr>
        <p:spPr>
          <a:xfrm>
            <a:off x="878748" y="1941187"/>
            <a:ext cx="5927405" cy="706347"/>
          </a:xfrm>
        </p:spPr>
        <p:txBody>
          <a:bodyPr/>
          <a:lstStyle/>
          <a:p>
            <a:r>
              <a:rPr lang="de-DE" dirty="0"/>
              <a:t>Master Thesis</a:t>
            </a:r>
          </a:p>
        </p:txBody>
      </p:sp>
      <p:sp>
        <p:nvSpPr>
          <p:cNvPr id="3" name="Text Placeholder 2">
            <a:extLst>
              <a:ext uri="{FF2B5EF4-FFF2-40B4-BE49-F238E27FC236}">
                <a16:creationId xmlns:a16="http://schemas.microsoft.com/office/drawing/2014/main" id="{2BCB2140-265F-7904-43C3-7F16239DA7F0}"/>
              </a:ext>
            </a:extLst>
          </p:cNvPr>
          <p:cNvSpPr>
            <a:spLocks noGrp="1"/>
          </p:cNvSpPr>
          <p:nvPr>
            <p:ph type="body" sz="quarter" idx="12"/>
          </p:nvPr>
        </p:nvSpPr>
        <p:spPr>
          <a:xfrm>
            <a:off x="878748" y="2785212"/>
            <a:ext cx="6829359" cy="341119"/>
          </a:xfrm>
        </p:spPr>
        <p:txBody>
          <a:bodyPr/>
          <a:lstStyle/>
          <a:p>
            <a:r>
              <a:rPr lang="de-DE" sz="2000" dirty="0"/>
              <a:t>Data-Driven </a:t>
            </a:r>
            <a:r>
              <a:rPr lang="de-DE" sz="2000" dirty="0" err="1"/>
              <a:t>Failure</a:t>
            </a:r>
            <a:r>
              <a:rPr lang="de-DE" sz="2000" dirty="0"/>
              <a:t> </a:t>
            </a:r>
            <a:r>
              <a:rPr lang="de-DE" sz="2000" dirty="0" err="1"/>
              <a:t>Detection</a:t>
            </a:r>
            <a:r>
              <a:rPr lang="de-DE" sz="2000" dirty="0"/>
              <a:t> in a </a:t>
            </a:r>
            <a:r>
              <a:rPr lang="de-DE" sz="2000" dirty="0" err="1"/>
              <a:t>Charging</a:t>
            </a:r>
            <a:r>
              <a:rPr lang="de-DE" sz="2000" dirty="0"/>
              <a:t> Communication</a:t>
            </a:r>
          </a:p>
        </p:txBody>
      </p:sp>
      <p:sp>
        <p:nvSpPr>
          <p:cNvPr id="7" name="Text Placeholder 6">
            <a:extLst>
              <a:ext uri="{FF2B5EF4-FFF2-40B4-BE49-F238E27FC236}">
                <a16:creationId xmlns:a16="http://schemas.microsoft.com/office/drawing/2014/main" id="{E615FA83-2E4C-85FD-7C1B-E736FC285A10}"/>
              </a:ext>
            </a:extLst>
          </p:cNvPr>
          <p:cNvSpPr>
            <a:spLocks noGrp="1"/>
          </p:cNvSpPr>
          <p:nvPr>
            <p:ph type="body" sz="quarter" idx="45"/>
          </p:nvPr>
        </p:nvSpPr>
        <p:spPr>
          <a:xfrm>
            <a:off x="878748" y="3706032"/>
            <a:ext cx="3510787" cy="153504"/>
          </a:xfrm>
        </p:spPr>
        <p:txBody>
          <a:bodyPr/>
          <a:lstStyle/>
          <a:p>
            <a:r>
              <a:rPr lang="de-DE" dirty="0"/>
              <a:t>Arav Barot</a:t>
            </a:r>
          </a:p>
        </p:txBody>
      </p:sp>
      <p:sp>
        <p:nvSpPr>
          <p:cNvPr id="6" name="Text Placeholder 5">
            <a:extLst>
              <a:ext uri="{FF2B5EF4-FFF2-40B4-BE49-F238E27FC236}">
                <a16:creationId xmlns:a16="http://schemas.microsoft.com/office/drawing/2014/main" id="{34B1921F-165D-17BE-392D-A7587EF6534B}"/>
              </a:ext>
            </a:extLst>
          </p:cNvPr>
          <p:cNvSpPr>
            <a:spLocks noGrp="1"/>
          </p:cNvSpPr>
          <p:nvPr>
            <p:ph type="body" sz="quarter" idx="48"/>
          </p:nvPr>
        </p:nvSpPr>
        <p:spPr>
          <a:xfrm>
            <a:off x="878748" y="3576933"/>
            <a:ext cx="1421699" cy="104610"/>
          </a:xfrm>
        </p:spPr>
        <p:txBody>
          <a:bodyPr/>
          <a:lstStyle/>
          <a:p>
            <a:endParaRPr lang="de-DE" dirty="0"/>
          </a:p>
        </p:txBody>
      </p:sp>
    </p:spTree>
    <p:extLst>
      <p:ext uri="{BB962C8B-B14F-4D97-AF65-F5344CB8AC3E}">
        <p14:creationId xmlns:p14="http://schemas.microsoft.com/office/powerpoint/2010/main" val="1823274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82770FE-11D0-CD28-765C-A72EF14E4864}"/>
              </a:ext>
            </a:extLst>
          </p:cNvPr>
          <p:cNvSpPr>
            <a:spLocks/>
          </p:cNvSpPr>
          <p:nvPr/>
        </p:nvSpPr>
        <p:spPr>
          <a:xfrm>
            <a:off x="158804" y="2837467"/>
            <a:ext cx="3446949" cy="1692111"/>
          </a:xfrm>
          <a:prstGeom prst="rect">
            <a:avLst/>
          </a:prstGeom>
          <a:solidFill>
            <a:srgbClr val="D1D2F2">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Rectangle 7">
            <a:extLst>
              <a:ext uri="{FF2B5EF4-FFF2-40B4-BE49-F238E27FC236}">
                <a16:creationId xmlns:a16="http://schemas.microsoft.com/office/drawing/2014/main" id="{B8B7D561-20A4-2F39-CE3A-8D8A540FB10F}"/>
              </a:ext>
            </a:extLst>
          </p:cNvPr>
          <p:cNvSpPr>
            <a:spLocks/>
          </p:cNvSpPr>
          <p:nvPr/>
        </p:nvSpPr>
        <p:spPr>
          <a:xfrm>
            <a:off x="3652886" y="981706"/>
            <a:ext cx="5332309" cy="3547873"/>
          </a:xfrm>
          <a:prstGeom prst="rect">
            <a:avLst/>
          </a:prstGeom>
          <a:solidFill>
            <a:srgbClr val="D1D2F2">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 Placeholder 1">
            <a:extLst>
              <a:ext uri="{FF2B5EF4-FFF2-40B4-BE49-F238E27FC236}">
                <a16:creationId xmlns:a16="http://schemas.microsoft.com/office/drawing/2014/main" id="{B0611D2C-898F-7E92-46A2-25176ECD3853}"/>
              </a:ext>
            </a:extLst>
          </p:cNvPr>
          <p:cNvSpPr>
            <a:spLocks noGrp="1"/>
          </p:cNvSpPr>
          <p:nvPr>
            <p:ph type="body" sz="quarter" idx="77"/>
          </p:nvPr>
        </p:nvSpPr>
        <p:spPr/>
        <p:txBody>
          <a:bodyPr/>
          <a:lstStyle/>
          <a:p>
            <a:r>
              <a:rPr lang="de-DE" dirty="0" err="1"/>
              <a:t>Previously</a:t>
            </a:r>
            <a:r>
              <a:rPr lang="de-DE" dirty="0"/>
              <a:t> </a:t>
            </a:r>
            <a:r>
              <a:rPr lang="de-DE" dirty="0" err="1"/>
              <a:t>discussed</a:t>
            </a:r>
            <a:r>
              <a:rPr lang="de-DE" dirty="0"/>
              <a:t> </a:t>
            </a:r>
            <a:r>
              <a:rPr lang="de-DE" dirty="0" err="1"/>
              <a:t>points</a:t>
            </a:r>
            <a:r>
              <a:rPr lang="de-DE" dirty="0"/>
              <a:t> (review)</a:t>
            </a:r>
          </a:p>
        </p:txBody>
      </p:sp>
      <p:sp>
        <p:nvSpPr>
          <p:cNvPr id="3" name="Title 2">
            <a:extLst>
              <a:ext uri="{FF2B5EF4-FFF2-40B4-BE49-F238E27FC236}">
                <a16:creationId xmlns:a16="http://schemas.microsoft.com/office/drawing/2014/main" id="{2C421CDF-87B4-67CE-FC60-171F8711FDDA}"/>
              </a:ext>
            </a:extLst>
          </p:cNvPr>
          <p:cNvSpPr>
            <a:spLocks noGrp="1"/>
          </p:cNvSpPr>
          <p:nvPr>
            <p:ph type="title"/>
          </p:nvPr>
        </p:nvSpPr>
        <p:spPr/>
        <p:txBody>
          <a:bodyPr/>
          <a:lstStyle/>
          <a:p>
            <a:r>
              <a:rPr lang="de-DE" dirty="0"/>
              <a:t>Most </a:t>
            </a:r>
            <a:r>
              <a:rPr lang="de-DE" dirty="0" err="1"/>
              <a:t>significant</a:t>
            </a:r>
            <a:r>
              <a:rPr lang="de-DE" dirty="0"/>
              <a:t> </a:t>
            </a:r>
            <a:r>
              <a:rPr lang="de-DE" dirty="0" err="1"/>
              <a:t>parameters</a:t>
            </a:r>
            <a:r>
              <a:rPr lang="de-DE" dirty="0"/>
              <a:t> </a:t>
            </a:r>
            <a:r>
              <a:rPr lang="de-DE" dirty="0" err="1"/>
              <a:t>for</a:t>
            </a:r>
            <a:r>
              <a:rPr lang="de-DE" dirty="0"/>
              <a:t> Error 2</a:t>
            </a:r>
          </a:p>
        </p:txBody>
      </p:sp>
      <p:sp>
        <p:nvSpPr>
          <p:cNvPr id="4" name="Date Placeholder 3">
            <a:extLst>
              <a:ext uri="{FF2B5EF4-FFF2-40B4-BE49-F238E27FC236}">
                <a16:creationId xmlns:a16="http://schemas.microsoft.com/office/drawing/2014/main" id="{EDB269A1-D81B-AC97-E46D-6C17539F3C2B}"/>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3BFC555E-55B9-BE75-BCFD-30A49494F5D8}"/>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214E5E2D-7928-3425-B05E-DFF3F29A291A}"/>
              </a:ext>
            </a:extLst>
          </p:cNvPr>
          <p:cNvSpPr>
            <a:spLocks noGrp="1"/>
          </p:cNvSpPr>
          <p:nvPr>
            <p:ph type="sldNum" sz="quarter" idx="80"/>
          </p:nvPr>
        </p:nvSpPr>
        <p:spPr/>
        <p:txBody>
          <a:bodyPr/>
          <a:lstStyle/>
          <a:p>
            <a:pPr algn="r"/>
            <a:fld id="{B6F15528-21DE-4FAA-801E-634DDDAF4B2B}" type="slidenum">
              <a:rPr lang="en-RO" smtClean="0"/>
              <a:pPr algn="r"/>
              <a:t>10</a:t>
            </a:fld>
            <a:endParaRPr lang="en-RO"/>
          </a:p>
        </p:txBody>
      </p:sp>
      <p:pic>
        <p:nvPicPr>
          <p:cNvPr id="7" name="Picture 6" descr="A graph with blue and black lines&#10;&#10;Description automatically generated">
            <a:extLst>
              <a:ext uri="{FF2B5EF4-FFF2-40B4-BE49-F238E27FC236}">
                <a16:creationId xmlns:a16="http://schemas.microsoft.com/office/drawing/2014/main" id="{200868C6-F020-2D6E-666C-73A07970E5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86362" y="1113977"/>
            <a:ext cx="4735728" cy="3215135"/>
          </a:xfrm>
          <a:prstGeom prst="rect">
            <a:avLst/>
          </a:prstGeom>
        </p:spPr>
      </p:pic>
      <p:sp>
        <p:nvSpPr>
          <p:cNvPr id="9" name="Rectangle 8">
            <a:extLst>
              <a:ext uri="{FF2B5EF4-FFF2-40B4-BE49-F238E27FC236}">
                <a16:creationId xmlns:a16="http://schemas.microsoft.com/office/drawing/2014/main" id="{4FFA04EA-361A-F4F6-3A96-725483C52C46}"/>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oup 9">
            <a:extLst>
              <a:ext uri="{FF2B5EF4-FFF2-40B4-BE49-F238E27FC236}">
                <a16:creationId xmlns:a16="http://schemas.microsoft.com/office/drawing/2014/main" id="{EB7C82B1-73B5-8410-4908-7044F30D1277}"/>
              </a:ext>
            </a:extLst>
          </p:cNvPr>
          <p:cNvGrpSpPr/>
          <p:nvPr/>
        </p:nvGrpSpPr>
        <p:grpSpPr>
          <a:xfrm>
            <a:off x="158804" y="1082897"/>
            <a:ext cx="3446949" cy="1679157"/>
            <a:chOff x="323599" y="919948"/>
            <a:chExt cx="6769895" cy="1533596"/>
          </a:xfrm>
        </p:grpSpPr>
        <p:sp>
          <p:nvSpPr>
            <p:cNvPr id="11" name="Rectangle 10">
              <a:extLst>
                <a:ext uri="{FF2B5EF4-FFF2-40B4-BE49-F238E27FC236}">
                  <a16:creationId xmlns:a16="http://schemas.microsoft.com/office/drawing/2014/main" id="{70C3FF8C-FED7-E01F-C908-D2424150C049}"/>
                </a:ext>
              </a:extLst>
            </p:cNvPr>
            <p:cNvSpPr/>
            <p:nvPr/>
          </p:nvSpPr>
          <p:spPr>
            <a:xfrm>
              <a:off x="323599" y="1170237"/>
              <a:ext cx="6769895" cy="1283307"/>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err="1">
                  <a:solidFill>
                    <a:schemeClr val="tx1"/>
                  </a:solidFill>
                </a:rPr>
                <a:t>To</a:t>
              </a:r>
              <a:r>
                <a:rPr lang="de-DE" sz="1100" dirty="0">
                  <a:solidFill>
                    <a:schemeClr val="tx1"/>
                  </a:solidFill>
                </a:rPr>
                <a:t> </a:t>
              </a:r>
              <a:r>
                <a:rPr lang="de-DE" sz="1100" dirty="0" err="1">
                  <a:solidFill>
                    <a:schemeClr val="tx1"/>
                  </a:solidFill>
                </a:rPr>
                <a:t>obtain</a:t>
              </a:r>
              <a:r>
                <a:rPr lang="de-DE" sz="1100" dirty="0">
                  <a:solidFill>
                    <a:schemeClr val="tx1"/>
                  </a:solidFill>
                </a:rPr>
                <a:t> </a:t>
              </a:r>
              <a:r>
                <a:rPr lang="de-DE" sz="1100" dirty="0" err="1">
                  <a:solidFill>
                    <a:schemeClr val="tx1"/>
                  </a:solidFill>
                </a:rPr>
                <a:t>this</a:t>
              </a:r>
              <a:r>
                <a:rPr lang="de-DE" sz="1100" dirty="0">
                  <a:solidFill>
                    <a:schemeClr val="tx1"/>
                  </a:solidFill>
                </a:rPr>
                <a:t> </a:t>
              </a:r>
              <a:r>
                <a:rPr lang="de-DE" sz="1100" dirty="0" err="1">
                  <a:solidFill>
                    <a:schemeClr val="tx1"/>
                  </a:solidFill>
                </a:rPr>
                <a:t>plot</a:t>
              </a:r>
              <a:r>
                <a:rPr lang="de-DE" sz="1100" dirty="0">
                  <a:solidFill>
                    <a:schemeClr val="tx1"/>
                  </a:solidFill>
                </a:rPr>
                <a:t> </a:t>
              </a:r>
              <a:r>
                <a:rPr lang="de-DE" sz="1100" dirty="0" err="1">
                  <a:solidFill>
                    <a:schemeClr val="tx1"/>
                  </a:solidFill>
                </a:rPr>
                <a:t>the</a:t>
              </a:r>
              <a:r>
                <a:rPr lang="de-DE" sz="1100" dirty="0">
                  <a:solidFill>
                    <a:schemeClr val="tx1"/>
                  </a:solidFill>
                </a:rPr>
                <a:t> Feature </a:t>
              </a:r>
              <a:r>
                <a:rPr lang="de-DE" sz="1100" dirty="0" err="1">
                  <a:solidFill>
                    <a:schemeClr val="tx1"/>
                  </a:solidFill>
                </a:rPr>
                <a:t>permutation</a:t>
              </a:r>
              <a:r>
                <a:rPr lang="de-DE" sz="1100" dirty="0">
                  <a:solidFill>
                    <a:schemeClr val="tx1"/>
                  </a:solidFill>
                </a:rPr>
                <a:t> </a:t>
              </a:r>
              <a:r>
                <a:rPr lang="de-DE" sz="1100" dirty="0" err="1">
                  <a:solidFill>
                    <a:schemeClr val="tx1"/>
                  </a:solidFill>
                </a:rPr>
                <a:t>methodology</a:t>
              </a:r>
              <a:r>
                <a:rPr lang="de-DE" sz="1100" dirty="0">
                  <a:solidFill>
                    <a:schemeClr val="tx1"/>
                  </a:solidFill>
                </a:rPr>
                <a:t> </a:t>
              </a:r>
              <a:r>
                <a:rPr lang="de-DE" sz="1100" dirty="0" err="1">
                  <a:solidFill>
                    <a:schemeClr val="tx1"/>
                  </a:solidFill>
                </a:rPr>
                <a:t>is</a:t>
              </a:r>
              <a:r>
                <a:rPr lang="de-DE" sz="1100" dirty="0">
                  <a:solidFill>
                    <a:schemeClr val="tx1"/>
                  </a:solidFill>
                </a:rPr>
                <a:t> </a:t>
              </a:r>
              <a:r>
                <a:rPr lang="de-DE" sz="1100" dirty="0" err="1">
                  <a:solidFill>
                    <a:schemeClr val="tx1"/>
                  </a:solidFill>
                </a:rPr>
                <a:t>used</a:t>
              </a:r>
              <a:r>
                <a:rPr lang="de-DE" sz="1100" dirty="0">
                  <a:solidFill>
                    <a:schemeClr val="tx1"/>
                  </a:solidFill>
                </a:rPr>
                <a:t>.</a:t>
              </a:r>
            </a:p>
            <a:p>
              <a:pPr marL="171450" indent="-171450">
                <a:buFont typeface="Arial" panose="020B0604020202020204" pitchFamily="34" charset="0"/>
                <a:buChar char="•"/>
              </a:pPr>
              <a:r>
                <a:rPr lang="de-DE" sz="1100" dirty="0" err="1">
                  <a:solidFill>
                    <a:schemeClr val="tx1"/>
                  </a:solidFill>
                </a:rPr>
                <a:t>Once</a:t>
              </a:r>
              <a:r>
                <a:rPr lang="de-DE" sz="1100" dirty="0">
                  <a:solidFill>
                    <a:schemeClr val="tx1"/>
                  </a:solidFill>
                </a:rPr>
                <a:t> </a:t>
              </a:r>
              <a:r>
                <a:rPr lang="de-DE" sz="1100" dirty="0" err="1">
                  <a:solidFill>
                    <a:schemeClr val="tx1"/>
                  </a:solidFill>
                </a:rPr>
                <a:t>random</a:t>
              </a:r>
              <a:r>
                <a:rPr lang="de-DE" sz="1100" dirty="0">
                  <a:solidFill>
                    <a:schemeClr val="tx1"/>
                  </a:solidFill>
                </a:rPr>
                <a:t> </a:t>
              </a:r>
              <a:r>
                <a:rPr lang="de-DE" sz="1100" dirty="0" err="1">
                  <a:solidFill>
                    <a:schemeClr val="tx1"/>
                  </a:solidFill>
                </a:rPr>
                <a:t>forest</a:t>
              </a:r>
              <a:r>
                <a:rPr lang="de-DE" sz="1100" dirty="0">
                  <a:solidFill>
                    <a:schemeClr val="tx1"/>
                  </a:solidFill>
                </a:rPr>
                <a:t> </a:t>
              </a:r>
              <a:r>
                <a:rPr lang="de-DE" sz="1100" dirty="0" err="1">
                  <a:solidFill>
                    <a:schemeClr val="tx1"/>
                  </a:solidFill>
                </a:rPr>
                <a:t>is</a:t>
              </a:r>
              <a:r>
                <a:rPr lang="de-DE" sz="1100" dirty="0">
                  <a:solidFill>
                    <a:schemeClr val="tx1"/>
                  </a:solidFill>
                </a:rPr>
                <a:t> </a:t>
              </a:r>
              <a:r>
                <a:rPr lang="de-DE" sz="1100" dirty="0" err="1">
                  <a:solidFill>
                    <a:schemeClr val="tx1"/>
                  </a:solidFill>
                </a:rPr>
                <a:t>built</a:t>
              </a:r>
              <a:r>
                <a:rPr lang="de-DE" sz="1100" dirty="0">
                  <a:solidFill>
                    <a:schemeClr val="tx1"/>
                  </a:solidFill>
                </a:rPr>
                <a:t>, </a:t>
              </a:r>
              <a:r>
                <a:rPr lang="de-DE" sz="1100" dirty="0" err="1">
                  <a:solidFill>
                    <a:schemeClr val="tx1"/>
                  </a:solidFill>
                </a:rPr>
                <a:t>the</a:t>
              </a:r>
              <a:r>
                <a:rPr lang="de-DE" sz="1100" dirty="0">
                  <a:solidFill>
                    <a:schemeClr val="tx1"/>
                  </a:solidFill>
                </a:rPr>
                <a:t> </a:t>
              </a:r>
              <a:r>
                <a:rPr lang="de-DE" sz="1100" dirty="0" err="1">
                  <a:solidFill>
                    <a:schemeClr val="tx1"/>
                  </a:solidFill>
                </a:rPr>
                <a:t>algorithm</a:t>
              </a:r>
              <a:r>
                <a:rPr lang="de-DE" sz="1100" dirty="0">
                  <a:solidFill>
                    <a:schemeClr val="tx1"/>
                  </a:solidFill>
                </a:rPr>
                <a:t> </a:t>
              </a:r>
              <a:r>
                <a:rPr lang="de-DE" sz="1100" dirty="0" err="1">
                  <a:solidFill>
                    <a:schemeClr val="tx1"/>
                  </a:solidFill>
                </a:rPr>
                <a:t>shuffles</a:t>
              </a:r>
              <a:r>
                <a:rPr lang="de-DE" sz="1100" dirty="0">
                  <a:solidFill>
                    <a:schemeClr val="tx1"/>
                  </a:solidFill>
                </a:rPr>
                <a:t> </a:t>
              </a:r>
              <a:r>
                <a:rPr lang="de-DE" sz="1100" dirty="0" err="1">
                  <a:solidFill>
                    <a:schemeClr val="tx1"/>
                  </a:solidFill>
                </a:rPr>
                <a:t>random</a:t>
              </a:r>
              <a:r>
                <a:rPr lang="de-DE" sz="1100" dirty="0">
                  <a:solidFill>
                    <a:schemeClr val="tx1"/>
                  </a:solidFill>
                </a:rPr>
                <a:t> </a:t>
              </a:r>
              <a:r>
                <a:rPr lang="de-DE" sz="1100" dirty="0" err="1">
                  <a:solidFill>
                    <a:schemeClr val="tx1"/>
                  </a:solidFill>
                </a:rPr>
                <a:t>features</a:t>
              </a:r>
              <a:r>
                <a:rPr lang="de-DE" sz="1100" dirty="0">
                  <a:solidFill>
                    <a:schemeClr val="tx1"/>
                  </a:solidFill>
                </a:rPr>
                <a:t>.</a:t>
              </a:r>
            </a:p>
            <a:p>
              <a:pPr marL="171450" indent="-171450">
                <a:buFont typeface="Arial" panose="020B0604020202020204" pitchFamily="34" charset="0"/>
                <a:buChar char="•"/>
              </a:pPr>
              <a:r>
                <a:rPr lang="de-DE" sz="1100" dirty="0">
                  <a:solidFill>
                    <a:schemeClr val="tx1"/>
                  </a:solidFill>
                </a:rPr>
                <a:t>Features </a:t>
              </a:r>
              <a:r>
                <a:rPr lang="de-DE" sz="1100" dirty="0" err="1">
                  <a:solidFill>
                    <a:schemeClr val="tx1"/>
                  </a:solidFill>
                </a:rPr>
                <a:t>which</a:t>
              </a:r>
              <a:r>
                <a:rPr lang="de-DE" sz="1100" dirty="0">
                  <a:solidFill>
                    <a:schemeClr val="tx1"/>
                  </a:solidFill>
                </a:rPr>
                <a:t> </a:t>
              </a:r>
              <a:r>
                <a:rPr lang="de-DE" sz="1100" dirty="0" err="1">
                  <a:solidFill>
                    <a:schemeClr val="tx1"/>
                  </a:solidFill>
                </a:rPr>
                <a:t>have</a:t>
              </a:r>
              <a:r>
                <a:rPr lang="de-DE" sz="1100" dirty="0">
                  <a:solidFill>
                    <a:schemeClr val="tx1"/>
                  </a:solidFill>
                </a:rPr>
                <a:t> </a:t>
              </a:r>
              <a:r>
                <a:rPr lang="de-DE" sz="1100" dirty="0" err="1">
                  <a:solidFill>
                    <a:schemeClr val="tx1"/>
                  </a:solidFill>
                </a:rPr>
                <a:t>created</a:t>
              </a:r>
              <a:r>
                <a:rPr lang="de-DE" sz="1100" dirty="0">
                  <a:solidFill>
                    <a:schemeClr val="tx1"/>
                  </a:solidFill>
                </a:rPr>
                <a:t> </a:t>
              </a:r>
              <a:r>
                <a:rPr lang="de-DE" sz="1100" dirty="0" err="1">
                  <a:solidFill>
                    <a:schemeClr val="tx1"/>
                  </a:solidFill>
                </a:rPr>
                <a:t>the</a:t>
              </a:r>
              <a:r>
                <a:rPr lang="de-DE" sz="1100" dirty="0">
                  <a:solidFill>
                    <a:schemeClr val="tx1"/>
                  </a:solidFill>
                </a:rPr>
                <a:t> </a:t>
              </a:r>
              <a:r>
                <a:rPr lang="de-DE" sz="1100" dirty="0" err="1">
                  <a:solidFill>
                    <a:schemeClr val="tx1"/>
                  </a:solidFill>
                </a:rPr>
                <a:t>most</a:t>
              </a:r>
              <a:r>
                <a:rPr lang="de-DE" sz="1100" dirty="0">
                  <a:solidFill>
                    <a:schemeClr val="tx1"/>
                  </a:solidFill>
                </a:rPr>
                <a:t> </a:t>
              </a:r>
              <a:r>
                <a:rPr lang="de-DE" sz="1100" dirty="0" err="1">
                  <a:solidFill>
                    <a:schemeClr val="tx1"/>
                  </a:solidFill>
                </a:rPr>
                <a:t>influence</a:t>
              </a:r>
              <a:r>
                <a:rPr lang="de-DE" sz="1100" dirty="0">
                  <a:solidFill>
                    <a:schemeClr val="tx1"/>
                  </a:solidFill>
                </a:rPr>
                <a:t> </a:t>
              </a:r>
              <a:r>
                <a:rPr lang="de-DE" sz="1100" dirty="0" err="1">
                  <a:solidFill>
                    <a:schemeClr val="tx1"/>
                  </a:solidFill>
                </a:rPr>
                <a:t>for</a:t>
              </a:r>
              <a:r>
                <a:rPr lang="de-DE" sz="1100" dirty="0">
                  <a:solidFill>
                    <a:schemeClr val="tx1"/>
                  </a:solidFill>
                </a:rPr>
                <a:t> </a:t>
              </a:r>
              <a:r>
                <a:rPr lang="de-DE" sz="1100" dirty="0" err="1">
                  <a:solidFill>
                    <a:schemeClr val="tx1"/>
                  </a:solidFill>
                </a:rPr>
                <a:t>obtaining</a:t>
              </a:r>
              <a:r>
                <a:rPr lang="de-DE" sz="1100" dirty="0">
                  <a:solidFill>
                    <a:schemeClr val="tx1"/>
                  </a:solidFill>
                </a:rPr>
                <a:t> a </a:t>
              </a:r>
              <a:r>
                <a:rPr lang="de-DE" sz="1100" dirty="0" err="1">
                  <a:solidFill>
                    <a:schemeClr val="tx1"/>
                  </a:solidFill>
                </a:rPr>
                <a:t>correct</a:t>
              </a:r>
              <a:r>
                <a:rPr lang="de-DE" sz="1100" dirty="0">
                  <a:solidFill>
                    <a:schemeClr val="tx1"/>
                  </a:solidFill>
                </a:rPr>
                <a:t> </a:t>
              </a:r>
              <a:r>
                <a:rPr lang="de-DE" sz="1100" dirty="0" err="1">
                  <a:solidFill>
                    <a:schemeClr val="tx1"/>
                  </a:solidFill>
                </a:rPr>
                <a:t>results</a:t>
              </a:r>
              <a:r>
                <a:rPr lang="de-DE" sz="1100" dirty="0">
                  <a:solidFill>
                    <a:schemeClr val="tx1"/>
                  </a:solidFill>
                </a:rPr>
                <a:t> </a:t>
              </a:r>
              <a:r>
                <a:rPr lang="de-DE" sz="1100" dirty="0" err="1">
                  <a:solidFill>
                    <a:schemeClr val="tx1"/>
                  </a:solidFill>
                </a:rPr>
                <a:t>are</a:t>
              </a:r>
              <a:r>
                <a:rPr lang="de-DE" sz="1100" dirty="0">
                  <a:solidFill>
                    <a:schemeClr val="tx1"/>
                  </a:solidFill>
                </a:rPr>
                <a:t> </a:t>
              </a:r>
              <a:r>
                <a:rPr lang="de-DE" sz="1100" dirty="0" err="1">
                  <a:solidFill>
                    <a:schemeClr val="tx1"/>
                  </a:solidFill>
                </a:rPr>
                <a:t>plotted</a:t>
              </a:r>
              <a:r>
                <a:rPr lang="de-DE" sz="1100" dirty="0">
                  <a:solidFill>
                    <a:schemeClr val="tx1"/>
                  </a:solidFill>
                </a:rPr>
                <a:t> </a:t>
              </a:r>
              <a:r>
                <a:rPr lang="de-DE" sz="1100" dirty="0" err="1">
                  <a:solidFill>
                    <a:schemeClr val="tx1"/>
                  </a:solidFill>
                </a:rPr>
                <a:t>with</a:t>
              </a:r>
              <a:r>
                <a:rPr lang="de-DE" sz="1100" dirty="0">
                  <a:solidFill>
                    <a:schemeClr val="tx1"/>
                  </a:solidFill>
                </a:rPr>
                <a:t> high </a:t>
              </a:r>
              <a:r>
                <a:rPr lang="de-DE" sz="1100" dirty="0" err="1">
                  <a:solidFill>
                    <a:schemeClr val="tx1"/>
                  </a:solidFill>
                </a:rPr>
                <a:t>values</a:t>
              </a:r>
              <a:r>
                <a:rPr lang="de-DE" sz="1100" dirty="0">
                  <a:solidFill>
                    <a:schemeClr val="tx1"/>
                  </a:solidFill>
                </a:rPr>
                <a:t> on a bar </a:t>
              </a:r>
              <a:r>
                <a:rPr lang="de-DE" sz="1100" dirty="0" err="1">
                  <a:solidFill>
                    <a:schemeClr val="tx1"/>
                  </a:solidFill>
                </a:rPr>
                <a:t>plot</a:t>
              </a:r>
              <a:r>
                <a:rPr lang="de-DE" sz="1100" dirty="0">
                  <a:solidFill>
                    <a:schemeClr val="tx1"/>
                  </a:solidFill>
                </a:rPr>
                <a:t>.</a:t>
              </a:r>
            </a:p>
            <a:p>
              <a:pPr marL="342900" indent="-342900">
                <a:buFont typeface="+mj-lt"/>
                <a:buAutoNum type="arabicPeriod"/>
              </a:pPr>
              <a:endParaRPr lang="de-DE" sz="1400" dirty="0">
                <a:solidFill>
                  <a:schemeClr val="tx1"/>
                </a:solidFill>
              </a:endParaRPr>
            </a:p>
            <a:p>
              <a:pPr marL="285750" indent="-285750">
                <a:buFont typeface="Arial" panose="020B0604020202020204" pitchFamily="34" charset="0"/>
                <a:buChar char="•"/>
              </a:pPr>
              <a:endParaRPr lang="de-DE" sz="1400" dirty="0">
                <a:solidFill>
                  <a:schemeClr val="tx1"/>
                </a:solidFill>
              </a:endParaRPr>
            </a:p>
          </p:txBody>
        </p:sp>
        <p:sp>
          <p:nvSpPr>
            <p:cNvPr id="12" name="Rectangle 11">
              <a:extLst>
                <a:ext uri="{FF2B5EF4-FFF2-40B4-BE49-F238E27FC236}">
                  <a16:creationId xmlns:a16="http://schemas.microsoft.com/office/drawing/2014/main" id="{1CB7F3D0-5656-08D9-8FE1-0528876BCB0C}"/>
                </a:ext>
              </a:extLst>
            </p:cNvPr>
            <p:cNvSpPr/>
            <p:nvPr/>
          </p:nvSpPr>
          <p:spPr>
            <a:xfrm>
              <a:off x="323600" y="919948"/>
              <a:ext cx="5111318" cy="249374"/>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Method used to plot</a:t>
              </a:r>
              <a:endParaRPr lang="de-DE" sz="1400" dirty="0">
                <a:solidFill>
                  <a:schemeClr val="tx1"/>
                </a:solidFill>
              </a:endParaRPr>
            </a:p>
          </p:txBody>
        </p:sp>
      </p:grpSp>
      <p:pic>
        <p:nvPicPr>
          <p:cNvPr id="13" name="Picture 12">
            <a:extLst>
              <a:ext uri="{FF2B5EF4-FFF2-40B4-BE49-F238E27FC236}">
                <a16:creationId xmlns:a16="http://schemas.microsoft.com/office/drawing/2014/main" id="{7670F4E7-91D7-B052-CD1F-6674AE6C39CC}"/>
              </a:ext>
            </a:extLst>
          </p:cNvPr>
          <p:cNvPicPr>
            <a:picLocks noChangeAspect="1"/>
          </p:cNvPicPr>
          <p:nvPr/>
        </p:nvPicPr>
        <p:blipFill rotWithShape="1">
          <a:blip r:embed="rId3"/>
          <a:srcRect t="7832" r="5705"/>
          <a:stretch/>
        </p:blipFill>
        <p:spPr>
          <a:xfrm>
            <a:off x="1114416" y="3090424"/>
            <a:ext cx="1863677" cy="1166769"/>
          </a:xfrm>
          <a:prstGeom prst="rect">
            <a:avLst/>
          </a:prstGeom>
        </p:spPr>
      </p:pic>
    </p:spTree>
    <p:extLst>
      <p:ext uri="{BB962C8B-B14F-4D97-AF65-F5344CB8AC3E}">
        <p14:creationId xmlns:p14="http://schemas.microsoft.com/office/powerpoint/2010/main" val="15743581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D583EA-D274-DB9E-84A0-97B856B4CF06}"/>
              </a:ext>
            </a:extLst>
          </p:cNvPr>
          <p:cNvSpPr>
            <a:spLocks noGrp="1"/>
          </p:cNvSpPr>
          <p:nvPr>
            <p:ph type="body" sz="quarter" idx="77"/>
          </p:nvPr>
        </p:nvSpPr>
        <p:spPr>
          <a:xfrm>
            <a:off x="323849" y="195356"/>
            <a:ext cx="7920000" cy="119392"/>
          </a:xfrm>
        </p:spPr>
        <p:txBody>
          <a:bodyPr/>
          <a:lstStyle/>
          <a:p>
            <a:r>
              <a:rPr lang="de-DE" dirty="0"/>
              <a:t>Weekly Update – </a:t>
            </a:r>
            <a:r>
              <a:rPr lang="de-DE" dirty="0" err="1"/>
              <a:t>calendar</a:t>
            </a:r>
            <a:r>
              <a:rPr lang="de-DE" dirty="0"/>
              <a:t> </a:t>
            </a:r>
            <a:r>
              <a:rPr lang="de-DE" dirty="0" err="1"/>
              <a:t>week</a:t>
            </a:r>
            <a:r>
              <a:rPr lang="de-DE" dirty="0"/>
              <a:t> 47</a:t>
            </a:r>
          </a:p>
        </p:txBody>
      </p:sp>
      <p:sp>
        <p:nvSpPr>
          <p:cNvPr id="3" name="Title 2">
            <a:extLst>
              <a:ext uri="{FF2B5EF4-FFF2-40B4-BE49-F238E27FC236}">
                <a16:creationId xmlns:a16="http://schemas.microsoft.com/office/drawing/2014/main" id="{99BAFB4D-FCC8-CADB-BCDD-C5DAC15D9497}"/>
              </a:ext>
            </a:extLst>
          </p:cNvPr>
          <p:cNvSpPr>
            <a:spLocks noGrp="1"/>
          </p:cNvSpPr>
          <p:nvPr>
            <p:ph type="title"/>
          </p:nvPr>
        </p:nvSpPr>
        <p:spPr/>
        <p:txBody>
          <a:bodyPr/>
          <a:lstStyle/>
          <a:p>
            <a:r>
              <a:rPr lang="de-DE" dirty="0"/>
              <a:t>Agenda </a:t>
            </a:r>
            <a:r>
              <a:rPr lang="de-DE" dirty="0" err="1"/>
              <a:t>of</a:t>
            </a:r>
            <a:r>
              <a:rPr lang="de-DE" dirty="0"/>
              <a:t> </a:t>
            </a:r>
            <a:r>
              <a:rPr lang="de-DE" dirty="0" err="1"/>
              <a:t>the</a:t>
            </a:r>
            <a:r>
              <a:rPr lang="de-DE" dirty="0"/>
              <a:t> Meeting</a:t>
            </a:r>
          </a:p>
        </p:txBody>
      </p:sp>
      <p:sp>
        <p:nvSpPr>
          <p:cNvPr id="4" name="Date Placeholder 3">
            <a:extLst>
              <a:ext uri="{FF2B5EF4-FFF2-40B4-BE49-F238E27FC236}">
                <a16:creationId xmlns:a16="http://schemas.microsoft.com/office/drawing/2014/main" id="{D1C7BF02-7CD1-A5C0-A148-6712409F2533}"/>
              </a:ext>
            </a:extLst>
          </p:cNvPr>
          <p:cNvSpPr>
            <a:spLocks noGrp="1"/>
          </p:cNvSpPr>
          <p:nvPr>
            <p:ph type="dt" sz="half" idx="78"/>
          </p:nvPr>
        </p:nvSpPr>
        <p:spPr/>
        <p:txBody>
          <a:bodyPr/>
          <a:lstStyle/>
          <a:p>
            <a:fld id="{12AA45ED-C83A-44F4-8EF9-9AAAA9D1CDF2}" type="datetime1">
              <a:rPr lang="de-DE" smtClean="0"/>
              <a:t>24.01.2024</a:t>
            </a:fld>
            <a:endParaRPr lang="en-US"/>
          </a:p>
        </p:txBody>
      </p:sp>
      <p:sp>
        <p:nvSpPr>
          <p:cNvPr id="6" name="Slide Number Placeholder 5">
            <a:extLst>
              <a:ext uri="{FF2B5EF4-FFF2-40B4-BE49-F238E27FC236}">
                <a16:creationId xmlns:a16="http://schemas.microsoft.com/office/drawing/2014/main" id="{7BEBB52F-EDBC-EFD5-471E-ED0DDE4DE459}"/>
              </a:ext>
            </a:extLst>
          </p:cNvPr>
          <p:cNvSpPr>
            <a:spLocks noGrp="1"/>
          </p:cNvSpPr>
          <p:nvPr>
            <p:ph type="sldNum" sz="quarter" idx="80"/>
          </p:nvPr>
        </p:nvSpPr>
        <p:spPr/>
        <p:txBody>
          <a:bodyPr/>
          <a:lstStyle/>
          <a:p>
            <a:pPr algn="r"/>
            <a:fld id="{B6F15528-21DE-4FAA-801E-634DDDAF4B2B}" type="slidenum">
              <a:rPr lang="en-RO" smtClean="0"/>
              <a:pPr algn="r"/>
              <a:t>11</a:t>
            </a:fld>
            <a:endParaRPr lang="en-RO"/>
          </a:p>
        </p:txBody>
      </p:sp>
      <p:graphicFrame>
        <p:nvGraphicFramePr>
          <p:cNvPr id="10" name="Table 10">
            <a:extLst>
              <a:ext uri="{FF2B5EF4-FFF2-40B4-BE49-F238E27FC236}">
                <a16:creationId xmlns:a16="http://schemas.microsoft.com/office/drawing/2014/main" id="{F2CF7F64-B806-3EDB-ABEE-97A844628204}"/>
              </a:ext>
            </a:extLst>
          </p:cNvPr>
          <p:cNvGraphicFramePr>
            <a:graphicFrameLocks noGrp="1"/>
          </p:cNvGraphicFramePr>
          <p:nvPr>
            <p:extLst>
              <p:ext uri="{D42A27DB-BD31-4B8C-83A1-F6EECF244321}">
                <p14:modId xmlns:p14="http://schemas.microsoft.com/office/powerpoint/2010/main" val="1903632558"/>
              </p:ext>
            </p:extLst>
          </p:nvPr>
        </p:nvGraphicFramePr>
        <p:xfrm>
          <a:off x="323849" y="1243170"/>
          <a:ext cx="6096000" cy="1219200"/>
        </p:xfrm>
        <a:graphic>
          <a:graphicData uri="http://schemas.openxmlformats.org/drawingml/2006/table">
            <a:tbl>
              <a:tblPr firstRow="1" bandRow="1">
                <a:tableStyleId>{5C22544A-7EE6-4342-B048-85BDC9FD1C3A}</a:tableStyleId>
              </a:tblPr>
              <a:tblGrid>
                <a:gridCol w="757257">
                  <a:extLst>
                    <a:ext uri="{9D8B030D-6E8A-4147-A177-3AD203B41FA5}">
                      <a16:colId xmlns:a16="http://schemas.microsoft.com/office/drawing/2014/main" val="1584267583"/>
                    </a:ext>
                  </a:extLst>
                </a:gridCol>
                <a:gridCol w="5338743">
                  <a:extLst>
                    <a:ext uri="{9D8B030D-6E8A-4147-A177-3AD203B41FA5}">
                      <a16:colId xmlns:a16="http://schemas.microsoft.com/office/drawing/2014/main" val="3959873866"/>
                    </a:ext>
                  </a:extLst>
                </a:gridCol>
              </a:tblGrid>
              <a:tr h="375920">
                <a:tc>
                  <a:txBody>
                    <a:bodyPr/>
                    <a:lstStyle/>
                    <a:p>
                      <a:r>
                        <a:rPr lang="de-DE" sz="1900" b="1" dirty="0">
                          <a:solidFill>
                            <a:schemeClr val="tx1"/>
                          </a:solidFill>
                        </a:rPr>
                        <a:t>1.</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100" b="0" dirty="0" err="1">
                          <a:solidFill>
                            <a:schemeClr val="tx1"/>
                          </a:solidFill>
                        </a:rPr>
                        <a:t>Previously</a:t>
                      </a:r>
                      <a:r>
                        <a:rPr lang="de-DE" sz="1100" b="0" dirty="0">
                          <a:solidFill>
                            <a:schemeClr val="tx1"/>
                          </a:solidFill>
                        </a:rPr>
                        <a:t> </a:t>
                      </a:r>
                      <a:r>
                        <a:rPr lang="de-DE" sz="1100" b="0" dirty="0" err="1">
                          <a:solidFill>
                            <a:schemeClr val="tx1"/>
                          </a:solidFill>
                        </a:rPr>
                        <a:t>discussed</a:t>
                      </a:r>
                      <a:r>
                        <a:rPr lang="de-DE" sz="1100" b="0" dirty="0">
                          <a:solidFill>
                            <a:schemeClr val="tx1"/>
                          </a:solidFill>
                        </a:rPr>
                        <a:t> </a:t>
                      </a:r>
                      <a:r>
                        <a:rPr lang="de-DE" sz="1100" b="0" dirty="0" err="1">
                          <a:solidFill>
                            <a:schemeClr val="tx1"/>
                          </a:solidFill>
                        </a:rPr>
                        <a:t>points</a:t>
                      </a:r>
                      <a:r>
                        <a:rPr lang="de-DE" sz="1100" b="0" dirty="0">
                          <a:solidFill>
                            <a:schemeClr val="tx1"/>
                          </a:solidFill>
                        </a:rPr>
                        <a:t> (Review)</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188426"/>
                  </a:ext>
                </a:extLst>
              </a:tr>
              <a:tr h="375920">
                <a:tc>
                  <a:txBody>
                    <a:bodyPr/>
                    <a:lstStyle/>
                    <a:p>
                      <a:r>
                        <a:rPr lang="de-DE" sz="2400" b="1" dirty="0">
                          <a:solidFill>
                            <a:srgbClr val="FF0000"/>
                          </a:solidFill>
                        </a:rPr>
                        <a:t>2.</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dirty="0">
                          <a:solidFill>
                            <a:srgbClr val="FF0000"/>
                          </a:solidFill>
                        </a:rPr>
                        <a:t>Hyperparameters and Data </a:t>
                      </a:r>
                      <a:r>
                        <a:rPr lang="de-DE" sz="1400" dirty="0" err="1">
                          <a:solidFill>
                            <a:srgbClr val="FF0000"/>
                          </a:solidFill>
                        </a:rPr>
                        <a:t>selection</a:t>
                      </a:r>
                      <a:endParaRPr lang="de-DE" sz="1400" dirty="0">
                        <a:solidFill>
                          <a:srgbClr val="FF0000"/>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047735"/>
                  </a:ext>
                </a:extLst>
              </a:tr>
              <a:tr h="375920">
                <a:tc>
                  <a:txBody>
                    <a:bodyPr/>
                    <a:lstStyle/>
                    <a:p>
                      <a:r>
                        <a:rPr lang="de-DE" sz="1900" b="1" dirty="0">
                          <a:solidFill>
                            <a:schemeClr val="tx1"/>
                          </a:solidFill>
                        </a:rPr>
                        <a:t>3.</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err="1">
                          <a:solidFill>
                            <a:schemeClr val="tx1"/>
                          </a:solidFill>
                        </a:rPr>
                        <a:t>Results</a:t>
                      </a:r>
                      <a:r>
                        <a:rPr lang="de-DE" sz="1100" dirty="0">
                          <a:solidFill>
                            <a:schemeClr val="tx1"/>
                          </a:solidFill>
                        </a:rPr>
                        <a:t> </a:t>
                      </a:r>
                      <a:r>
                        <a:rPr lang="de-DE" sz="1100" dirty="0" err="1">
                          <a:solidFill>
                            <a:schemeClr val="tx1"/>
                          </a:solidFill>
                        </a:rPr>
                        <a:t>of</a:t>
                      </a:r>
                      <a:r>
                        <a:rPr lang="de-DE" sz="1100" dirty="0">
                          <a:solidFill>
                            <a:schemeClr val="tx1"/>
                          </a:solidFill>
                        </a:rPr>
                        <a:t> Random </a:t>
                      </a:r>
                      <a:r>
                        <a:rPr lang="de-DE" sz="1100" dirty="0" err="1">
                          <a:solidFill>
                            <a:schemeClr val="tx1"/>
                          </a:solidFill>
                        </a:rPr>
                        <a:t>forest</a:t>
                      </a:r>
                      <a:endParaRPr lang="de-DE" sz="1100" dirty="0">
                        <a:solidFill>
                          <a:schemeClr val="tx1"/>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288690"/>
                  </a:ext>
                </a:extLst>
              </a:tr>
            </a:tbl>
          </a:graphicData>
        </a:graphic>
      </p:graphicFrame>
      <p:sp>
        <p:nvSpPr>
          <p:cNvPr id="11" name="Footer Placeholder 10">
            <a:extLst>
              <a:ext uri="{FF2B5EF4-FFF2-40B4-BE49-F238E27FC236}">
                <a16:creationId xmlns:a16="http://schemas.microsoft.com/office/drawing/2014/main" id="{36FCCE6A-A219-382B-566A-877923F047C1}"/>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7" name="Rectangle 6">
            <a:extLst>
              <a:ext uri="{FF2B5EF4-FFF2-40B4-BE49-F238E27FC236}">
                <a16:creationId xmlns:a16="http://schemas.microsoft.com/office/drawing/2014/main" id="{8D6C4E42-EEA0-98AF-4AE0-428623604E1F}"/>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3491674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050B645-419C-634D-89F8-889874406AEA}"/>
              </a:ext>
            </a:extLst>
          </p:cNvPr>
          <p:cNvSpPr>
            <a:spLocks/>
          </p:cNvSpPr>
          <p:nvPr/>
        </p:nvSpPr>
        <p:spPr>
          <a:xfrm>
            <a:off x="3652886" y="1082897"/>
            <a:ext cx="5332309" cy="3547873"/>
          </a:xfrm>
          <a:prstGeom prst="rect">
            <a:avLst/>
          </a:prstGeom>
          <a:solidFill>
            <a:srgbClr val="D1D2F2">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 Placeholder 1">
            <a:extLst>
              <a:ext uri="{FF2B5EF4-FFF2-40B4-BE49-F238E27FC236}">
                <a16:creationId xmlns:a16="http://schemas.microsoft.com/office/drawing/2014/main" id="{B21AA6F2-3CD4-DC09-8BF4-D8DAC575DE59}"/>
              </a:ext>
            </a:extLst>
          </p:cNvPr>
          <p:cNvSpPr>
            <a:spLocks noGrp="1"/>
          </p:cNvSpPr>
          <p:nvPr>
            <p:ph type="body" sz="quarter" idx="77"/>
          </p:nvPr>
        </p:nvSpPr>
        <p:spPr/>
        <p:txBody>
          <a:bodyPr/>
          <a:lstStyle/>
          <a:p>
            <a:r>
              <a:rPr lang="de-DE" dirty="0" err="1"/>
              <a:t>Hyper</a:t>
            </a:r>
            <a:r>
              <a:rPr lang="de-DE" dirty="0"/>
              <a:t> </a:t>
            </a:r>
            <a:r>
              <a:rPr lang="de-DE" dirty="0" err="1"/>
              <a:t>parameters</a:t>
            </a:r>
            <a:r>
              <a:rPr lang="de-DE" dirty="0"/>
              <a:t> and feature </a:t>
            </a:r>
            <a:r>
              <a:rPr lang="de-DE" dirty="0" err="1"/>
              <a:t>selection</a:t>
            </a:r>
            <a:endParaRPr lang="de-DE" dirty="0"/>
          </a:p>
        </p:txBody>
      </p:sp>
      <p:sp>
        <p:nvSpPr>
          <p:cNvPr id="3" name="Title 2">
            <a:extLst>
              <a:ext uri="{FF2B5EF4-FFF2-40B4-BE49-F238E27FC236}">
                <a16:creationId xmlns:a16="http://schemas.microsoft.com/office/drawing/2014/main" id="{414014B0-7B67-1D4A-1281-7047185DAB4A}"/>
              </a:ext>
            </a:extLst>
          </p:cNvPr>
          <p:cNvSpPr>
            <a:spLocks noGrp="1"/>
          </p:cNvSpPr>
          <p:nvPr>
            <p:ph type="title"/>
          </p:nvPr>
        </p:nvSpPr>
        <p:spPr/>
        <p:txBody>
          <a:bodyPr/>
          <a:lstStyle/>
          <a:p>
            <a:r>
              <a:rPr lang="de-DE" dirty="0"/>
              <a:t>Initial </a:t>
            </a:r>
            <a:r>
              <a:rPr lang="de-DE" dirty="0" err="1"/>
              <a:t>Results</a:t>
            </a:r>
            <a:r>
              <a:rPr lang="de-DE" dirty="0"/>
              <a:t> </a:t>
            </a:r>
            <a:r>
              <a:rPr lang="de-DE" dirty="0" err="1"/>
              <a:t>from</a:t>
            </a:r>
            <a:r>
              <a:rPr lang="de-DE" dirty="0"/>
              <a:t> Standard Hyperparameters</a:t>
            </a:r>
          </a:p>
        </p:txBody>
      </p:sp>
      <p:sp>
        <p:nvSpPr>
          <p:cNvPr id="4" name="Date Placeholder 3">
            <a:extLst>
              <a:ext uri="{FF2B5EF4-FFF2-40B4-BE49-F238E27FC236}">
                <a16:creationId xmlns:a16="http://schemas.microsoft.com/office/drawing/2014/main" id="{94E18D57-C280-BB10-F515-1A8FFA922593}"/>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A2351AE4-4443-3324-007C-E1858366C4FB}"/>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7D34F715-E0C4-7E1B-1716-FA1188159CE6}"/>
              </a:ext>
            </a:extLst>
          </p:cNvPr>
          <p:cNvSpPr>
            <a:spLocks noGrp="1"/>
          </p:cNvSpPr>
          <p:nvPr>
            <p:ph type="sldNum" sz="quarter" idx="80"/>
          </p:nvPr>
        </p:nvSpPr>
        <p:spPr/>
        <p:txBody>
          <a:bodyPr/>
          <a:lstStyle/>
          <a:p>
            <a:pPr algn="r"/>
            <a:fld id="{B6F15528-21DE-4FAA-801E-634DDDAF4B2B}" type="slidenum">
              <a:rPr lang="en-RO" smtClean="0"/>
              <a:pPr algn="r"/>
              <a:t>12</a:t>
            </a:fld>
            <a:endParaRPr lang="en-RO"/>
          </a:p>
        </p:txBody>
      </p:sp>
      <p:grpSp>
        <p:nvGrpSpPr>
          <p:cNvPr id="7" name="Group 6">
            <a:extLst>
              <a:ext uri="{FF2B5EF4-FFF2-40B4-BE49-F238E27FC236}">
                <a16:creationId xmlns:a16="http://schemas.microsoft.com/office/drawing/2014/main" id="{1B7628B7-9344-8CBE-AD06-056215F71E57}"/>
              </a:ext>
            </a:extLst>
          </p:cNvPr>
          <p:cNvGrpSpPr/>
          <p:nvPr/>
        </p:nvGrpSpPr>
        <p:grpSpPr>
          <a:xfrm>
            <a:off x="158804" y="1082897"/>
            <a:ext cx="3446949" cy="1679157"/>
            <a:chOff x="323599" y="919948"/>
            <a:chExt cx="6769895" cy="1533596"/>
          </a:xfrm>
        </p:grpSpPr>
        <p:sp>
          <p:nvSpPr>
            <p:cNvPr id="8" name="Rectangle 7">
              <a:extLst>
                <a:ext uri="{FF2B5EF4-FFF2-40B4-BE49-F238E27FC236}">
                  <a16:creationId xmlns:a16="http://schemas.microsoft.com/office/drawing/2014/main" id="{9020CB02-219A-F3FA-C380-BF2071A0CABB}"/>
                </a:ext>
              </a:extLst>
            </p:cNvPr>
            <p:cNvSpPr/>
            <p:nvPr/>
          </p:nvSpPr>
          <p:spPr>
            <a:xfrm>
              <a:off x="323599" y="1170237"/>
              <a:ext cx="6769895" cy="1283307"/>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DE" sz="1100" dirty="0">
                  <a:solidFill>
                    <a:schemeClr val="tx1"/>
                  </a:solidFill>
                </a:rPr>
                <a:t>Numbers </a:t>
              </a:r>
              <a:r>
                <a:rPr lang="de-DE" sz="1100" dirty="0" err="1">
                  <a:solidFill>
                    <a:schemeClr val="tx1"/>
                  </a:solidFill>
                </a:rPr>
                <a:t>of</a:t>
              </a:r>
              <a:r>
                <a:rPr lang="de-DE" sz="1100" dirty="0">
                  <a:solidFill>
                    <a:schemeClr val="tx1"/>
                  </a:solidFill>
                </a:rPr>
                <a:t> </a:t>
              </a:r>
              <a:r>
                <a:rPr lang="de-DE" sz="1100" dirty="0" err="1">
                  <a:solidFill>
                    <a:schemeClr val="tx1"/>
                  </a:solidFill>
                </a:rPr>
                <a:t>Estimators</a:t>
              </a:r>
              <a:r>
                <a:rPr lang="de-DE" sz="1100" dirty="0">
                  <a:solidFill>
                    <a:schemeClr val="tx1"/>
                  </a:solidFill>
                </a:rPr>
                <a:t> 32</a:t>
              </a:r>
            </a:p>
            <a:p>
              <a:pPr marL="742921" lvl="1" indent="-285750">
                <a:buFont typeface="Arial" panose="020B0604020202020204" pitchFamily="34" charset="0"/>
                <a:buChar char="•"/>
              </a:pPr>
              <a:r>
                <a:rPr lang="de-DE" sz="1000" dirty="0" err="1">
                  <a:solidFill>
                    <a:schemeClr val="tx1"/>
                  </a:solidFill>
                </a:rPr>
                <a:t>Selection</a:t>
              </a:r>
              <a:r>
                <a:rPr lang="de-DE" sz="1000" dirty="0">
                  <a:solidFill>
                    <a:schemeClr val="tx1"/>
                  </a:solidFill>
                </a:rPr>
                <a:t> </a:t>
              </a:r>
              <a:r>
                <a:rPr lang="de-DE" sz="1000" dirty="0" err="1">
                  <a:solidFill>
                    <a:schemeClr val="tx1"/>
                  </a:solidFill>
                </a:rPr>
                <a:t>criteria</a:t>
              </a:r>
              <a:r>
                <a:rPr lang="de-DE" sz="1000" dirty="0">
                  <a:solidFill>
                    <a:schemeClr val="tx1"/>
                  </a:solidFill>
                </a:rPr>
                <a:t> - Max AUC score on </a:t>
              </a:r>
              <a:r>
                <a:rPr lang="de-DE" sz="1000" dirty="0" err="1">
                  <a:solidFill>
                    <a:schemeClr val="tx1"/>
                  </a:solidFill>
                </a:rPr>
                <a:t>text</a:t>
              </a:r>
              <a:r>
                <a:rPr lang="de-DE" sz="1000" dirty="0">
                  <a:solidFill>
                    <a:schemeClr val="tx1"/>
                  </a:solidFill>
                </a:rPr>
                <a:t> </a:t>
              </a:r>
              <a:r>
                <a:rPr lang="de-DE" sz="1000" dirty="0" err="1">
                  <a:solidFill>
                    <a:schemeClr val="tx1"/>
                  </a:solidFill>
                </a:rPr>
                <a:t>dataset</a:t>
              </a:r>
              <a:endParaRPr lang="de-DE" sz="1000" dirty="0">
                <a:solidFill>
                  <a:schemeClr val="tx1"/>
                </a:solidFill>
              </a:endParaRPr>
            </a:p>
            <a:p>
              <a:pPr marL="285750" indent="-285750">
                <a:buFont typeface="Arial" panose="020B0604020202020204" pitchFamily="34" charset="0"/>
                <a:buChar char="•"/>
              </a:pPr>
              <a:r>
                <a:rPr lang="de-DE" sz="1100" dirty="0" err="1">
                  <a:solidFill>
                    <a:schemeClr val="tx1"/>
                  </a:solidFill>
                </a:rPr>
                <a:t>Bootstraping</a:t>
              </a:r>
              <a:r>
                <a:rPr lang="de-DE" sz="1100" dirty="0">
                  <a:solidFill>
                    <a:schemeClr val="tx1"/>
                  </a:solidFill>
                </a:rPr>
                <a:t>, Out </a:t>
              </a:r>
              <a:r>
                <a:rPr lang="de-DE" sz="1100" dirty="0" err="1">
                  <a:solidFill>
                    <a:schemeClr val="tx1"/>
                  </a:solidFill>
                </a:rPr>
                <a:t>of</a:t>
              </a:r>
              <a:r>
                <a:rPr lang="de-DE" sz="1100" dirty="0">
                  <a:solidFill>
                    <a:schemeClr val="tx1"/>
                  </a:solidFill>
                </a:rPr>
                <a:t> </a:t>
              </a:r>
              <a:r>
                <a:rPr lang="de-DE" sz="1100" dirty="0" err="1">
                  <a:solidFill>
                    <a:schemeClr val="tx1"/>
                  </a:solidFill>
                </a:rPr>
                <a:t>the</a:t>
              </a:r>
              <a:r>
                <a:rPr lang="de-DE" sz="1100" dirty="0">
                  <a:solidFill>
                    <a:schemeClr val="tx1"/>
                  </a:solidFill>
                </a:rPr>
                <a:t> </a:t>
              </a:r>
              <a:r>
                <a:rPr lang="de-DE" sz="1100" dirty="0" err="1">
                  <a:solidFill>
                    <a:schemeClr val="tx1"/>
                  </a:solidFill>
                </a:rPr>
                <a:t>bag</a:t>
              </a:r>
              <a:r>
                <a:rPr lang="de-DE" sz="1100" dirty="0">
                  <a:solidFill>
                    <a:schemeClr val="tx1"/>
                  </a:solidFill>
                </a:rPr>
                <a:t> (OBB) Validation, Warmstart </a:t>
              </a:r>
              <a:r>
                <a:rPr lang="de-DE" sz="1100" dirty="0" err="1">
                  <a:solidFill>
                    <a:schemeClr val="tx1"/>
                  </a:solidFill>
                </a:rPr>
                <a:t>are</a:t>
              </a:r>
              <a:r>
                <a:rPr lang="de-DE" sz="1100" dirty="0">
                  <a:solidFill>
                    <a:schemeClr val="tx1"/>
                  </a:solidFill>
                </a:rPr>
                <a:t> On.</a:t>
              </a:r>
            </a:p>
          </p:txBody>
        </p:sp>
        <p:sp>
          <p:nvSpPr>
            <p:cNvPr id="9" name="Rectangle 8">
              <a:extLst>
                <a:ext uri="{FF2B5EF4-FFF2-40B4-BE49-F238E27FC236}">
                  <a16:creationId xmlns:a16="http://schemas.microsoft.com/office/drawing/2014/main" id="{DFEF2AFF-F92D-9297-8F29-8C7D9F73B677}"/>
                </a:ext>
              </a:extLst>
            </p:cNvPr>
            <p:cNvSpPr/>
            <p:nvPr/>
          </p:nvSpPr>
          <p:spPr>
            <a:xfrm>
              <a:off x="323600" y="919948"/>
              <a:ext cx="5111318" cy="249374"/>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Hyperparameters</a:t>
              </a:r>
              <a:endParaRPr lang="de-DE" sz="1400" dirty="0">
                <a:solidFill>
                  <a:schemeClr val="tx1"/>
                </a:solidFill>
              </a:endParaRPr>
            </a:p>
          </p:txBody>
        </p:sp>
      </p:grpSp>
      <p:grpSp>
        <p:nvGrpSpPr>
          <p:cNvPr id="10" name="Group 9">
            <a:extLst>
              <a:ext uri="{FF2B5EF4-FFF2-40B4-BE49-F238E27FC236}">
                <a16:creationId xmlns:a16="http://schemas.microsoft.com/office/drawing/2014/main" id="{3B81E3B6-670B-74BD-8118-1A0056944DC6}"/>
              </a:ext>
            </a:extLst>
          </p:cNvPr>
          <p:cNvGrpSpPr/>
          <p:nvPr/>
        </p:nvGrpSpPr>
        <p:grpSpPr>
          <a:xfrm>
            <a:off x="158804" y="2812716"/>
            <a:ext cx="3446949" cy="877879"/>
            <a:chOff x="323599" y="919948"/>
            <a:chExt cx="6769895" cy="1078873"/>
          </a:xfrm>
        </p:grpSpPr>
        <p:sp>
          <p:nvSpPr>
            <p:cNvPr id="11" name="Rectangle 10">
              <a:extLst>
                <a:ext uri="{FF2B5EF4-FFF2-40B4-BE49-F238E27FC236}">
                  <a16:creationId xmlns:a16="http://schemas.microsoft.com/office/drawing/2014/main" id="{EA326A15-76E5-96B3-CABB-E80B2718590A}"/>
                </a:ext>
              </a:extLst>
            </p:cNvPr>
            <p:cNvSpPr/>
            <p:nvPr/>
          </p:nvSpPr>
          <p:spPr>
            <a:xfrm>
              <a:off x="323599" y="1170238"/>
              <a:ext cx="6769895" cy="828583"/>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DE" sz="1100" dirty="0">
                  <a:solidFill>
                    <a:schemeClr val="tx1"/>
                  </a:solidFill>
                </a:rPr>
                <a:t>Features in </a:t>
              </a:r>
              <a:r>
                <a:rPr lang="de-DE" sz="1100" dirty="0" err="1">
                  <a:solidFill>
                    <a:schemeClr val="tx1"/>
                  </a:solidFill>
                </a:rPr>
                <a:t>this</a:t>
              </a:r>
              <a:r>
                <a:rPr lang="de-DE" sz="1100" dirty="0">
                  <a:solidFill>
                    <a:schemeClr val="tx1"/>
                  </a:solidFill>
                </a:rPr>
                <a:t> </a:t>
              </a:r>
              <a:r>
                <a:rPr lang="de-DE" sz="1100" dirty="0" err="1">
                  <a:solidFill>
                    <a:schemeClr val="tx1"/>
                  </a:solidFill>
                </a:rPr>
                <a:t>method</a:t>
              </a:r>
              <a:r>
                <a:rPr lang="de-DE" sz="1100" dirty="0">
                  <a:solidFill>
                    <a:schemeClr val="tx1"/>
                  </a:solidFill>
                </a:rPr>
                <a:t> </a:t>
              </a:r>
              <a:r>
                <a:rPr lang="de-DE" sz="1100" dirty="0" err="1">
                  <a:solidFill>
                    <a:schemeClr val="tx1"/>
                  </a:solidFill>
                </a:rPr>
                <a:t>are</a:t>
              </a:r>
              <a:r>
                <a:rPr lang="de-DE" sz="1100" dirty="0">
                  <a:solidFill>
                    <a:schemeClr val="tx1"/>
                  </a:solidFill>
                </a:rPr>
                <a:t> </a:t>
              </a:r>
              <a:r>
                <a:rPr lang="de-DE" sz="1100" dirty="0" err="1">
                  <a:solidFill>
                    <a:schemeClr val="tx1"/>
                  </a:solidFill>
                </a:rPr>
                <a:t>traced</a:t>
              </a:r>
              <a:r>
                <a:rPr lang="de-DE" sz="1100" dirty="0">
                  <a:solidFill>
                    <a:schemeClr val="tx1"/>
                  </a:solidFill>
                </a:rPr>
                <a:t> </a:t>
              </a:r>
              <a:r>
                <a:rPr lang="de-DE" sz="1100" dirty="0" err="1">
                  <a:solidFill>
                    <a:schemeClr val="tx1"/>
                  </a:solidFill>
                </a:rPr>
                <a:t>by</a:t>
              </a:r>
              <a:r>
                <a:rPr lang="de-DE" sz="1100" dirty="0">
                  <a:solidFill>
                    <a:schemeClr val="tx1"/>
                  </a:solidFill>
                </a:rPr>
                <a:t> </a:t>
              </a:r>
              <a:r>
                <a:rPr lang="de-DE" sz="1100" dirty="0" err="1">
                  <a:solidFill>
                    <a:schemeClr val="tx1"/>
                  </a:solidFill>
                </a:rPr>
                <a:t>using</a:t>
              </a:r>
              <a:r>
                <a:rPr lang="de-DE" sz="1100" dirty="0">
                  <a:solidFill>
                    <a:schemeClr val="tx1"/>
                  </a:solidFill>
                </a:rPr>
                <a:t> Permutation </a:t>
              </a:r>
              <a:r>
                <a:rPr lang="de-DE" sz="1100" dirty="0" err="1">
                  <a:solidFill>
                    <a:schemeClr val="tx1"/>
                  </a:solidFill>
                </a:rPr>
                <a:t>Importance</a:t>
              </a:r>
              <a:r>
                <a:rPr lang="de-DE" sz="1100" dirty="0">
                  <a:solidFill>
                    <a:schemeClr val="tx1"/>
                  </a:solidFill>
                </a:rPr>
                <a:t> </a:t>
              </a:r>
              <a:r>
                <a:rPr lang="de-DE" sz="1100" dirty="0" err="1">
                  <a:solidFill>
                    <a:schemeClr val="tx1"/>
                  </a:solidFill>
                </a:rPr>
                <a:t>method</a:t>
              </a:r>
              <a:r>
                <a:rPr lang="de-DE" sz="1100" dirty="0">
                  <a:solidFill>
                    <a:schemeClr val="tx1"/>
                  </a:solidFill>
                </a:rPr>
                <a:t>.</a:t>
              </a:r>
            </a:p>
            <a:p>
              <a:pPr marL="285750" indent="-285750">
                <a:buFont typeface="Arial" panose="020B0604020202020204" pitchFamily="34" charset="0"/>
                <a:buChar char="•"/>
              </a:pPr>
              <a:r>
                <a:rPr lang="de-DE" sz="1100" dirty="0" err="1">
                  <a:solidFill>
                    <a:schemeClr val="tx1"/>
                  </a:solidFill>
                </a:rPr>
                <a:t>Number</a:t>
              </a:r>
              <a:r>
                <a:rPr lang="de-DE" sz="1100" dirty="0">
                  <a:solidFill>
                    <a:schemeClr val="tx1"/>
                  </a:solidFill>
                </a:rPr>
                <a:t> </a:t>
              </a:r>
              <a:r>
                <a:rPr lang="de-DE" sz="1100" dirty="0" err="1">
                  <a:solidFill>
                    <a:schemeClr val="tx1"/>
                  </a:solidFill>
                </a:rPr>
                <a:t>of</a:t>
              </a:r>
              <a:r>
                <a:rPr lang="de-DE" sz="1100" dirty="0">
                  <a:solidFill>
                    <a:schemeClr val="tx1"/>
                  </a:solidFill>
                </a:rPr>
                <a:t> </a:t>
              </a:r>
              <a:r>
                <a:rPr lang="de-DE" sz="1100" dirty="0" err="1">
                  <a:solidFill>
                    <a:schemeClr val="tx1"/>
                  </a:solidFill>
                </a:rPr>
                <a:t>iterations</a:t>
              </a:r>
              <a:r>
                <a:rPr lang="de-DE" sz="1100" dirty="0">
                  <a:solidFill>
                    <a:schemeClr val="tx1"/>
                  </a:solidFill>
                </a:rPr>
                <a:t> – 100</a:t>
              </a:r>
            </a:p>
          </p:txBody>
        </p:sp>
        <p:sp>
          <p:nvSpPr>
            <p:cNvPr id="12" name="Rectangle 11">
              <a:extLst>
                <a:ext uri="{FF2B5EF4-FFF2-40B4-BE49-F238E27FC236}">
                  <a16:creationId xmlns:a16="http://schemas.microsoft.com/office/drawing/2014/main" id="{26612403-97EA-089A-AE14-F39C8935474F}"/>
                </a:ext>
              </a:extLst>
            </p:cNvPr>
            <p:cNvSpPr/>
            <p:nvPr/>
          </p:nvSpPr>
          <p:spPr>
            <a:xfrm>
              <a:off x="323600" y="919948"/>
              <a:ext cx="5111318" cy="249374"/>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Method of Feature Tracing</a:t>
              </a:r>
              <a:endParaRPr lang="de-DE" sz="1400" dirty="0">
                <a:solidFill>
                  <a:schemeClr val="tx1"/>
                </a:solidFill>
              </a:endParaRPr>
            </a:p>
          </p:txBody>
        </p:sp>
      </p:grpSp>
      <p:pic>
        <p:nvPicPr>
          <p:cNvPr id="13" name="Picture 12" descr="A graph with blue and white lines&#10;&#10;Description automatically generated">
            <a:extLst>
              <a:ext uri="{FF2B5EF4-FFF2-40B4-BE49-F238E27FC236}">
                <a16:creationId xmlns:a16="http://schemas.microsoft.com/office/drawing/2014/main" id="{C31D574D-11B4-739F-02ED-84DCF93905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5819" y="1355940"/>
            <a:ext cx="4804331" cy="3093511"/>
          </a:xfrm>
          <a:prstGeom prst="rect">
            <a:avLst/>
          </a:prstGeom>
        </p:spPr>
      </p:pic>
    </p:spTree>
    <p:extLst>
      <p:ext uri="{BB962C8B-B14F-4D97-AF65-F5344CB8AC3E}">
        <p14:creationId xmlns:p14="http://schemas.microsoft.com/office/powerpoint/2010/main" val="4204963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D583EA-D274-DB9E-84A0-97B856B4CF06}"/>
              </a:ext>
            </a:extLst>
          </p:cNvPr>
          <p:cNvSpPr>
            <a:spLocks noGrp="1"/>
          </p:cNvSpPr>
          <p:nvPr>
            <p:ph type="body" sz="quarter" idx="77"/>
          </p:nvPr>
        </p:nvSpPr>
        <p:spPr>
          <a:xfrm>
            <a:off x="323849" y="195356"/>
            <a:ext cx="7920000" cy="119392"/>
          </a:xfrm>
        </p:spPr>
        <p:txBody>
          <a:bodyPr/>
          <a:lstStyle/>
          <a:p>
            <a:r>
              <a:rPr lang="de-DE" dirty="0"/>
              <a:t>Weekly Update – </a:t>
            </a:r>
            <a:r>
              <a:rPr lang="de-DE" dirty="0" err="1"/>
              <a:t>calendar</a:t>
            </a:r>
            <a:r>
              <a:rPr lang="de-DE" dirty="0"/>
              <a:t> </a:t>
            </a:r>
            <a:r>
              <a:rPr lang="de-DE" dirty="0" err="1"/>
              <a:t>week</a:t>
            </a:r>
            <a:r>
              <a:rPr lang="de-DE" dirty="0"/>
              <a:t> 47</a:t>
            </a:r>
          </a:p>
        </p:txBody>
      </p:sp>
      <p:sp>
        <p:nvSpPr>
          <p:cNvPr id="3" name="Title 2">
            <a:extLst>
              <a:ext uri="{FF2B5EF4-FFF2-40B4-BE49-F238E27FC236}">
                <a16:creationId xmlns:a16="http://schemas.microsoft.com/office/drawing/2014/main" id="{99BAFB4D-FCC8-CADB-BCDD-C5DAC15D9497}"/>
              </a:ext>
            </a:extLst>
          </p:cNvPr>
          <p:cNvSpPr>
            <a:spLocks noGrp="1"/>
          </p:cNvSpPr>
          <p:nvPr>
            <p:ph type="title"/>
          </p:nvPr>
        </p:nvSpPr>
        <p:spPr/>
        <p:txBody>
          <a:bodyPr/>
          <a:lstStyle/>
          <a:p>
            <a:r>
              <a:rPr lang="de-DE" dirty="0"/>
              <a:t>Agenda </a:t>
            </a:r>
            <a:r>
              <a:rPr lang="de-DE" dirty="0" err="1"/>
              <a:t>of</a:t>
            </a:r>
            <a:r>
              <a:rPr lang="de-DE" dirty="0"/>
              <a:t> </a:t>
            </a:r>
            <a:r>
              <a:rPr lang="de-DE" dirty="0" err="1"/>
              <a:t>the</a:t>
            </a:r>
            <a:r>
              <a:rPr lang="de-DE" dirty="0"/>
              <a:t> Meeting</a:t>
            </a:r>
          </a:p>
        </p:txBody>
      </p:sp>
      <p:sp>
        <p:nvSpPr>
          <p:cNvPr id="4" name="Date Placeholder 3">
            <a:extLst>
              <a:ext uri="{FF2B5EF4-FFF2-40B4-BE49-F238E27FC236}">
                <a16:creationId xmlns:a16="http://schemas.microsoft.com/office/drawing/2014/main" id="{D1C7BF02-7CD1-A5C0-A148-6712409F2533}"/>
              </a:ext>
            </a:extLst>
          </p:cNvPr>
          <p:cNvSpPr>
            <a:spLocks noGrp="1"/>
          </p:cNvSpPr>
          <p:nvPr>
            <p:ph type="dt" sz="half" idx="78"/>
          </p:nvPr>
        </p:nvSpPr>
        <p:spPr/>
        <p:txBody>
          <a:bodyPr/>
          <a:lstStyle/>
          <a:p>
            <a:fld id="{12AA45ED-C83A-44F4-8EF9-9AAAA9D1CDF2}" type="datetime1">
              <a:rPr lang="de-DE" smtClean="0"/>
              <a:t>24.01.2024</a:t>
            </a:fld>
            <a:endParaRPr lang="en-US"/>
          </a:p>
        </p:txBody>
      </p:sp>
      <p:sp>
        <p:nvSpPr>
          <p:cNvPr id="6" name="Slide Number Placeholder 5">
            <a:extLst>
              <a:ext uri="{FF2B5EF4-FFF2-40B4-BE49-F238E27FC236}">
                <a16:creationId xmlns:a16="http://schemas.microsoft.com/office/drawing/2014/main" id="{7BEBB52F-EDBC-EFD5-471E-ED0DDE4DE459}"/>
              </a:ext>
            </a:extLst>
          </p:cNvPr>
          <p:cNvSpPr>
            <a:spLocks noGrp="1"/>
          </p:cNvSpPr>
          <p:nvPr>
            <p:ph type="sldNum" sz="quarter" idx="80"/>
          </p:nvPr>
        </p:nvSpPr>
        <p:spPr/>
        <p:txBody>
          <a:bodyPr/>
          <a:lstStyle/>
          <a:p>
            <a:pPr algn="r"/>
            <a:fld id="{B6F15528-21DE-4FAA-801E-634DDDAF4B2B}" type="slidenum">
              <a:rPr lang="en-RO" smtClean="0"/>
              <a:pPr algn="r"/>
              <a:t>13</a:t>
            </a:fld>
            <a:endParaRPr lang="en-RO"/>
          </a:p>
        </p:txBody>
      </p:sp>
      <p:graphicFrame>
        <p:nvGraphicFramePr>
          <p:cNvPr id="10" name="Table 10">
            <a:extLst>
              <a:ext uri="{FF2B5EF4-FFF2-40B4-BE49-F238E27FC236}">
                <a16:creationId xmlns:a16="http://schemas.microsoft.com/office/drawing/2014/main" id="{F2CF7F64-B806-3EDB-ABEE-97A844628204}"/>
              </a:ext>
            </a:extLst>
          </p:cNvPr>
          <p:cNvGraphicFramePr>
            <a:graphicFrameLocks noGrp="1"/>
          </p:cNvGraphicFramePr>
          <p:nvPr>
            <p:extLst>
              <p:ext uri="{D42A27DB-BD31-4B8C-83A1-F6EECF244321}">
                <p14:modId xmlns:p14="http://schemas.microsoft.com/office/powerpoint/2010/main" val="1474360376"/>
              </p:ext>
            </p:extLst>
          </p:nvPr>
        </p:nvGraphicFramePr>
        <p:xfrm>
          <a:off x="323849" y="1243170"/>
          <a:ext cx="6096000" cy="1219200"/>
        </p:xfrm>
        <a:graphic>
          <a:graphicData uri="http://schemas.openxmlformats.org/drawingml/2006/table">
            <a:tbl>
              <a:tblPr firstRow="1" bandRow="1">
                <a:tableStyleId>{5C22544A-7EE6-4342-B048-85BDC9FD1C3A}</a:tableStyleId>
              </a:tblPr>
              <a:tblGrid>
                <a:gridCol w="757257">
                  <a:extLst>
                    <a:ext uri="{9D8B030D-6E8A-4147-A177-3AD203B41FA5}">
                      <a16:colId xmlns:a16="http://schemas.microsoft.com/office/drawing/2014/main" val="1584267583"/>
                    </a:ext>
                  </a:extLst>
                </a:gridCol>
                <a:gridCol w="5338743">
                  <a:extLst>
                    <a:ext uri="{9D8B030D-6E8A-4147-A177-3AD203B41FA5}">
                      <a16:colId xmlns:a16="http://schemas.microsoft.com/office/drawing/2014/main" val="3959873866"/>
                    </a:ext>
                  </a:extLst>
                </a:gridCol>
              </a:tblGrid>
              <a:tr h="375920">
                <a:tc>
                  <a:txBody>
                    <a:bodyPr/>
                    <a:lstStyle/>
                    <a:p>
                      <a:r>
                        <a:rPr lang="de-DE" sz="1900" b="1" dirty="0">
                          <a:solidFill>
                            <a:schemeClr val="tx1"/>
                          </a:solidFill>
                        </a:rPr>
                        <a:t>1.</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100" b="0" dirty="0" err="1">
                          <a:solidFill>
                            <a:schemeClr val="tx1"/>
                          </a:solidFill>
                        </a:rPr>
                        <a:t>Previously</a:t>
                      </a:r>
                      <a:r>
                        <a:rPr lang="de-DE" sz="1100" b="0" dirty="0">
                          <a:solidFill>
                            <a:schemeClr val="tx1"/>
                          </a:solidFill>
                        </a:rPr>
                        <a:t> </a:t>
                      </a:r>
                      <a:r>
                        <a:rPr lang="de-DE" sz="1100" b="0" dirty="0" err="1">
                          <a:solidFill>
                            <a:schemeClr val="tx1"/>
                          </a:solidFill>
                        </a:rPr>
                        <a:t>discussed</a:t>
                      </a:r>
                      <a:r>
                        <a:rPr lang="de-DE" sz="1100" b="0" dirty="0">
                          <a:solidFill>
                            <a:schemeClr val="tx1"/>
                          </a:solidFill>
                        </a:rPr>
                        <a:t> </a:t>
                      </a:r>
                      <a:r>
                        <a:rPr lang="de-DE" sz="1100" b="0" dirty="0" err="1">
                          <a:solidFill>
                            <a:schemeClr val="tx1"/>
                          </a:solidFill>
                        </a:rPr>
                        <a:t>points</a:t>
                      </a:r>
                      <a:r>
                        <a:rPr lang="de-DE" sz="1100" b="0" dirty="0">
                          <a:solidFill>
                            <a:schemeClr val="tx1"/>
                          </a:solidFill>
                        </a:rPr>
                        <a:t> (Review)</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188426"/>
                  </a:ext>
                </a:extLst>
              </a:tr>
              <a:tr h="375920">
                <a:tc>
                  <a:txBody>
                    <a:bodyPr/>
                    <a:lstStyle/>
                    <a:p>
                      <a:pPr marL="0" algn="l" defTabSz="685758" rtl="0" eaLnBrk="1" latinLnBrk="0" hangingPunct="1"/>
                      <a:r>
                        <a:rPr lang="de-DE" sz="1900" b="1" kern="1200" dirty="0">
                          <a:solidFill>
                            <a:schemeClr val="tx1"/>
                          </a:solidFill>
                          <a:latin typeface="+mn-lt"/>
                          <a:ea typeface="+mn-ea"/>
                          <a:cs typeface="+mn-cs"/>
                        </a:rPr>
                        <a:t>2.</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758" rtl="0" eaLnBrk="1" latinLnBrk="0" hangingPunct="1"/>
                      <a:r>
                        <a:rPr lang="de-DE" sz="1100" b="0" kern="1200" dirty="0">
                          <a:solidFill>
                            <a:schemeClr val="tx1"/>
                          </a:solidFill>
                          <a:latin typeface="+mn-lt"/>
                          <a:ea typeface="+mn-ea"/>
                          <a:cs typeface="+mn-cs"/>
                        </a:rPr>
                        <a:t>Hyperparameters and Data </a:t>
                      </a:r>
                      <a:r>
                        <a:rPr lang="de-DE" sz="1100" b="0" kern="1200" dirty="0" err="1">
                          <a:solidFill>
                            <a:schemeClr val="tx1"/>
                          </a:solidFill>
                          <a:latin typeface="+mn-lt"/>
                          <a:ea typeface="+mn-ea"/>
                          <a:cs typeface="+mn-cs"/>
                        </a:rPr>
                        <a:t>selection</a:t>
                      </a:r>
                      <a:endParaRPr lang="de-DE" sz="11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047735"/>
                  </a:ext>
                </a:extLst>
              </a:tr>
              <a:tr h="375920">
                <a:tc>
                  <a:txBody>
                    <a:bodyPr/>
                    <a:lstStyle/>
                    <a:p>
                      <a:r>
                        <a:rPr lang="de-DE" sz="2400" b="1" dirty="0">
                          <a:solidFill>
                            <a:srgbClr val="FF0000"/>
                          </a:solidFill>
                        </a:rPr>
                        <a:t>3.</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400" dirty="0" err="1">
                          <a:solidFill>
                            <a:srgbClr val="FF0000"/>
                          </a:solidFill>
                        </a:rPr>
                        <a:t>Results</a:t>
                      </a:r>
                      <a:r>
                        <a:rPr lang="de-DE" sz="1400" dirty="0">
                          <a:solidFill>
                            <a:srgbClr val="FF0000"/>
                          </a:solidFill>
                        </a:rPr>
                        <a:t> </a:t>
                      </a:r>
                      <a:r>
                        <a:rPr lang="de-DE" sz="1400" dirty="0" err="1">
                          <a:solidFill>
                            <a:srgbClr val="FF0000"/>
                          </a:solidFill>
                        </a:rPr>
                        <a:t>of</a:t>
                      </a:r>
                      <a:r>
                        <a:rPr lang="de-DE" sz="1400" dirty="0">
                          <a:solidFill>
                            <a:srgbClr val="FF0000"/>
                          </a:solidFill>
                        </a:rPr>
                        <a:t> Random </a:t>
                      </a:r>
                      <a:r>
                        <a:rPr lang="de-DE" sz="1400" dirty="0" err="1">
                          <a:solidFill>
                            <a:srgbClr val="FF0000"/>
                          </a:solidFill>
                        </a:rPr>
                        <a:t>forest</a:t>
                      </a:r>
                      <a:endParaRPr lang="de-DE" sz="1400" dirty="0">
                        <a:solidFill>
                          <a:srgbClr val="FF0000"/>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288690"/>
                  </a:ext>
                </a:extLst>
              </a:tr>
            </a:tbl>
          </a:graphicData>
        </a:graphic>
      </p:graphicFrame>
      <p:sp>
        <p:nvSpPr>
          <p:cNvPr id="11" name="Footer Placeholder 10">
            <a:extLst>
              <a:ext uri="{FF2B5EF4-FFF2-40B4-BE49-F238E27FC236}">
                <a16:creationId xmlns:a16="http://schemas.microsoft.com/office/drawing/2014/main" id="{36FCCE6A-A219-382B-566A-877923F047C1}"/>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7" name="Rectangle 6">
            <a:extLst>
              <a:ext uri="{FF2B5EF4-FFF2-40B4-BE49-F238E27FC236}">
                <a16:creationId xmlns:a16="http://schemas.microsoft.com/office/drawing/2014/main" id="{8D6C4E42-EEA0-98AF-4AE0-428623604E1F}"/>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04548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050B645-419C-634D-89F8-889874406AEA}"/>
              </a:ext>
            </a:extLst>
          </p:cNvPr>
          <p:cNvSpPr>
            <a:spLocks/>
          </p:cNvSpPr>
          <p:nvPr/>
        </p:nvSpPr>
        <p:spPr>
          <a:xfrm>
            <a:off x="3652886" y="1082897"/>
            <a:ext cx="5332309" cy="3547873"/>
          </a:xfrm>
          <a:prstGeom prst="rect">
            <a:avLst/>
          </a:prstGeom>
          <a:solidFill>
            <a:srgbClr val="D1D2F2">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 Placeholder 1">
            <a:extLst>
              <a:ext uri="{FF2B5EF4-FFF2-40B4-BE49-F238E27FC236}">
                <a16:creationId xmlns:a16="http://schemas.microsoft.com/office/drawing/2014/main" id="{B21AA6F2-3CD4-DC09-8BF4-D8DAC575DE59}"/>
              </a:ext>
            </a:extLst>
          </p:cNvPr>
          <p:cNvSpPr>
            <a:spLocks noGrp="1"/>
          </p:cNvSpPr>
          <p:nvPr>
            <p:ph type="body" sz="quarter" idx="77"/>
          </p:nvPr>
        </p:nvSpPr>
        <p:spPr/>
        <p:txBody>
          <a:bodyPr/>
          <a:lstStyle/>
          <a:p>
            <a:r>
              <a:rPr lang="de-DE" dirty="0" err="1"/>
              <a:t>Results</a:t>
            </a:r>
            <a:r>
              <a:rPr lang="de-DE" dirty="0"/>
              <a:t> </a:t>
            </a:r>
            <a:r>
              <a:rPr lang="de-DE" dirty="0" err="1"/>
              <a:t>from</a:t>
            </a:r>
            <a:r>
              <a:rPr lang="de-DE" dirty="0"/>
              <a:t> </a:t>
            </a:r>
            <a:r>
              <a:rPr lang="de-DE" dirty="0" err="1"/>
              <a:t>random</a:t>
            </a:r>
            <a:r>
              <a:rPr lang="de-DE" dirty="0"/>
              <a:t> </a:t>
            </a:r>
            <a:r>
              <a:rPr lang="de-DE" dirty="0" err="1"/>
              <a:t>forest</a:t>
            </a:r>
            <a:r>
              <a:rPr lang="de-DE" dirty="0"/>
              <a:t> </a:t>
            </a:r>
          </a:p>
        </p:txBody>
      </p:sp>
      <p:sp>
        <p:nvSpPr>
          <p:cNvPr id="3" name="Title 2">
            <a:extLst>
              <a:ext uri="{FF2B5EF4-FFF2-40B4-BE49-F238E27FC236}">
                <a16:creationId xmlns:a16="http://schemas.microsoft.com/office/drawing/2014/main" id="{414014B0-7B67-1D4A-1281-7047185DAB4A}"/>
              </a:ext>
            </a:extLst>
          </p:cNvPr>
          <p:cNvSpPr>
            <a:spLocks noGrp="1"/>
          </p:cNvSpPr>
          <p:nvPr>
            <p:ph type="title"/>
          </p:nvPr>
        </p:nvSpPr>
        <p:spPr/>
        <p:txBody>
          <a:bodyPr/>
          <a:lstStyle/>
          <a:p>
            <a:r>
              <a:rPr lang="de-DE"/>
              <a:t>Error 2 - </a:t>
            </a:r>
            <a:endParaRPr lang="de-DE" dirty="0"/>
          </a:p>
        </p:txBody>
      </p:sp>
      <p:sp>
        <p:nvSpPr>
          <p:cNvPr id="4" name="Date Placeholder 3">
            <a:extLst>
              <a:ext uri="{FF2B5EF4-FFF2-40B4-BE49-F238E27FC236}">
                <a16:creationId xmlns:a16="http://schemas.microsoft.com/office/drawing/2014/main" id="{94E18D57-C280-BB10-F515-1A8FFA922593}"/>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A2351AE4-4443-3324-007C-E1858366C4FB}"/>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7D34F715-E0C4-7E1B-1716-FA1188159CE6}"/>
              </a:ext>
            </a:extLst>
          </p:cNvPr>
          <p:cNvSpPr>
            <a:spLocks noGrp="1"/>
          </p:cNvSpPr>
          <p:nvPr>
            <p:ph type="sldNum" sz="quarter" idx="80"/>
          </p:nvPr>
        </p:nvSpPr>
        <p:spPr/>
        <p:txBody>
          <a:bodyPr/>
          <a:lstStyle/>
          <a:p>
            <a:pPr algn="r"/>
            <a:fld id="{B6F15528-21DE-4FAA-801E-634DDDAF4B2B}" type="slidenum">
              <a:rPr lang="en-RO" smtClean="0"/>
              <a:pPr algn="r"/>
              <a:t>14</a:t>
            </a:fld>
            <a:endParaRPr lang="en-RO"/>
          </a:p>
        </p:txBody>
      </p:sp>
      <p:grpSp>
        <p:nvGrpSpPr>
          <p:cNvPr id="7" name="Group 6">
            <a:extLst>
              <a:ext uri="{FF2B5EF4-FFF2-40B4-BE49-F238E27FC236}">
                <a16:creationId xmlns:a16="http://schemas.microsoft.com/office/drawing/2014/main" id="{1B7628B7-9344-8CBE-AD06-056215F71E57}"/>
              </a:ext>
            </a:extLst>
          </p:cNvPr>
          <p:cNvGrpSpPr/>
          <p:nvPr/>
        </p:nvGrpSpPr>
        <p:grpSpPr>
          <a:xfrm>
            <a:off x="158804" y="1082897"/>
            <a:ext cx="3446949" cy="1679157"/>
            <a:chOff x="323599" y="919948"/>
            <a:chExt cx="6769895" cy="1533596"/>
          </a:xfrm>
        </p:grpSpPr>
        <p:sp>
          <p:nvSpPr>
            <p:cNvPr id="8" name="Rectangle 7">
              <a:extLst>
                <a:ext uri="{FF2B5EF4-FFF2-40B4-BE49-F238E27FC236}">
                  <a16:creationId xmlns:a16="http://schemas.microsoft.com/office/drawing/2014/main" id="{9020CB02-219A-F3FA-C380-BF2071A0CABB}"/>
                </a:ext>
              </a:extLst>
            </p:cNvPr>
            <p:cNvSpPr/>
            <p:nvPr/>
          </p:nvSpPr>
          <p:spPr>
            <a:xfrm>
              <a:off x="323599" y="1170237"/>
              <a:ext cx="6769895" cy="1283307"/>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DE" sz="1100" dirty="0">
                  <a:solidFill>
                    <a:schemeClr val="tx1"/>
                  </a:solidFill>
                </a:rPr>
                <a:t>Numbers </a:t>
              </a:r>
              <a:r>
                <a:rPr lang="de-DE" sz="1100" dirty="0" err="1">
                  <a:solidFill>
                    <a:schemeClr val="tx1"/>
                  </a:solidFill>
                </a:rPr>
                <a:t>of</a:t>
              </a:r>
              <a:r>
                <a:rPr lang="de-DE" sz="1100" dirty="0">
                  <a:solidFill>
                    <a:schemeClr val="tx1"/>
                  </a:solidFill>
                </a:rPr>
                <a:t> </a:t>
              </a:r>
              <a:r>
                <a:rPr lang="de-DE" sz="1100" dirty="0" err="1">
                  <a:solidFill>
                    <a:schemeClr val="tx1"/>
                  </a:solidFill>
                </a:rPr>
                <a:t>Estimators</a:t>
              </a:r>
              <a:r>
                <a:rPr lang="de-DE" sz="1100" dirty="0">
                  <a:solidFill>
                    <a:schemeClr val="tx1"/>
                  </a:solidFill>
                </a:rPr>
                <a:t> 32</a:t>
              </a:r>
            </a:p>
            <a:p>
              <a:pPr marL="742921" lvl="1" indent="-285750">
                <a:buFont typeface="Arial" panose="020B0604020202020204" pitchFamily="34" charset="0"/>
                <a:buChar char="•"/>
              </a:pPr>
              <a:r>
                <a:rPr lang="de-DE" sz="1000" dirty="0" err="1">
                  <a:solidFill>
                    <a:schemeClr val="tx1"/>
                  </a:solidFill>
                </a:rPr>
                <a:t>Selection</a:t>
              </a:r>
              <a:r>
                <a:rPr lang="de-DE" sz="1000" dirty="0">
                  <a:solidFill>
                    <a:schemeClr val="tx1"/>
                  </a:solidFill>
                </a:rPr>
                <a:t> </a:t>
              </a:r>
              <a:r>
                <a:rPr lang="de-DE" sz="1000" dirty="0" err="1">
                  <a:solidFill>
                    <a:schemeClr val="tx1"/>
                  </a:solidFill>
                </a:rPr>
                <a:t>criteria</a:t>
              </a:r>
              <a:r>
                <a:rPr lang="de-DE" sz="1000" dirty="0">
                  <a:solidFill>
                    <a:schemeClr val="tx1"/>
                  </a:solidFill>
                </a:rPr>
                <a:t> - Max AUC score on </a:t>
              </a:r>
              <a:r>
                <a:rPr lang="de-DE" sz="1000" dirty="0" err="1">
                  <a:solidFill>
                    <a:schemeClr val="tx1"/>
                  </a:solidFill>
                </a:rPr>
                <a:t>text</a:t>
              </a:r>
              <a:r>
                <a:rPr lang="de-DE" sz="1000" dirty="0">
                  <a:solidFill>
                    <a:schemeClr val="tx1"/>
                  </a:solidFill>
                </a:rPr>
                <a:t> </a:t>
              </a:r>
              <a:r>
                <a:rPr lang="de-DE" sz="1000" dirty="0" err="1">
                  <a:solidFill>
                    <a:schemeClr val="tx1"/>
                  </a:solidFill>
                </a:rPr>
                <a:t>dataset</a:t>
              </a:r>
              <a:endParaRPr lang="de-DE" sz="1000" dirty="0">
                <a:solidFill>
                  <a:schemeClr val="tx1"/>
                </a:solidFill>
              </a:endParaRPr>
            </a:p>
            <a:p>
              <a:pPr marL="285750" indent="-285750">
                <a:buFont typeface="Arial" panose="020B0604020202020204" pitchFamily="34" charset="0"/>
                <a:buChar char="•"/>
              </a:pPr>
              <a:r>
                <a:rPr lang="de-DE" sz="1100" dirty="0" err="1">
                  <a:solidFill>
                    <a:schemeClr val="tx1"/>
                  </a:solidFill>
                </a:rPr>
                <a:t>Bootstraping</a:t>
              </a:r>
              <a:r>
                <a:rPr lang="de-DE" sz="1100" dirty="0">
                  <a:solidFill>
                    <a:schemeClr val="tx1"/>
                  </a:solidFill>
                </a:rPr>
                <a:t>, Out </a:t>
              </a:r>
              <a:r>
                <a:rPr lang="de-DE" sz="1100" dirty="0" err="1">
                  <a:solidFill>
                    <a:schemeClr val="tx1"/>
                  </a:solidFill>
                </a:rPr>
                <a:t>of</a:t>
              </a:r>
              <a:r>
                <a:rPr lang="de-DE" sz="1100" dirty="0">
                  <a:solidFill>
                    <a:schemeClr val="tx1"/>
                  </a:solidFill>
                </a:rPr>
                <a:t> </a:t>
              </a:r>
              <a:r>
                <a:rPr lang="de-DE" sz="1100" dirty="0" err="1">
                  <a:solidFill>
                    <a:schemeClr val="tx1"/>
                  </a:solidFill>
                </a:rPr>
                <a:t>the</a:t>
              </a:r>
              <a:r>
                <a:rPr lang="de-DE" sz="1100" dirty="0">
                  <a:solidFill>
                    <a:schemeClr val="tx1"/>
                  </a:solidFill>
                </a:rPr>
                <a:t> </a:t>
              </a:r>
              <a:r>
                <a:rPr lang="de-DE" sz="1100" dirty="0" err="1">
                  <a:solidFill>
                    <a:schemeClr val="tx1"/>
                  </a:solidFill>
                </a:rPr>
                <a:t>bag</a:t>
              </a:r>
              <a:r>
                <a:rPr lang="de-DE" sz="1100" dirty="0">
                  <a:solidFill>
                    <a:schemeClr val="tx1"/>
                  </a:solidFill>
                </a:rPr>
                <a:t> (OBB) Validation, Warmstart </a:t>
              </a:r>
              <a:r>
                <a:rPr lang="de-DE" sz="1100" dirty="0" err="1">
                  <a:solidFill>
                    <a:schemeClr val="tx1"/>
                  </a:solidFill>
                </a:rPr>
                <a:t>are</a:t>
              </a:r>
              <a:r>
                <a:rPr lang="de-DE" sz="1100" dirty="0">
                  <a:solidFill>
                    <a:schemeClr val="tx1"/>
                  </a:solidFill>
                </a:rPr>
                <a:t> On.</a:t>
              </a:r>
            </a:p>
          </p:txBody>
        </p:sp>
        <p:sp>
          <p:nvSpPr>
            <p:cNvPr id="9" name="Rectangle 8">
              <a:extLst>
                <a:ext uri="{FF2B5EF4-FFF2-40B4-BE49-F238E27FC236}">
                  <a16:creationId xmlns:a16="http://schemas.microsoft.com/office/drawing/2014/main" id="{DFEF2AFF-F92D-9297-8F29-8C7D9F73B677}"/>
                </a:ext>
              </a:extLst>
            </p:cNvPr>
            <p:cNvSpPr/>
            <p:nvPr/>
          </p:nvSpPr>
          <p:spPr>
            <a:xfrm>
              <a:off x="323600" y="919948"/>
              <a:ext cx="5111318" cy="249374"/>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Hyperparameters</a:t>
              </a:r>
              <a:endParaRPr lang="de-DE" sz="1400" dirty="0">
                <a:solidFill>
                  <a:schemeClr val="tx1"/>
                </a:solidFill>
              </a:endParaRPr>
            </a:p>
          </p:txBody>
        </p:sp>
      </p:grpSp>
      <p:grpSp>
        <p:nvGrpSpPr>
          <p:cNvPr id="10" name="Group 9">
            <a:extLst>
              <a:ext uri="{FF2B5EF4-FFF2-40B4-BE49-F238E27FC236}">
                <a16:creationId xmlns:a16="http://schemas.microsoft.com/office/drawing/2014/main" id="{3B81E3B6-670B-74BD-8118-1A0056944DC6}"/>
              </a:ext>
            </a:extLst>
          </p:cNvPr>
          <p:cNvGrpSpPr/>
          <p:nvPr/>
        </p:nvGrpSpPr>
        <p:grpSpPr>
          <a:xfrm>
            <a:off x="158804" y="2812716"/>
            <a:ext cx="3446949" cy="877879"/>
            <a:chOff x="323599" y="919948"/>
            <a:chExt cx="6769895" cy="1078873"/>
          </a:xfrm>
        </p:grpSpPr>
        <p:sp>
          <p:nvSpPr>
            <p:cNvPr id="11" name="Rectangle 10">
              <a:extLst>
                <a:ext uri="{FF2B5EF4-FFF2-40B4-BE49-F238E27FC236}">
                  <a16:creationId xmlns:a16="http://schemas.microsoft.com/office/drawing/2014/main" id="{EA326A15-76E5-96B3-CABB-E80B2718590A}"/>
                </a:ext>
              </a:extLst>
            </p:cNvPr>
            <p:cNvSpPr/>
            <p:nvPr/>
          </p:nvSpPr>
          <p:spPr>
            <a:xfrm>
              <a:off x="323599" y="1170238"/>
              <a:ext cx="6769895" cy="828583"/>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DE" sz="1100" dirty="0">
                  <a:solidFill>
                    <a:schemeClr val="tx1"/>
                  </a:solidFill>
                </a:rPr>
                <a:t>Features in </a:t>
              </a:r>
              <a:r>
                <a:rPr lang="de-DE" sz="1100" dirty="0" err="1">
                  <a:solidFill>
                    <a:schemeClr val="tx1"/>
                  </a:solidFill>
                </a:rPr>
                <a:t>this</a:t>
              </a:r>
              <a:r>
                <a:rPr lang="de-DE" sz="1100" dirty="0">
                  <a:solidFill>
                    <a:schemeClr val="tx1"/>
                  </a:solidFill>
                </a:rPr>
                <a:t> </a:t>
              </a:r>
              <a:r>
                <a:rPr lang="de-DE" sz="1100" dirty="0" err="1">
                  <a:solidFill>
                    <a:schemeClr val="tx1"/>
                  </a:solidFill>
                </a:rPr>
                <a:t>method</a:t>
              </a:r>
              <a:r>
                <a:rPr lang="de-DE" sz="1100" dirty="0">
                  <a:solidFill>
                    <a:schemeClr val="tx1"/>
                  </a:solidFill>
                </a:rPr>
                <a:t> </a:t>
              </a:r>
              <a:r>
                <a:rPr lang="de-DE" sz="1100" dirty="0" err="1">
                  <a:solidFill>
                    <a:schemeClr val="tx1"/>
                  </a:solidFill>
                </a:rPr>
                <a:t>are</a:t>
              </a:r>
              <a:r>
                <a:rPr lang="de-DE" sz="1100" dirty="0">
                  <a:solidFill>
                    <a:schemeClr val="tx1"/>
                  </a:solidFill>
                </a:rPr>
                <a:t> </a:t>
              </a:r>
              <a:r>
                <a:rPr lang="de-DE" sz="1100" dirty="0" err="1">
                  <a:solidFill>
                    <a:schemeClr val="tx1"/>
                  </a:solidFill>
                </a:rPr>
                <a:t>traced</a:t>
              </a:r>
              <a:r>
                <a:rPr lang="de-DE" sz="1100" dirty="0">
                  <a:solidFill>
                    <a:schemeClr val="tx1"/>
                  </a:solidFill>
                </a:rPr>
                <a:t> </a:t>
              </a:r>
              <a:r>
                <a:rPr lang="de-DE" sz="1100" dirty="0" err="1">
                  <a:solidFill>
                    <a:schemeClr val="tx1"/>
                  </a:solidFill>
                </a:rPr>
                <a:t>by</a:t>
              </a:r>
              <a:r>
                <a:rPr lang="de-DE" sz="1100" dirty="0">
                  <a:solidFill>
                    <a:schemeClr val="tx1"/>
                  </a:solidFill>
                </a:rPr>
                <a:t> </a:t>
              </a:r>
              <a:r>
                <a:rPr lang="de-DE" sz="1100" dirty="0" err="1">
                  <a:solidFill>
                    <a:schemeClr val="tx1"/>
                  </a:solidFill>
                </a:rPr>
                <a:t>using</a:t>
              </a:r>
              <a:r>
                <a:rPr lang="de-DE" sz="1100" dirty="0">
                  <a:solidFill>
                    <a:schemeClr val="tx1"/>
                  </a:solidFill>
                </a:rPr>
                <a:t> Permutation </a:t>
              </a:r>
              <a:r>
                <a:rPr lang="de-DE" sz="1100" dirty="0" err="1">
                  <a:solidFill>
                    <a:schemeClr val="tx1"/>
                  </a:solidFill>
                </a:rPr>
                <a:t>Importance</a:t>
              </a:r>
              <a:r>
                <a:rPr lang="de-DE" sz="1100" dirty="0">
                  <a:solidFill>
                    <a:schemeClr val="tx1"/>
                  </a:solidFill>
                </a:rPr>
                <a:t> </a:t>
              </a:r>
              <a:r>
                <a:rPr lang="de-DE" sz="1100" dirty="0" err="1">
                  <a:solidFill>
                    <a:schemeClr val="tx1"/>
                  </a:solidFill>
                </a:rPr>
                <a:t>method</a:t>
              </a:r>
              <a:r>
                <a:rPr lang="de-DE" sz="1100" dirty="0">
                  <a:solidFill>
                    <a:schemeClr val="tx1"/>
                  </a:solidFill>
                </a:rPr>
                <a:t>.</a:t>
              </a:r>
            </a:p>
            <a:p>
              <a:pPr marL="285750" indent="-285750">
                <a:buFont typeface="Arial" panose="020B0604020202020204" pitchFamily="34" charset="0"/>
                <a:buChar char="•"/>
              </a:pPr>
              <a:r>
                <a:rPr lang="de-DE" sz="1100" dirty="0" err="1">
                  <a:solidFill>
                    <a:schemeClr val="tx1"/>
                  </a:solidFill>
                </a:rPr>
                <a:t>Number</a:t>
              </a:r>
              <a:r>
                <a:rPr lang="de-DE" sz="1100" dirty="0">
                  <a:solidFill>
                    <a:schemeClr val="tx1"/>
                  </a:solidFill>
                </a:rPr>
                <a:t> </a:t>
              </a:r>
              <a:r>
                <a:rPr lang="de-DE" sz="1100" dirty="0" err="1">
                  <a:solidFill>
                    <a:schemeClr val="tx1"/>
                  </a:solidFill>
                </a:rPr>
                <a:t>of</a:t>
              </a:r>
              <a:r>
                <a:rPr lang="de-DE" sz="1100" dirty="0">
                  <a:solidFill>
                    <a:schemeClr val="tx1"/>
                  </a:solidFill>
                </a:rPr>
                <a:t> </a:t>
              </a:r>
              <a:r>
                <a:rPr lang="de-DE" sz="1100" dirty="0" err="1">
                  <a:solidFill>
                    <a:schemeClr val="tx1"/>
                  </a:solidFill>
                </a:rPr>
                <a:t>iterations</a:t>
              </a:r>
              <a:r>
                <a:rPr lang="de-DE" sz="1100" dirty="0">
                  <a:solidFill>
                    <a:schemeClr val="tx1"/>
                  </a:solidFill>
                </a:rPr>
                <a:t> – 100</a:t>
              </a:r>
            </a:p>
          </p:txBody>
        </p:sp>
        <p:sp>
          <p:nvSpPr>
            <p:cNvPr id="12" name="Rectangle 11">
              <a:extLst>
                <a:ext uri="{FF2B5EF4-FFF2-40B4-BE49-F238E27FC236}">
                  <a16:creationId xmlns:a16="http://schemas.microsoft.com/office/drawing/2014/main" id="{26612403-97EA-089A-AE14-F39C8935474F}"/>
                </a:ext>
              </a:extLst>
            </p:cNvPr>
            <p:cNvSpPr/>
            <p:nvPr/>
          </p:nvSpPr>
          <p:spPr>
            <a:xfrm>
              <a:off x="323600" y="919948"/>
              <a:ext cx="5111318" cy="249374"/>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Method of Feature Tracing</a:t>
              </a:r>
              <a:endParaRPr lang="de-DE" sz="1400" dirty="0">
                <a:solidFill>
                  <a:schemeClr val="tx1"/>
                </a:solidFill>
              </a:endParaRPr>
            </a:p>
          </p:txBody>
        </p:sp>
      </p:grpSp>
      <p:pic>
        <p:nvPicPr>
          <p:cNvPr id="13" name="Picture 12" descr="A graph with blue and white lines&#10;&#10;Description automatically generated">
            <a:extLst>
              <a:ext uri="{FF2B5EF4-FFF2-40B4-BE49-F238E27FC236}">
                <a16:creationId xmlns:a16="http://schemas.microsoft.com/office/drawing/2014/main" id="{C31D574D-11B4-739F-02ED-84DCF93905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5819" y="1355940"/>
            <a:ext cx="4804331" cy="3093511"/>
          </a:xfrm>
          <a:prstGeom prst="rect">
            <a:avLst/>
          </a:prstGeom>
        </p:spPr>
      </p:pic>
    </p:spTree>
    <p:extLst>
      <p:ext uri="{BB962C8B-B14F-4D97-AF65-F5344CB8AC3E}">
        <p14:creationId xmlns:p14="http://schemas.microsoft.com/office/powerpoint/2010/main" val="1676053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4B6627A-7710-8AEC-D6A8-F2244AD4818B}"/>
              </a:ext>
            </a:extLst>
          </p:cNvPr>
          <p:cNvSpPr/>
          <p:nvPr/>
        </p:nvSpPr>
        <p:spPr>
          <a:xfrm>
            <a:off x="200024" y="981706"/>
            <a:ext cx="8708231" cy="3890332"/>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1400" dirty="0">
              <a:solidFill>
                <a:schemeClr val="tx1"/>
              </a:solidFill>
            </a:endParaRPr>
          </a:p>
        </p:txBody>
      </p:sp>
      <p:sp>
        <p:nvSpPr>
          <p:cNvPr id="3" name="Title 2">
            <a:extLst>
              <a:ext uri="{FF2B5EF4-FFF2-40B4-BE49-F238E27FC236}">
                <a16:creationId xmlns:a16="http://schemas.microsoft.com/office/drawing/2014/main" id="{24C4A190-1E27-9625-21B5-16E384B66649}"/>
              </a:ext>
            </a:extLst>
          </p:cNvPr>
          <p:cNvSpPr>
            <a:spLocks noGrp="1"/>
          </p:cNvSpPr>
          <p:nvPr>
            <p:ph type="title"/>
          </p:nvPr>
        </p:nvSpPr>
        <p:spPr/>
        <p:txBody>
          <a:bodyPr/>
          <a:lstStyle/>
          <a:p>
            <a:r>
              <a:rPr lang="de-DE" dirty="0" err="1"/>
              <a:t>Overview</a:t>
            </a:r>
            <a:r>
              <a:rPr lang="de-DE" dirty="0"/>
              <a:t> </a:t>
            </a:r>
            <a:r>
              <a:rPr lang="de-DE" dirty="0" err="1"/>
              <a:t>of</a:t>
            </a:r>
            <a:r>
              <a:rPr lang="de-DE" dirty="0"/>
              <a:t> </a:t>
            </a:r>
            <a:r>
              <a:rPr lang="de-DE" dirty="0" err="1"/>
              <a:t>the</a:t>
            </a:r>
            <a:r>
              <a:rPr lang="de-DE" dirty="0"/>
              <a:t> Thesis</a:t>
            </a:r>
          </a:p>
        </p:txBody>
      </p:sp>
      <p:sp>
        <p:nvSpPr>
          <p:cNvPr id="4" name="Date Placeholder 3">
            <a:extLst>
              <a:ext uri="{FF2B5EF4-FFF2-40B4-BE49-F238E27FC236}">
                <a16:creationId xmlns:a16="http://schemas.microsoft.com/office/drawing/2014/main" id="{72C0A887-A51E-9E1C-502C-D63C9D06B830}"/>
              </a:ext>
            </a:extLst>
          </p:cNvPr>
          <p:cNvSpPr>
            <a:spLocks noGrp="1"/>
          </p:cNvSpPr>
          <p:nvPr>
            <p:ph type="dt" sz="half" idx="78"/>
          </p:nvPr>
        </p:nvSpPr>
        <p:spPr/>
        <p:txBody>
          <a:bodyPr/>
          <a:lstStyle/>
          <a:p>
            <a:fld id="{5346DE27-0FCB-453B-A272-A00A37B80E4B}" type="datetime1">
              <a:rPr lang="de-DE" smtClean="0"/>
              <a:t>24.01.2024</a:t>
            </a:fld>
            <a:endParaRPr lang="en-US"/>
          </a:p>
        </p:txBody>
      </p:sp>
      <p:sp>
        <p:nvSpPr>
          <p:cNvPr id="6" name="Slide Number Placeholder 5">
            <a:extLst>
              <a:ext uri="{FF2B5EF4-FFF2-40B4-BE49-F238E27FC236}">
                <a16:creationId xmlns:a16="http://schemas.microsoft.com/office/drawing/2014/main" id="{E081EA3A-5E3F-7515-D693-64CC43EEF37D}"/>
              </a:ext>
            </a:extLst>
          </p:cNvPr>
          <p:cNvSpPr>
            <a:spLocks noGrp="1"/>
          </p:cNvSpPr>
          <p:nvPr>
            <p:ph type="sldNum" sz="quarter" idx="80"/>
          </p:nvPr>
        </p:nvSpPr>
        <p:spPr/>
        <p:txBody>
          <a:bodyPr/>
          <a:lstStyle/>
          <a:p>
            <a:pPr algn="r"/>
            <a:fld id="{B6F15528-21DE-4FAA-801E-634DDDAF4B2B}" type="slidenum">
              <a:rPr lang="en-RO" smtClean="0"/>
              <a:pPr algn="r"/>
              <a:t>2</a:t>
            </a:fld>
            <a:endParaRPr lang="en-RO"/>
          </a:p>
        </p:txBody>
      </p:sp>
      <p:pic>
        <p:nvPicPr>
          <p:cNvPr id="8" name="Graphic 7" descr="Bullseye with solid fill">
            <a:extLst>
              <a:ext uri="{FF2B5EF4-FFF2-40B4-BE49-F238E27FC236}">
                <a16:creationId xmlns:a16="http://schemas.microsoft.com/office/drawing/2014/main" id="{2C921645-1F8D-520E-4937-3C17C7EDF6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36569" y="1120525"/>
            <a:ext cx="914400" cy="914400"/>
          </a:xfrm>
          <a:prstGeom prst="rect">
            <a:avLst/>
          </a:prstGeom>
        </p:spPr>
      </p:pic>
      <p:sp>
        <p:nvSpPr>
          <p:cNvPr id="9" name="TextBox 8">
            <a:extLst>
              <a:ext uri="{FF2B5EF4-FFF2-40B4-BE49-F238E27FC236}">
                <a16:creationId xmlns:a16="http://schemas.microsoft.com/office/drawing/2014/main" id="{85A075CE-B8F4-C220-0163-9F44CAC0AD2E}"/>
              </a:ext>
            </a:extLst>
          </p:cNvPr>
          <p:cNvSpPr txBox="1"/>
          <p:nvPr/>
        </p:nvSpPr>
        <p:spPr>
          <a:xfrm>
            <a:off x="323849" y="1254560"/>
            <a:ext cx="6512720" cy="646331"/>
          </a:xfrm>
          <a:prstGeom prst="rect">
            <a:avLst/>
          </a:prstGeom>
          <a:noFill/>
        </p:spPr>
        <p:txBody>
          <a:bodyPr wrap="square" rtlCol="0">
            <a:spAutoFit/>
          </a:bodyPr>
          <a:lstStyle/>
          <a:p>
            <a:r>
              <a:rPr lang="de-DE" dirty="0" err="1"/>
              <a:t>To</a:t>
            </a:r>
            <a:r>
              <a:rPr lang="de-DE" dirty="0"/>
              <a:t> carry out </a:t>
            </a:r>
            <a:r>
              <a:rPr lang="de-DE" dirty="0" err="1"/>
              <a:t>the</a:t>
            </a:r>
            <a:r>
              <a:rPr lang="de-DE" dirty="0"/>
              <a:t> </a:t>
            </a:r>
            <a:r>
              <a:rPr lang="de-DE" dirty="0" err="1"/>
              <a:t>exploratory</a:t>
            </a:r>
            <a:r>
              <a:rPr lang="de-DE" dirty="0"/>
              <a:t> </a:t>
            </a:r>
            <a:r>
              <a:rPr lang="de-DE" dirty="0" err="1"/>
              <a:t>analysis</a:t>
            </a:r>
            <a:r>
              <a:rPr lang="de-DE" dirty="0"/>
              <a:t>, </a:t>
            </a:r>
            <a:r>
              <a:rPr lang="de-DE" dirty="0" err="1"/>
              <a:t>to</a:t>
            </a:r>
            <a:r>
              <a:rPr lang="de-DE" dirty="0"/>
              <a:t> find out </a:t>
            </a:r>
            <a:r>
              <a:rPr lang="de-DE" dirty="0" err="1"/>
              <a:t>useful</a:t>
            </a:r>
            <a:r>
              <a:rPr lang="de-DE" dirty="0"/>
              <a:t> </a:t>
            </a:r>
            <a:r>
              <a:rPr lang="de-DE" dirty="0" err="1"/>
              <a:t>knowledge</a:t>
            </a:r>
            <a:r>
              <a:rPr lang="de-DE" dirty="0"/>
              <a:t> </a:t>
            </a:r>
            <a:r>
              <a:rPr lang="de-DE" dirty="0" err="1"/>
              <a:t>from</a:t>
            </a:r>
            <a:r>
              <a:rPr lang="de-DE" dirty="0"/>
              <a:t> </a:t>
            </a:r>
            <a:r>
              <a:rPr lang="de-DE" dirty="0" err="1"/>
              <a:t>the</a:t>
            </a:r>
            <a:r>
              <a:rPr lang="de-DE" dirty="0"/>
              <a:t> Raw </a:t>
            </a:r>
            <a:r>
              <a:rPr lang="de-DE" dirty="0" err="1"/>
              <a:t>data</a:t>
            </a:r>
            <a:r>
              <a:rPr lang="de-DE" dirty="0"/>
              <a:t> </a:t>
            </a:r>
          </a:p>
        </p:txBody>
      </p:sp>
      <p:pic>
        <p:nvPicPr>
          <p:cNvPr id="11" name="Graphic 10" descr="Table outline">
            <a:extLst>
              <a:ext uri="{FF2B5EF4-FFF2-40B4-BE49-F238E27FC236}">
                <a16:creationId xmlns:a16="http://schemas.microsoft.com/office/drawing/2014/main" id="{D6AB13B2-0C68-E076-8D30-699F9BB66F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0541" y="2194177"/>
            <a:ext cx="914400" cy="914400"/>
          </a:xfrm>
          <a:prstGeom prst="rect">
            <a:avLst/>
          </a:prstGeom>
        </p:spPr>
      </p:pic>
      <p:sp>
        <p:nvSpPr>
          <p:cNvPr id="12" name="TextBox 11">
            <a:extLst>
              <a:ext uri="{FF2B5EF4-FFF2-40B4-BE49-F238E27FC236}">
                <a16:creationId xmlns:a16="http://schemas.microsoft.com/office/drawing/2014/main" id="{ECA1D28E-9FA8-1727-7899-6A7A95BDBBA5}"/>
              </a:ext>
            </a:extLst>
          </p:cNvPr>
          <p:cNvSpPr txBox="1"/>
          <p:nvPr/>
        </p:nvSpPr>
        <p:spPr>
          <a:xfrm>
            <a:off x="1569242" y="2339005"/>
            <a:ext cx="6181727" cy="646331"/>
          </a:xfrm>
          <a:prstGeom prst="rect">
            <a:avLst/>
          </a:prstGeom>
          <a:noFill/>
        </p:spPr>
        <p:txBody>
          <a:bodyPr wrap="square" rtlCol="0">
            <a:spAutoFit/>
          </a:bodyPr>
          <a:lstStyle/>
          <a:p>
            <a:r>
              <a:rPr lang="de-DE" dirty="0"/>
              <a:t>Data </a:t>
            </a:r>
            <a:r>
              <a:rPr lang="de-DE" dirty="0" err="1"/>
              <a:t>consist</a:t>
            </a:r>
            <a:r>
              <a:rPr lang="de-DE" dirty="0"/>
              <a:t> </a:t>
            </a:r>
            <a:r>
              <a:rPr lang="de-DE" dirty="0" err="1"/>
              <a:t>of</a:t>
            </a:r>
            <a:r>
              <a:rPr lang="de-DE" dirty="0"/>
              <a:t> KPIs </a:t>
            </a:r>
            <a:r>
              <a:rPr lang="de-DE" dirty="0" err="1"/>
              <a:t>during</a:t>
            </a:r>
            <a:r>
              <a:rPr lang="de-DE" dirty="0"/>
              <a:t> </a:t>
            </a:r>
            <a:r>
              <a:rPr lang="de-DE" dirty="0" err="1"/>
              <a:t>the</a:t>
            </a:r>
            <a:r>
              <a:rPr lang="de-DE" dirty="0"/>
              <a:t> </a:t>
            </a:r>
            <a:r>
              <a:rPr lang="de-DE" dirty="0" err="1"/>
              <a:t>charging</a:t>
            </a:r>
            <a:r>
              <a:rPr lang="de-DE" dirty="0"/>
              <a:t> </a:t>
            </a:r>
            <a:r>
              <a:rPr lang="de-DE" dirty="0" err="1"/>
              <a:t>process</a:t>
            </a:r>
            <a:r>
              <a:rPr lang="de-DE" dirty="0"/>
              <a:t> </a:t>
            </a:r>
            <a:r>
              <a:rPr lang="de-DE" dirty="0" err="1"/>
              <a:t>of</a:t>
            </a:r>
            <a:r>
              <a:rPr lang="de-DE" dirty="0"/>
              <a:t> an EV and </a:t>
            </a:r>
            <a:r>
              <a:rPr lang="de-DE" dirty="0" err="1"/>
              <a:t>Charging</a:t>
            </a:r>
            <a:r>
              <a:rPr lang="de-DE" dirty="0"/>
              <a:t> </a:t>
            </a:r>
            <a:r>
              <a:rPr lang="de-DE" dirty="0" err="1"/>
              <a:t>sessions</a:t>
            </a:r>
            <a:r>
              <a:rPr lang="de-DE" dirty="0"/>
              <a:t>  </a:t>
            </a:r>
          </a:p>
        </p:txBody>
      </p:sp>
      <p:pic>
        <p:nvPicPr>
          <p:cNvPr id="14" name="Graphic 13" descr="Research with solid fill">
            <a:extLst>
              <a:ext uri="{FF2B5EF4-FFF2-40B4-BE49-F238E27FC236}">
                <a16:creationId xmlns:a16="http://schemas.microsoft.com/office/drawing/2014/main" id="{080A6BDF-7982-C8A3-1535-F4B4A8367B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36569" y="3565777"/>
            <a:ext cx="914400" cy="914400"/>
          </a:xfrm>
          <a:prstGeom prst="rect">
            <a:avLst/>
          </a:prstGeom>
        </p:spPr>
      </p:pic>
      <p:sp>
        <p:nvSpPr>
          <p:cNvPr id="15" name="TextBox 14">
            <a:extLst>
              <a:ext uri="{FF2B5EF4-FFF2-40B4-BE49-F238E27FC236}">
                <a16:creationId xmlns:a16="http://schemas.microsoft.com/office/drawing/2014/main" id="{F6B8189E-9F08-054E-A4D9-486863E1BA89}"/>
              </a:ext>
            </a:extLst>
          </p:cNvPr>
          <p:cNvSpPr txBox="1"/>
          <p:nvPr/>
        </p:nvSpPr>
        <p:spPr>
          <a:xfrm>
            <a:off x="323850" y="3709295"/>
            <a:ext cx="6312695" cy="923330"/>
          </a:xfrm>
          <a:prstGeom prst="rect">
            <a:avLst/>
          </a:prstGeom>
          <a:noFill/>
        </p:spPr>
        <p:txBody>
          <a:bodyPr wrap="square" rtlCol="0">
            <a:spAutoFit/>
          </a:bodyPr>
          <a:lstStyle/>
          <a:p>
            <a:r>
              <a:rPr lang="de-DE" dirty="0" err="1"/>
              <a:t>To</a:t>
            </a:r>
            <a:r>
              <a:rPr lang="de-DE" dirty="0"/>
              <a:t> </a:t>
            </a:r>
            <a:r>
              <a:rPr lang="de-DE" dirty="0" err="1"/>
              <a:t>use</a:t>
            </a:r>
            <a:r>
              <a:rPr lang="de-DE" dirty="0"/>
              <a:t> </a:t>
            </a:r>
            <a:r>
              <a:rPr lang="de-DE" dirty="0" err="1"/>
              <a:t>Machine</a:t>
            </a:r>
            <a:r>
              <a:rPr lang="de-DE" dirty="0"/>
              <a:t> Learning </a:t>
            </a:r>
            <a:r>
              <a:rPr lang="de-DE" dirty="0" err="1"/>
              <a:t>Algorithm</a:t>
            </a:r>
            <a:r>
              <a:rPr lang="de-DE" dirty="0"/>
              <a:t> and Statistical </a:t>
            </a:r>
            <a:r>
              <a:rPr lang="de-DE" dirty="0" err="1"/>
              <a:t>methods</a:t>
            </a:r>
            <a:r>
              <a:rPr lang="de-DE" dirty="0"/>
              <a:t> </a:t>
            </a:r>
            <a:r>
              <a:rPr lang="de-DE" dirty="0" err="1"/>
              <a:t>to</a:t>
            </a:r>
            <a:r>
              <a:rPr lang="de-DE" dirty="0"/>
              <a:t> </a:t>
            </a:r>
            <a:r>
              <a:rPr lang="de-DE" dirty="0" err="1"/>
              <a:t>cluster</a:t>
            </a:r>
            <a:r>
              <a:rPr lang="de-DE" dirty="0"/>
              <a:t> </a:t>
            </a:r>
            <a:r>
              <a:rPr lang="de-DE" dirty="0" err="1"/>
              <a:t>data</a:t>
            </a:r>
            <a:r>
              <a:rPr lang="de-DE" dirty="0"/>
              <a:t> </a:t>
            </a:r>
            <a:r>
              <a:rPr lang="de-DE" dirty="0" err="1"/>
              <a:t>with</a:t>
            </a:r>
            <a:r>
              <a:rPr lang="de-DE" dirty="0"/>
              <a:t> </a:t>
            </a:r>
            <a:r>
              <a:rPr lang="de-DE" dirty="0" err="1"/>
              <a:t>similar</a:t>
            </a:r>
            <a:r>
              <a:rPr lang="de-DE" dirty="0"/>
              <a:t> </a:t>
            </a:r>
            <a:r>
              <a:rPr lang="de-DE" dirty="0" err="1"/>
              <a:t>charging</a:t>
            </a:r>
            <a:r>
              <a:rPr lang="de-DE" dirty="0"/>
              <a:t> </a:t>
            </a:r>
            <a:r>
              <a:rPr lang="de-DE" dirty="0" err="1"/>
              <a:t>behavior</a:t>
            </a:r>
            <a:r>
              <a:rPr lang="de-DE" dirty="0"/>
              <a:t> and </a:t>
            </a:r>
            <a:r>
              <a:rPr lang="de-DE" dirty="0" err="1"/>
              <a:t>environment</a:t>
            </a:r>
            <a:endParaRPr lang="de-DE" dirty="0"/>
          </a:p>
        </p:txBody>
      </p:sp>
      <p:sp>
        <p:nvSpPr>
          <p:cNvPr id="16" name="Footer Placeholder 15">
            <a:extLst>
              <a:ext uri="{FF2B5EF4-FFF2-40B4-BE49-F238E27FC236}">
                <a16:creationId xmlns:a16="http://schemas.microsoft.com/office/drawing/2014/main" id="{1DB983DC-2BA4-FE06-2541-E14C11FF6BE3}"/>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7" name="Text Placeholder 6">
            <a:extLst>
              <a:ext uri="{FF2B5EF4-FFF2-40B4-BE49-F238E27FC236}">
                <a16:creationId xmlns:a16="http://schemas.microsoft.com/office/drawing/2014/main" id="{E3E66868-250F-C13C-ADA6-24866684A8B3}"/>
              </a:ext>
            </a:extLst>
          </p:cNvPr>
          <p:cNvSpPr>
            <a:spLocks noGrp="1"/>
          </p:cNvSpPr>
          <p:nvPr>
            <p:ph type="body" sz="quarter" idx="77"/>
          </p:nvPr>
        </p:nvSpPr>
        <p:spPr/>
        <p:txBody>
          <a:bodyPr/>
          <a:lstStyle/>
          <a:p>
            <a:r>
              <a:rPr lang="de-DE" dirty="0"/>
              <a:t>1. </a:t>
            </a:r>
            <a:r>
              <a:rPr lang="de-DE" dirty="0" err="1"/>
              <a:t>Overview</a:t>
            </a:r>
            <a:r>
              <a:rPr lang="de-DE" dirty="0"/>
              <a:t> </a:t>
            </a:r>
            <a:r>
              <a:rPr lang="de-DE" dirty="0" err="1"/>
              <a:t>of</a:t>
            </a:r>
            <a:r>
              <a:rPr lang="de-DE" dirty="0"/>
              <a:t> </a:t>
            </a:r>
            <a:r>
              <a:rPr lang="de-DE" dirty="0" err="1"/>
              <a:t>thesis</a:t>
            </a:r>
            <a:endParaRPr lang="de-DE" dirty="0"/>
          </a:p>
        </p:txBody>
      </p:sp>
      <p:sp>
        <p:nvSpPr>
          <p:cNvPr id="13" name="Rectangle 12">
            <a:extLst>
              <a:ext uri="{FF2B5EF4-FFF2-40B4-BE49-F238E27FC236}">
                <a16:creationId xmlns:a16="http://schemas.microsoft.com/office/drawing/2014/main" id="{16A5B7CD-27C2-852D-5A7B-D6131D1EE60A}"/>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5014301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D583EA-D274-DB9E-84A0-97B856B4CF06}"/>
              </a:ext>
            </a:extLst>
          </p:cNvPr>
          <p:cNvSpPr>
            <a:spLocks noGrp="1"/>
          </p:cNvSpPr>
          <p:nvPr>
            <p:ph type="body" sz="quarter" idx="77"/>
          </p:nvPr>
        </p:nvSpPr>
        <p:spPr>
          <a:xfrm>
            <a:off x="323849" y="195356"/>
            <a:ext cx="7920000" cy="119392"/>
          </a:xfrm>
        </p:spPr>
        <p:txBody>
          <a:bodyPr/>
          <a:lstStyle/>
          <a:p>
            <a:r>
              <a:rPr lang="de-DE" dirty="0"/>
              <a:t>Weekly Update – </a:t>
            </a:r>
            <a:r>
              <a:rPr lang="de-DE" dirty="0" err="1"/>
              <a:t>calendar</a:t>
            </a:r>
            <a:r>
              <a:rPr lang="de-DE" dirty="0"/>
              <a:t> </a:t>
            </a:r>
            <a:r>
              <a:rPr lang="de-DE" dirty="0" err="1"/>
              <a:t>week</a:t>
            </a:r>
            <a:r>
              <a:rPr lang="de-DE" dirty="0"/>
              <a:t> 47</a:t>
            </a:r>
          </a:p>
        </p:txBody>
      </p:sp>
      <p:sp>
        <p:nvSpPr>
          <p:cNvPr id="3" name="Title 2">
            <a:extLst>
              <a:ext uri="{FF2B5EF4-FFF2-40B4-BE49-F238E27FC236}">
                <a16:creationId xmlns:a16="http://schemas.microsoft.com/office/drawing/2014/main" id="{99BAFB4D-FCC8-CADB-BCDD-C5DAC15D9497}"/>
              </a:ext>
            </a:extLst>
          </p:cNvPr>
          <p:cNvSpPr>
            <a:spLocks noGrp="1"/>
          </p:cNvSpPr>
          <p:nvPr>
            <p:ph type="title"/>
          </p:nvPr>
        </p:nvSpPr>
        <p:spPr/>
        <p:txBody>
          <a:bodyPr/>
          <a:lstStyle/>
          <a:p>
            <a:r>
              <a:rPr lang="de-DE" dirty="0"/>
              <a:t>Agenda </a:t>
            </a:r>
            <a:r>
              <a:rPr lang="de-DE" dirty="0" err="1"/>
              <a:t>of</a:t>
            </a:r>
            <a:r>
              <a:rPr lang="de-DE" dirty="0"/>
              <a:t> </a:t>
            </a:r>
            <a:r>
              <a:rPr lang="de-DE" dirty="0" err="1"/>
              <a:t>the</a:t>
            </a:r>
            <a:r>
              <a:rPr lang="de-DE" dirty="0"/>
              <a:t> Meeting</a:t>
            </a:r>
          </a:p>
        </p:txBody>
      </p:sp>
      <p:sp>
        <p:nvSpPr>
          <p:cNvPr id="4" name="Date Placeholder 3">
            <a:extLst>
              <a:ext uri="{FF2B5EF4-FFF2-40B4-BE49-F238E27FC236}">
                <a16:creationId xmlns:a16="http://schemas.microsoft.com/office/drawing/2014/main" id="{D1C7BF02-7CD1-A5C0-A148-6712409F2533}"/>
              </a:ext>
            </a:extLst>
          </p:cNvPr>
          <p:cNvSpPr>
            <a:spLocks noGrp="1"/>
          </p:cNvSpPr>
          <p:nvPr>
            <p:ph type="dt" sz="half" idx="78"/>
          </p:nvPr>
        </p:nvSpPr>
        <p:spPr/>
        <p:txBody>
          <a:bodyPr/>
          <a:lstStyle/>
          <a:p>
            <a:fld id="{12AA45ED-C83A-44F4-8EF9-9AAAA9D1CDF2}" type="datetime1">
              <a:rPr lang="de-DE" smtClean="0"/>
              <a:t>24.01.2024</a:t>
            </a:fld>
            <a:endParaRPr lang="en-US"/>
          </a:p>
        </p:txBody>
      </p:sp>
      <p:sp>
        <p:nvSpPr>
          <p:cNvPr id="6" name="Slide Number Placeholder 5">
            <a:extLst>
              <a:ext uri="{FF2B5EF4-FFF2-40B4-BE49-F238E27FC236}">
                <a16:creationId xmlns:a16="http://schemas.microsoft.com/office/drawing/2014/main" id="{7BEBB52F-EDBC-EFD5-471E-ED0DDE4DE459}"/>
              </a:ext>
            </a:extLst>
          </p:cNvPr>
          <p:cNvSpPr>
            <a:spLocks noGrp="1"/>
          </p:cNvSpPr>
          <p:nvPr>
            <p:ph type="sldNum" sz="quarter" idx="80"/>
          </p:nvPr>
        </p:nvSpPr>
        <p:spPr/>
        <p:txBody>
          <a:bodyPr/>
          <a:lstStyle/>
          <a:p>
            <a:pPr algn="r"/>
            <a:fld id="{B6F15528-21DE-4FAA-801E-634DDDAF4B2B}" type="slidenum">
              <a:rPr lang="en-RO" smtClean="0"/>
              <a:pPr algn="r"/>
              <a:t>3</a:t>
            </a:fld>
            <a:endParaRPr lang="en-RO"/>
          </a:p>
        </p:txBody>
      </p:sp>
      <p:graphicFrame>
        <p:nvGraphicFramePr>
          <p:cNvPr id="10" name="Table 10">
            <a:extLst>
              <a:ext uri="{FF2B5EF4-FFF2-40B4-BE49-F238E27FC236}">
                <a16:creationId xmlns:a16="http://schemas.microsoft.com/office/drawing/2014/main" id="{F2CF7F64-B806-3EDB-ABEE-97A844628204}"/>
              </a:ext>
            </a:extLst>
          </p:cNvPr>
          <p:cNvGraphicFramePr>
            <a:graphicFrameLocks noGrp="1"/>
          </p:cNvGraphicFramePr>
          <p:nvPr>
            <p:extLst>
              <p:ext uri="{D42A27DB-BD31-4B8C-83A1-F6EECF244321}">
                <p14:modId xmlns:p14="http://schemas.microsoft.com/office/powerpoint/2010/main" val="286278006"/>
              </p:ext>
            </p:extLst>
          </p:nvPr>
        </p:nvGraphicFramePr>
        <p:xfrm>
          <a:off x="323849" y="1243170"/>
          <a:ext cx="6096000" cy="1143000"/>
        </p:xfrm>
        <a:graphic>
          <a:graphicData uri="http://schemas.openxmlformats.org/drawingml/2006/table">
            <a:tbl>
              <a:tblPr firstRow="1" bandRow="1">
                <a:tableStyleId>{5C22544A-7EE6-4342-B048-85BDC9FD1C3A}</a:tableStyleId>
              </a:tblPr>
              <a:tblGrid>
                <a:gridCol w="757257">
                  <a:extLst>
                    <a:ext uri="{9D8B030D-6E8A-4147-A177-3AD203B41FA5}">
                      <a16:colId xmlns:a16="http://schemas.microsoft.com/office/drawing/2014/main" val="1584267583"/>
                    </a:ext>
                  </a:extLst>
                </a:gridCol>
                <a:gridCol w="5338743">
                  <a:extLst>
                    <a:ext uri="{9D8B030D-6E8A-4147-A177-3AD203B41FA5}">
                      <a16:colId xmlns:a16="http://schemas.microsoft.com/office/drawing/2014/main" val="3959873866"/>
                    </a:ext>
                  </a:extLst>
                </a:gridCol>
              </a:tblGrid>
              <a:tr h="375920">
                <a:tc>
                  <a:txBody>
                    <a:bodyPr/>
                    <a:lstStyle/>
                    <a:p>
                      <a:r>
                        <a:rPr lang="de-DE" sz="1900" b="1" dirty="0">
                          <a:solidFill>
                            <a:schemeClr val="tx1"/>
                          </a:solidFill>
                        </a:rPr>
                        <a:t>1.</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100" b="0" dirty="0">
                          <a:solidFill>
                            <a:schemeClr val="tx1"/>
                          </a:solidFill>
                        </a:rPr>
                        <a:t>Timeline</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188426"/>
                  </a:ext>
                </a:extLst>
              </a:tr>
              <a:tr h="375920">
                <a:tc>
                  <a:txBody>
                    <a:bodyPr/>
                    <a:lstStyle/>
                    <a:p>
                      <a:r>
                        <a:rPr lang="de-DE" sz="1900" b="1" dirty="0">
                          <a:solidFill>
                            <a:schemeClr val="tx1"/>
                          </a:solidFill>
                        </a:rPr>
                        <a:t>2.</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tx1"/>
                          </a:solidFill>
                        </a:rPr>
                        <a:t>The Landscape </a:t>
                      </a:r>
                      <a:r>
                        <a:rPr lang="de-DE" sz="1100" dirty="0" err="1">
                          <a:solidFill>
                            <a:schemeClr val="tx1"/>
                          </a:solidFill>
                        </a:rPr>
                        <a:t>of</a:t>
                      </a:r>
                      <a:r>
                        <a:rPr lang="de-DE" sz="1100" dirty="0">
                          <a:solidFill>
                            <a:schemeClr val="tx1"/>
                          </a:solidFill>
                        </a:rPr>
                        <a:t> </a:t>
                      </a:r>
                      <a:r>
                        <a:rPr lang="de-DE" sz="1100" dirty="0" err="1">
                          <a:solidFill>
                            <a:schemeClr val="tx1"/>
                          </a:solidFill>
                        </a:rPr>
                        <a:t>the</a:t>
                      </a:r>
                      <a:r>
                        <a:rPr lang="de-DE" sz="1100" dirty="0">
                          <a:solidFill>
                            <a:schemeClr val="tx1"/>
                          </a:solidFill>
                        </a:rPr>
                        <a:t> Thesis</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047735"/>
                  </a:ext>
                </a:extLst>
              </a:tr>
              <a:tr h="375920">
                <a:tc>
                  <a:txBody>
                    <a:bodyPr/>
                    <a:lstStyle/>
                    <a:p>
                      <a:r>
                        <a:rPr lang="de-DE" sz="1900" b="1" dirty="0">
                          <a:solidFill>
                            <a:schemeClr val="tx1"/>
                          </a:solidFill>
                        </a:rPr>
                        <a:t>3.</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100" dirty="0">
                        <a:solidFill>
                          <a:schemeClr val="tx1"/>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288690"/>
                  </a:ext>
                </a:extLst>
              </a:tr>
            </a:tbl>
          </a:graphicData>
        </a:graphic>
      </p:graphicFrame>
      <p:sp>
        <p:nvSpPr>
          <p:cNvPr id="11" name="Footer Placeholder 10">
            <a:extLst>
              <a:ext uri="{FF2B5EF4-FFF2-40B4-BE49-F238E27FC236}">
                <a16:creationId xmlns:a16="http://schemas.microsoft.com/office/drawing/2014/main" id="{36FCCE6A-A219-382B-566A-877923F047C1}"/>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7" name="Rectangle 6">
            <a:extLst>
              <a:ext uri="{FF2B5EF4-FFF2-40B4-BE49-F238E27FC236}">
                <a16:creationId xmlns:a16="http://schemas.microsoft.com/office/drawing/2014/main" id="{8D6C4E42-EEA0-98AF-4AE0-428623604E1F}"/>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5946709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D583EA-D274-DB9E-84A0-97B856B4CF06}"/>
              </a:ext>
            </a:extLst>
          </p:cNvPr>
          <p:cNvSpPr>
            <a:spLocks noGrp="1"/>
          </p:cNvSpPr>
          <p:nvPr>
            <p:ph type="body" sz="quarter" idx="77"/>
          </p:nvPr>
        </p:nvSpPr>
        <p:spPr>
          <a:xfrm>
            <a:off x="323849" y="195356"/>
            <a:ext cx="7920000" cy="119392"/>
          </a:xfrm>
        </p:spPr>
        <p:txBody>
          <a:bodyPr/>
          <a:lstStyle/>
          <a:p>
            <a:r>
              <a:rPr lang="de-DE" dirty="0"/>
              <a:t>Weekly Update – </a:t>
            </a:r>
            <a:r>
              <a:rPr lang="de-DE" dirty="0" err="1"/>
              <a:t>calendar</a:t>
            </a:r>
            <a:r>
              <a:rPr lang="de-DE" dirty="0"/>
              <a:t> </a:t>
            </a:r>
            <a:r>
              <a:rPr lang="de-DE" dirty="0" err="1"/>
              <a:t>week</a:t>
            </a:r>
            <a:r>
              <a:rPr lang="de-DE" dirty="0"/>
              <a:t> 47</a:t>
            </a:r>
          </a:p>
        </p:txBody>
      </p:sp>
      <p:sp>
        <p:nvSpPr>
          <p:cNvPr id="3" name="Title 2">
            <a:extLst>
              <a:ext uri="{FF2B5EF4-FFF2-40B4-BE49-F238E27FC236}">
                <a16:creationId xmlns:a16="http://schemas.microsoft.com/office/drawing/2014/main" id="{99BAFB4D-FCC8-CADB-BCDD-C5DAC15D9497}"/>
              </a:ext>
            </a:extLst>
          </p:cNvPr>
          <p:cNvSpPr>
            <a:spLocks noGrp="1"/>
          </p:cNvSpPr>
          <p:nvPr>
            <p:ph type="title"/>
          </p:nvPr>
        </p:nvSpPr>
        <p:spPr/>
        <p:txBody>
          <a:bodyPr/>
          <a:lstStyle/>
          <a:p>
            <a:r>
              <a:rPr lang="de-DE" dirty="0"/>
              <a:t>Agenda </a:t>
            </a:r>
            <a:r>
              <a:rPr lang="de-DE" dirty="0" err="1"/>
              <a:t>of</a:t>
            </a:r>
            <a:r>
              <a:rPr lang="de-DE" dirty="0"/>
              <a:t> </a:t>
            </a:r>
            <a:r>
              <a:rPr lang="de-DE" dirty="0" err="1"/>
              <a:t>the</a:t>
            </a:r>
            <a:r>
              <a:rPr lang="de-DE" dirty="0"/>
              <a:t> Meeting</a:t>
            </a:r>
          </a:p>
        </p:txBody>
      </p:sp>
      <p:sp>
        <p:nvSpPr>
          <p:cNvPr id="4" name="Date Placeholder 3">
            <a:extLst>
              <a:ext uri="{FF2B5EF4-FFF2-40B4-BE49-F238E27FC236}">
                <a16:creationId xmlns:a16="http://schemas.microsoft.com/office/drawing/2014/main" id="{D1C7BF02-7CD1-A5C0-A148-6712409F2533}"/>
              </a:ext>
            </a:extLst>
          </p:cNvPr>
          <p:cNvSpPr>
            <a:spLocks noGrp="1"/>
          </p:cNvSpPr>
          <p:nvPr>
            <p:ph type="dt" sz="half" idx="78"/>
          </p:nvPr>
        </p:nvSpPr>
        <p:spPr/>
        <p:txBody>
          <a:bodyPr/>
          <a:lstStyle/>
          <a:p>
            <a:fld id="{12AA45ED-C83A-44F4-8EF9-9AAAA9D1CDF2}" type="datetime1">
              <a:rPr lang="de-DE" smtClean="0"/>
              <a:t>24.01.2024</a:t>
            </a:fld>
            <a:endParaRPr lang="en-US"/>
          </a:p>
        </p:txBody>
      </p:sp>
      <p:sp>
        <p:nvSpPr>
          <p:cNvPr id="6" name="Slide Number Placeholder 5">
            <a:extLst>
              <a:ext uri="{FF2B5EF4-FFF2-40B4-BE49-F238E27FC236}">
                <a16:creationId xmlns:a16="http://schemas.microsoft.com/office/drawing/2014/main" id="{7BEBB52F-EDBC-EFD5-471E-ED0DDE4DE459}"/>
              </a:ext>
            </a:extLst>
          </p:cNvPr>
          <p:cNvSpPr>
            <a:spLocks noGrp="1"/>
          </p:cNvSpPr>
          <p:nvPr>
            <p:ph type="sldNum" sz="quarter" idx="80"/>
          </p:nvPr>
        </p:nvSpPr>
        <p:spPr/>
        <p:txBody>
          <a:bodyPr/>
          <a:lstStyle/>
          <a:p>
            <a:pPr algn="r"/>
            <a:fld id="{B6F15528-21DE-4FAA-801E-634DDDAF4B2B}" type="slidenum">
              <a:rPr lang="en-RO" smtClean="0"/>
              <a:pPr algn="r"/>
              <a:t>4</a:t>
            </a:fld>
            <a:endParaRPr lang="en-RO"/>
          </a:p>
        </p:txBody>
      </p:sp>
      <p:graphicFrame>
        <p:nvGraphicFramePr>
          <p:cNvPr id="10" name="Table 10">
            <a:extLst>
              <a:ext uri="{FF2B5EF4-FFF2-40B4-BE49-F238E27FC236}">
                <a16:creationId xmlns:a16="http://schemas.microsoft.com/office/drawing/2014/main" id="{F2CF7F64-B806-3EDB-ABEE-97A844628204}"/>
              </a:ext>
            </a:extLst>
          </p:cNvPr>
          <p:cNvGraphicFramePr>
            <a:graphicFrameLocks noGrp="1"/>
          </p:cNvGraphicFramePr>
          <p:nvPr>
            <p:extLst>
              <p:ext uri="{D42A27DB-BD31-4B8C-83A1-F6EECF244321}">
                <p14:modId xmlns:p14="http://schemas.microsoft.com/office/powerpoint/2010/main" val="2102516563"/>
              </p:ext>
            </p:extLst>
          </p:nvPr>
        </p:nvGraphicFramePr>
        <p:xfrm>
          <a:off x="323849" y="1243170"/>
          <a:ext cx="6096000" cy="1280160"/>
        </p:xfrm>
        <a:graphic>
          <a:graphicData uri="http://schemas.openxmlformats.org/drawingml/2006/table">
            <a:tbl>
              <a:tblPr firstRow="1" bandRow="1">
                <a:tableStyleId>{5C22544A-7EE6-4342-B048-85BDC9FD1C3A}</a:tableStyleId>
              </a:tblPr>
              <a:tblGrid>
                <a:gridCol w="757257">
                  <a:extLst>
                    <a:ext uri="{9D8B030D-6E8A-4147-A177-3AD203B41FA5}">
                      <a16:colId xmlns:a16="http://schemas.microsoft.com/office/drawing/2014/main" val="1584267583"/>
                    </a:ext>
                  </a:extLst>
                </a:gridCol>
                <a:gridCol w="5338743">
                  <a:extLst>
                    <a:ext uri="{9D8B030D-6E8A-4147-A177-3AD203B41FA5}">
                      <a16:colId xmlns:a16="http://schemas.microsoft.com/office/drawing/2014/main" val="3959873866"/>
                    </a:ext>
                  </a:extLst>
                </a:gridCol>
              </a:tblGrid>
              <a:tr h="375920">
                <a:tc>
                  <a:txBody>
                    <a:bodyPr/>
                    <a:lstStyle/>
                    <a:p>
                      <a:r>
                        <a:rPr lang="de-DE" sz="2800" b="1" dirty="0">
                          <a:solidFill>
                            <a:srgbClr val="FF0000"/>
                          </a:solidFill>
                        </a:rPr>
                        <a:t>1.</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de-DE" sz="1400" b="0" dirty="0">
                          <a:solidFill>
                            <a:srgbClr val="FF0000"/>
                          </a:solidFill>
                        </a:rPr>
                        <a:t>Timeline </a:t>
                      </a:r>
                      <a:r>
                        <a:rPr lang="de-DE" sz="1400" b="0" dirty="0" err="1">
                          <a:solidFill>
                            <a:srgbClr val="FF0000"/>
                          </a:solidFill>
                        </a:rPr>
                        <a:t>of</a:t>
                      </a:r>
                      <a:r>
                        <a:rPr lang="de-DE" sz="1400" b="0" dirty="0">
                          <a:solidFill>
                            <a:srgbClr val="FF0000"/>
                          </a:solidFill>
                        </a:rPr>
                        <a:t> </a:t>
                      </a:r>
                      <a:r>
                        <a:rPr lang="de-DE" sz="1400" b="0" dirty="0" err="1">
                          <a:solidFill>
                            <a:srgbClr val="FF0000"/>
                          </a:solidFill>
                        </a:rPr>
                        <a:t>the</a:t>
                      </a:r>
                      <a:r>
                        <a:rPr lang="de-DE" sz="1400" b="0" dirty="0">
                          <a:solidFill>
                            <a:srgbClr val="FF0000"/>
                          </a:solidFill>
                        </a:rPr>
                        <a:t> Thesis</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188426"/>
                  </a:ext>
                </a:extLst>
              </a:tr>
              <a:tr h="375920">
                <a:tc>
                  <a:txBody>
                    <a:bodyPr/>
                    <a:lstStyle/>
                    <a:p>
                      <a:r>
                        <a:rPr lang="de-DE" sz="1900" b="1" dirty="0">
                          <a:solidFill>
                            <a:schemeClr val="tx1"/>
                          </a:solidFill>
                        </a:rPr>
                        <a:t>2.</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tx1"/>
                          </a:solidFill>
                        </a:rPr>
                        <a:t>The Landscape </a:t>
                      </a:r>
                      <a:r>
                        <a:rPr lang="de-DE" sz="1100" dirty="0" err="1">
                          <a:solidFill>
                            <a:schemeClr val="tx1"/>
                          </a:solidFill>
                        </a:rPr>
                        <a:t>of</a:t>
                      </a:r>
                      <a:r>
                        <a:rPr lang="de-DE" sz="1100" dirty="0">
                          <a:solidFill>
                            <a:schemeClr val="tx1"/>
                          </a:solidFill>
                        </a:rPr>
                        <a:t> </a:t>
                      </a:r>
                      <a:r>
                        <a:rPr lang="de-DE" sz="1100" dirty="0" err="1">
                          <a:solidFill>
                            <a:schemeClr val="tx1"/>
                          </a:solidFill>
                        </a:rPr>
                        <a:t>the</a:t>
                      </a:r>
                      <a:r>
                        <a:rPr lang="de-DE" sz="1100" dirty="0">
                          <a:solidFill>
                            <a:schemeClr val="tx1"/>
                          </a:solidFill>
                        </a:rPr>
                        <a:t> Thesis</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047735"/>
                  </a:ext>
                </a:extLst>
              </a:tr>
              <a:tr h="375920">
                <a:tc>
                  <a:txBody>
                    <a:bodyPr/>
                    <a:lstStyle/>
                    <a:p>
                      <a:r>
                        <a:rPr lang="de-DE" sz="1900" b="1" dirty="0">
                          <a:solidFill>
                            <a:schemeClr val="tx1"/>
                          </a:solidFill>
                        </a:rPr>
                        <a:t>3.</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100" dirty="0">
                        <a:solidFill>
                          <a:schemeClr val="tx1"/>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288690"/>
                  </a:ext>
                </a:extLst>
              </a:tr>
            </a:tbl>
          </a:graphicData>
        </a:graphic>
      </p:graphicFrame>
      <p:sp>
        <p:nvSpPr>
          <p:cNvPr id="11" name="Footer Placeholder 10">
            <a:extLst>
              <a:ext uri="{FF2B5EF4-FFF2-40B4-BE49-F238E27FC236}">
                <a16:creationId xmlns:a16="http://schemas.microsoft.com/office/drawing/2014/main" id="{36FCCE6A-A219-382B-566A-877923F047C1}"/>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7" name="Rectangle 6">
            <a:extLst>
              <a:ext uri="{FF2B5EF4-FFF2-40B4-BE49-F238E27FC236}">
                <a16:creationId xmlns:a16="http://schemas.microsoft.com/office/drawing/2014/main" id="{8D6C4E42-EEA0-98AF-4AE0-428623604E1F}"/>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977602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4362F8B-139C-F1EB-4A60-C2A3B71E8A1A}"/>
              </a:ext>
            </a:extLst>
          </p:cNvPr>
          <p:cNvSpPr/>
          <p:nvPr/>
        </p:nvSpPr>
        <p:spPr>
          <a:xfrm>
            <a:off x="200024" y="981706"/>
            <a:ext cx="8708231" cy="3890332"/>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1400" dirty="0">
              <a:solidFill>
                <a:schemeClr val="tx1"/>
              </a:solidFill>
            </a:endParaRPr>
          </a:p>
        </p:txBody>
      </p:sp>
      <p:sp>
        <p:nvSpPr>
          <p:cNvPr id="2" name="Text Placeholder 1">
            <a:extLst>
              <a:ext uri="{FF2B5EF4-FFF2-40B4-BE49-F238E27FC236}">
                <a16:creationId xmlns:a16="http://schemas.microsoft.com/office/drawing/2014/main" id="{173250F7-5474-F7DD-D3D1-637B6E20400E}"/>
              </a:ext>
            </a:extLst>
          </p:cNvPr>
          <p:cNvSpPr>
            <a:spLocks noGrp="1"/>
          </p:cNvSpPr>
          <p:nvPr>
            <p:ph type="body" sz="quarter" idx="77"/>
          </p:nvPr>
        </p:nvSpPr>
        <p:spPr/>
        <p:txBody>
          <a:bodyPr/>
          <a:lstStyle/>
          <a:p>
            <a:r>
              <a:rPr lang="de-DE" dirty="0"/>
              <a:t>1.Timeline </a:t>
            </a:r>
            <a:r>
              <a:rPr lang="de-DE" dirty="0" err="1"/>
              <a:t>of</a:t>
            </a:r>
            <a:r>
              <a:rPr lang="de-DE" dirty="0"/>
              <a:t> </a:t>
            </a:r>
            <a:r>
              <a:rPr lang="de-DE" dirty="0" err="1"/>
              <a:t>the</a:t>
            </a:r>
            <a:r>
              <a:rPr lang="de-DE" dirty="0"/>
              <a:t> </a:t>
            </a:r>
            <a:r>
              <a:rPr lang="de-DE" dirty="0" err="1"/>
              <a:t>thesis</a:t>
            </a:r>
            <a:endParaRPr lang="de-DE" dirty="0"/>
          </a:p>
        </p:txBody>
      </p:sp>
      <p:sp>
        <p:nvSpPr>
          <p:cNvPr id="3" name="Title 2">
            <a:extLst>
              <a:ext uri="{FF2B5EF4-FFF2-40B4-BE49-F238E27FC236}">
                <a16:creationId xmlns:a16="http://schemas.microsoft.com/office/drawing/2014/main" id="{7028AA43-ECF4-F395-39B8-159C1D110AB0}"/>
              </a:ext>
            </a:extLst>
          </p:cNvPr>
          <p:cNvSpPr>
            <a:spLocks noGrp="1"/>
          </p:cNvSpPr>
          <p:nvPr>
            <p:ph type="title"/>
          </p:nvPr>
        </p:nvSpPr>
        <p:spPr/>
        <p:txBody>
          <a:bodyPr/>
          <a:lstStyle/>
          <a:p>
            <a:r>
              <a:rPr lang="de-DE" dirty="0"/>
              <a:t>Timeline </a:t>
            </a:r>
            <a:r>
              <a:rPr lang="de-DE" dirty="0" err="1"/>
              <a:t>of</a:t>
            </a:r>
            <a:r>
              <a:rPr lang="de-DE" dirty="0"/>
              <a:t> </a:t>
            </a:r>
            <a:r>
              <a:rPr lang="de-DE" dirty="0" err="1"/>
              <a:t>the</a:t>
            </a:r>
            <a:r>
              <a:rPr lang="de-DE" dirty="0"/>
              <a:t> Thesis</a:t>
            </a:r>
          </a:p>
        </p:txBody>
      </p:sp>
      <p:sp>
        <p:nvSpPr>
          <p:cNvPr id="4" name="Date Placeholder 3">
            <a:extLst>
              <a:ext uri="{FF2B5EF4-FFF2-40B4-BE49-F238E27FC236}">
                <a16:creationId xmlns:a16="http://schemas.microsoft.com/office/drawing/2014/main" id="{F932D7D7-1E87-BA45-CA57-A035C998B2D1}"/>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B00EF157-3E5B-F295-FF2A-E829E4770B89}"/>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C1BC5BDF-49CE-226D-8112-A08A6499A062}"/>
              </a:ext>
            </a:extLst>
          </p:cNvPr>
          <p:cNvSpPr>
            <a:spLocks noGrp="1"/>
          </p:cNvSpPr>
          <p:nvPr>
            <p:ph type="sldNum" sz="quarter" idx="80"/>
          </p:nvPr>
        </p:nvSpPr>
        <p:spPr/>
        <p:txBody>
          <a:bodyPr/>
          <a:lstStyle/>
          <a:p>
            <a:pPr algn="r"/>
            <a:fld id="{B6F15528-21DE-4FAA-801E-634DDDAF4B2B}" type="slidenum">
              <a:rPr lang="en-RO" smtClean="0"/>
              <a:pPr algn="r"/>
              <a:t>5</a:t>
            </a:fld>
            <a:endParaRPr lang="en-RO"/>
          </a:p>
        </p:txBody>
      </p:sp>
      <p:graphicFrame>
        <p:nvGraphicFramePr>
          <p:cNvPr id="7" name="Diagram 6">
            <a:extLst>
              <a:ext uri="{FF2B5EF4-FFF2-40B4-BE49-F238E27FC236}">
                <a16:creationId xmlns:a16="http://schemas.microsoft.com/office/drawing/2014/main" id="{5E5137B2-C407-C143-9DF7-E1606DBDD3D1}"/>
              </a:ext>
            </a:extLst>
          </p:cNvPr>
          <p:cNvGraphicFramePr/>
          <p:nvPr>
            <p:extLst>
              <p:ext uri="{D42A27DB-BD31-4B8C-83A1-F6EECF244321}">
                <p14:modId xmlns:p14="http://schemas.microsoft.com/office/powerpoint/2010/main" val="2541184366"/>
              </p:ext>
            </p:extLst>
          </p:nvPr>
        </p:nvGraphicFramePr>
        <p:xfrm>
          <a:off x="200024" y="1110902"/>
          <a:ext cx="8487266" cy="35385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 name="Straight Connector 8">
            <a:extLst>
              <a:ext uri="{FF2B5EF4-FFF2-40B4-BE49-F238E27FC236}">
                <a16:creationId xmlns:a16="http://schemas.microsoft.com/office/drawing/2014/main" id="{6925ED22-9951-6DA8-CCD6-8C7C6B0ABC39}"/>
              </a:ext>
            </a:extLst>
          </p:cNvPr>
          <p:cNvCxnSpPr>
            <a:cxnSpLocks/>
          </p:cNvCxnSpPr>
          <p:nvPr/>
        </p:nvCxnSpPr>
        <p:spPr>
          <a:xfrm>
            <a:off x="7475456" y="981706"/>
            <a:ext cx="0" cy="3796913"/>
          </a:xfrm>
          <a:prstGeom prst="line">
            <a:avLst/>
          </a:prstGeom>
          <a:ln w="3810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14E94FA3-F923-FE9C-A7C1-B90C4228285E}"/>
              </a:ext>
            </a:extLst>
          </p:cNvPr>
          <p:cNvGrpSpPr/>
          <p:nvPr/>
        </p:nvGrpSpPr>
        <p:grpSpPr>
          <a:xfrm>
            <a:off x="778942" y="4444301"/>
            <a:ext cx="7979790" cy="369332"/>
            <a:chOff x="777711" y="4256536"/>
            <a:chExt cx="7979790" cy="369332"/>
          </a:xfrm>
        </p:grpSpPr>
        <p:cxnSp>
          <p:nvCxnSpPr>
            <p:cNvPr id="11" name="Straight Arrow Connector 10">
              <a:extLst>
                <a:ext uri="{FF2B5EF4-FFF2-40B4-BE49-F238E27FC236}">
                  <a16:creationId xmlns:a16="http://schemas.microsoft.com/office/drawing/2014/main" id="{C0E06045-64C1-0DE5-4E9F-FF11AD2BCF83}"/>
                </a:ext>
              </a:extLst>
            </p:cNvPr>
            <p:cNvCxnSpPr/>
            <p:nvPr/>
          </p:nvCxnSpPr>
          <p:spPr>
            <a:xfrm flipH="1">
              <a:off x="777711" y="4590854"/>
              <a:ext cx="6914561" cy="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C3BE64-FC2F-B93C-A088-02ADFB19D37E}"/>
                </a:ext>
              </a:extLst>
            </p:cNvPr>
            <p:cNvCxnSpPr>
              <a:cxnSpLocks/>
            </p:cNvCxnSpPr>
            <p:nvPr/>
          </p:nvCxnSpPr>
          <p:spPr>
            <a:xfrm>
              <a:off x="7692272" y="4590854"/>
              <a:ext cx="1065229" cy="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15942C4-01E5-B820-3339-5F41567677CD}"/>
                </a:ext>
              </a:extLst>
            </p:cNvPr>
            <p:cNvSpPr txBox="1"/>
            <p:nvPr/>
          </p:nvSpPr>
          <p:spPr>
            <a:xfrm>
              <a:off x="3886178" y="4256536"/>
              <a:ext cx="697627" cy="369332"/>
            </a:xfrm>
            <a:prstGeom prst="rect">
              <a:avLst/>
            </a:prstGeom>
            <a:noFill/>
          </p:spPr>
          <p:txBody>
            <a:bodyPr wrap="none" rtlCol="0">
              <a:spAutoFit/>
            </a:bodyPr>
            <a:lstStyle/>
            <a:p>
              <a:r>
                <a:rPr lang="de-DE" dirty="0">
                  <a:solidFill>
                    <a:schemeClr val="bg1">
                      <a:lumMod val="75000"/>
                    </a:schemeClr>
                  </a:solidFill>
                </a:rPr>
                <a:t>2023</a:t>
              </a:r>
            </a:p>
          </p:txBody>
        </p:sp>
        <p:sp>
          <p:nvSpPr>
            <p:cNvPr id="20" name="TextBox 19">
              <a:extLst>
                <a:ext uri="{FF2B5EF4-FFF2-40B4-BE49-F238E27FC236}">
                  <a16:creationId xmlns:a16="http://schemas.microsoft.com/office/drawing/2014/main" id="{635AC786-2B15-F776-1955-C716FCBF7995}"/>
                </a:ext>
              </a:extLst>
            </p:cNvPr>
            <p:cNvSpPr txBox="1"/>
            <p:nvPr/>
          </p:nvSpPr>
          <p:spPr>
            <a:xfrm>
              <a:off x="7876072" y="4256536"/>
              <a:ext cx="697627" cy="369332"/>
            </a:xfrm>
            <a:prstGeom prst="rect">
              <a:avLst/>
            </a:prstGeom>
            <a:noFill/>
          </p:spPr>
          <p:txBody>
            <a:bodyPr wrap="none" rtlCol="0">
              <a:spAutoFit/>
            </a:bodyPr>
            <a:lstStyle/>
            <a:p>
              <a:r>
                <a:rPr lang="de-DE" dirty="0">
                  <a:solidFill>
                    <a:schemeClr val="bg1">
                      <a:lumMod val="75000"/>
                    </a:schemeClr>
                  </a:solidFill>
                </a:rPr>
                <a:t>2024</a:t>
              </a:r>
            </a:p>
          </p:txBody>
        </p:sp>
      </p:grpSp>
      <p:sp>
        <p:nvSpPr>
          <p:cNvPr id="22" name="Rectangle 21">
            <a:extLst>
              <a:ext uri="{FF2B5EF4-FFF2-40B4-BE49-F238E27FC236}">
                <a16:creationId xmlns:a16="http://schemas.microsoft.com/office/drawing/2014/main" id="{114929FC-459F-100D-2C3E-0929496F52CD}"/>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Box 23">
            <a:extLst>
              <a:ext uri="{FF2B5EF4-FFF2-40B4-BE49-F238E27FC236}">
                <a16:creationId xmlns:a16="http://schemas.microsoft.com/office/drawing/2014/main" id="{022B0B3F-E57C-E0F8-7C67-800DB0A3D772}"/>
              </a:ext>
            </a:extLst>
          </p:cNvPr>
          <p:cNvSpPr txBox="1"/>
          <p:nvPr/>
        </p:nvSpPr>
        <p:spPr>
          <a:xfrm>
            <a:off x="235745" y="4550652"/>
            <a:ext cx="777712" cy="153888"/>
          </a:xfrm>
          <a:prstGeom prst="rect">
            <a:avLst/>
          </a:prstGeom>
          <a:noFill/>
        </p:spPr>
        <p:txBody>
          <a:bodyPr wrap="square" rtlCol="0">
            <a:spAutoFit/>
          </a:bodyPr>
          <a:lstStyle/>
          <a:p>
            <a:pPr marL="171450" indent="-171450">
              <a:buFont typeface="Arial" panose="020B0604020202020204" pitchFamily="34" charset="0"/>
              <a:buChar char="•"/>
            </a:pPr>
            <a:r>
              <a:rPr lang="en-GB" sz="400" dirty="0">
                <a:solidFill>
                  <a:srgbClr val="59595F"/>
                </a:solidFill>
              </a:rPr>
              <a:t>Supporting</a:t>
            </a:r>
            <a:r>
              <a:rPr lang="de-DE" sz="400" dirty="0"/>
              <a:t> </a:t>
            </a:r>
            <a:r>
              <a:rPr lang="de-DE" sz="400" dirty="0">
                <a:solidFill>
                  <a:srgbClr val="616268"/>
                </a:solidFill>
              </a:rPr>
              <a:t>Tasks</a:t>
            </a:r>
          </a:p>
        </p:txBody>
      </p:sp>
    </p:spTree>
    <p:extLst>
      <p:ext uri="{BB962C8B-B14F-4D97-AF65-F5344CB8AC3E}">
        <p14:creationId xmlns:p14="http://schemas.microsoft.com/office/powerpoint/2010/main" val="10454776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7794AD-D951-85B0-D20A-AF1467060A1C}"/>
              </a:ext>
            </a:extLst>
          </p:cNvPr>
          <p:cNvSpPr>
            <a:spLocks noGrp="1"/>
          </p:cNvSpPr>
          <p:nvPr>
            <p:ph type="body" sz="quarter" idx="77"/>
          </p:nvPr>
        </p:nvSpPr>
        <p:spPr/>
        <p:txBody>
          <a:bodyPr/>
          <a:lstStyle/>
          <a:p>
            <a:r>
              <a:rPr lang="de-DE" dirty="0" err="1"/>
              <a:t>Previously</a:t>
            </a:r>
            <a:r>
              <a:rPr lang="de-DE" dirty="0"/>
              <a:t> </a:t>
            </a:r>
            <a:r>
              <a:rPr lang="de-DE" dirty="0" err="1"/>
              <a:t>discussed</a:t>
            </a:r>
            <a:r>
              <a:rPr lang="de-DE" dirty="0"/>
              <a:t> </a:t>
            </a:r>
            <a:r>
              <a:rPr lang="de-DE" dirty="0" err="1"/>
              <a:t>points</a:t>
            </a:r>
            <a:r>
              <a:rPr lang="de-DE" dirty="0"/>
              <a:t> (review)</a:t>
            </a:r>
          </a:p>
        </p:txBody>
      </p:sp>
      <p:sp>
        <p:nvSpPr>
          <p:cNvPr id="3" name="Title 2">
            <a:extLst>
              <a:ext uri="{FF2B5EF4-FFF2-40B4-BE49-F238E27FC236}">
                <a16:creationId xmlns:a16="http://schemas.microsoft.com/office/drawing/2014/main" id="{E91B9828-BEA6-40E8-77A0-7CF18F111FF1}"/>
              </a:ext>
            </a:extLst>
          </p:cNvPr>
          <p:cNvSpPr>
            <a:spLocks noGrp="1"/>
          </p:cNvSpPr>
          <p:nvPr>
            <p:ph type="title"/>
          </p:nvPr>
        </p:nvSpPr>
        <p:spPr/>
        <p:txBody>
          <a:bodyPr/>
          <a:lstStyle/>
          <a:p>
            <a:r>
              <a:rPr lang="de-DE" dirty="0" err="1"/>
              <a:t>Why</a:t>
            </a:r>
            <a:r>
              <a:rPr lang="de-DE" dirty="0"/>
              <a:t> </a:t>
            </a:r>
            <a:r>
              <a:rPr lang="de-DE" dirty="0" err="1"/>
              <a:t>new</a:t>
            </a:r>
            <a:r>
              <a:rPr lang="de-DE" dirty="0"/>
              <a:t> </a:t>
            </a:r>
            <a:r>
              <a:rPr lang="de-DE" dirty="0" err="1"/>
              <a:t>Methodology</a:t>
            </a:r>
            <a:endParaRPr lang="de-DE" dirty="0"/>
          </a:p>
        </p:txBody>
      </p:sp>
      <p:sp>
        <p:nvSpPr>
          <p:cNvPr id="4" name="Date Placeholder 3">
            <a:extLst>
              <a:ext uri="{FF2B5EF4-FFF2-40B4-BE49-F238E27FC236}">
                <a16:creationId xmlns:a16="http://schemas.microsoft.com/office/drawing/2014/main" id="{7D1E25B5-A8F9-FD09-8450-1D1410ABD9FE}"/>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F279BF7F-B6A2-215A-88A5-6D29A38C582D}"/>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88803D70-C41B-EE0D-5058-8176C8D8FF8E}"/>
              </a:ext>
            </a:extLst>
          </p:cNvPr>
          <p:cNvSpPr>
            <a:spLocks noGrp="1"/>
          </p:cNvSpPr>
          <p:nvPr>
            <p:ph type="sldNum" sz="quarter" idx="80"/>
          </p:nvPr>
        </p:nvSpPr>
        <p:spPr/>
        <p:txBody>
          <a:bodyPr/>
          <a:lstStyle/>
          <a:p>
            <a:pPr algn="r"/>
            <a:fld id="{B6F15528-21DE-4FAA-801E-634DDDAF4B2B}" type="slidenum">
              <a:rPr lang="en-RO" smtClean="0"/>
              <a:pPr algn="r"/>
              <a:t>6</a:t>
            </a:fld>
            <a:endParaRPr lang="en-RO"/>
          </a:p>
        </p:txBody>
      </p:sp>
      <p:sp>
        <p:nvSpPr>
          <p:cNvPr id="10" name="Rectangle 9">
            <a:extLst>
              <a:ext uri="{FF2B5EF4-FFF2-40B4-BE49-F238E27FC236}">
                <a16:creationId xmlns:a16="http://schemas.microsoft.com/office/drawing/2014/main" id="{EE69DFA5-F47E-9E2E-034D-24AE7DFFB739}"/>
              </a:ext>
            </a:extLst>
          </p:cNvPr>
          <p:cNvSpPr/>
          <p:nvPr/>
        </p:nvSpPr>
        <p:spPr>
          <a:xfrm>
            <a:off x="323849" y="1401461"/>
            <a:ext cx="6396095" cy="1171172"/>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160" lvl="1">
              <a:lnSpc>
                <a:spcPct val="150000"/>
              </a:lnSpc>
            </a:pPr>
            <a:endParaRPr lang="de-DE" sz="1400" dirty="0">
              <a:solidFill>
                <a:schemeClr val="tx1"/>
              </a:solidFill>
            </a:endParaRPr>
          </a:p>
          <a:p>
            <a:pPr marL="285744" indent="-285744">
              <a:buFont typeface="Arial" panose="020B0604020202020204" pitchFamily="34" charset="0"/>
              <a:buChar char="•"/>
            </a:pPr>
            <a:r>
              <a:rPr lang="de-DE" sz="1400" dirty="0" err="1">
                <a:solidFill>
                  <a:schemeClr val="tx1"/>
                </a:solidFill>
              </a:rPr>
              <a:t>Requirement</a:t>
            </a:r>
            <a:r>
              <a:rPr lang="de-DE" sz="1400" dirty="0">
                <a:solidFill>
                  <a:schemeClr val="tx1"/>
                </a:solidFill>
              </a:rPr>
              <a:t> </a:t>
            </a:r>
            <a:r>
              <a:rPr lang="de-DE" sz="1400" dirty="0" err="1">
                <a:solidFill>
                  <a:schemeClr val="tx1"/>
                </a:solidFill>
              </a:rPr>
              <a:t>to</a:t>
            </a:r>
            <a:r>
              <a:rPr lang="de-DE" sz="1400" dirty="0">
                <a:solidFill>
                  <a:schemeClr val="tx1"/>
                </a:solidFill>
              </a:rPr>
              <a:t> find out </a:t>
            </a:r>
            <a:r>
              <a:rPr lang="de-DE" sz="1400" dirty="0" err="1">
                <a:solidFill>
                  <a:schemeClr val="tx1"/>
                </a:solidFill>
              </a:rPr>
              <a:t>complex</a:t>
            </a:r>
            <a:r>
              <a:rPr lang="de-DE" sz="1400" dirty="0">
                <a:solidFill>
                  <a:schemeClr val="tx1"/>
                </a:solidFill>
              </a:rPr>
              <a:t> </a:t>
            </a:r>
            <a:r>
              <a:rPr lang="de-DE" sz="1400" dirty="0" err="1">
                <a:solidFill>
                  <a:schemeClr val="tx1"/>
                </a:solidFill>
              </a:rPr>
              <a:t>correlation</a:t>
            </a:r>
            <a:r>
              <a:rPr lang="de-DE" sz="1400" dirty="0">
                <a:solidFill>
                  <a:schemeClr val="tx1"/>
                </a:solidFill>
              </a:rPr>
              <a:t> </a:t>
            </a:r>
            <a:r>
              <a:rPr lang="de-DE" sz="1400" dirty="0" err="1">
                <a:solidFill>
                  <a:schemeClr val="tx1"/>
                </a:solidFill>
              </a:rPr>
              <a:t>between</a:t>
            </a:r>
            <a:r>
              <a:rPr lang="de-DE" sz="1400" dirty="0">
                <a:solidFill>
                  <a:schemeClr val="tx1"/>
                </a:solidFill>
              </a:rPr>
              <a:t> Error </a:t>
            </a:r>
            <a:r>
              <a:rPr lang="de-DE" sz="1400" dirty="0" err="1">
                <a:solidFill>
                  <a:schemeClr val="tx1"/>
                </a:solidFill>
              </a:rPr>
              <a:t>points</a:t>
            </a:r>
            <a:r>
              <a:rPr lang="de-DE" sz="1400" dirty="0">
                <a:solidFill>
                  <a:schemeClr val="tx1"/>
                </a:solidFill>
              </a:rPr>
              <a:t> and </a:t>
            </a:r>
            <a:r>
              <a:rPr lang="de-DE" sz="1400" dirty="0" err="1">
                <a:solidFill>
                  <a:schemeClr val="tx1"/>
                </a:solidFill>
              </a:rPr>
              <a:t>features</a:t>
            </a:r>
            <a:r>
              <a:rPr lang="de-DE" sz="1400" dirty="0">
                <a:solidFill>
                  <a:schemeClr val="tx1"/>
                </a:solidFill>
              </a:rPr>
              <a:t>.</a:t>
            </a:r>
          </a:p>
          <a:p>
            <a:pPr marL="285744" indent="-285744">
              <a:buFont typeface="Arial" panose="020B0604020202020204" pitchFamily="34" charset="0"/>
              <a:buChar char="•"/>
            </a:pPr>
            <a:r>
              <a:rPr lang="de-DE" sz="1400" dirty="0" err="1">
                <a:solidFill>
                  <a:schemeClr val="tx1"/>
                </a:solidFill>
              </a:rPr>
              <a:t>Automated</a:t>
            </a:r>
            <a:r>
              <a:rPr lang="de-DE" sz="1400" dirty="0">
                <a:solidFill>
                  <a:schemeClr val="tx1"/>
                </a:solidFill>
              </a:rPr>
              <a:t> </a:t>
            </a:r>
            <a:r>
              <a:rPr lang="de-DE" sz="1400" dirty="0" err="1">
                <a:solidFill>
                  <a:schemeClr val="tx1"/>
                </a:solidFill>
              </a:rPr>
              <a:t>sorting</a:t>
            </a:r>
            <a:r>
              <a:rPr lang="de-DE" sz="1400" dirty="0">
                <a:solidFill>
                  <a:schemeClr val="tx1"/>
                </a:solidFill>
              </a:rPr>
              <a:t> </a:t>
            </a:r>
            <a:r>
              <a:rPr lang="de-DE" sz="1400" dirty="0" err="1">
                <a:solidFill>
                  <a:schemeClr val="tx1"/>
                </a:solidFill>
              </a:rPr>
              <a:t>of</a:t>
            </a:r>
            <a:r>
              <a:rPr lang="de-DE" sz="1400" dirty="0">
                <a:solidFill>
                  <a:schemeClr val="tx1"/>
                </a:solidFill>
              </a:rPr>
              <a:t> </a:t>
            </a:r>
            <a:r>
              <a:rPr lang="de-DE" sz="1400" dirty="0" err="1">
                <a:solidFill>
                  <a:schemeClr val="tx1"/>
                </a:solidFill>
              </a:rPr>
              <a:t>upcoming</a:t>
            </a:r>
            <a:r>
              <a:rPr lang="de-DE" sz="1400" dirty="0">
                <a:solidFill>
                  <a:schemeClr val="tx1"/>
                </a:solidFill>
              </a:rPr>
              <a:t> </a:t>
            </a:r>
            <a:r>
              <a:rPr lang="de-DE" sz="1400" dirty="0" err="1">
                <a:solidFill>
                  <a:schemeClr val="tx1"/>
                </a:solidFill>
              </a:rPr>
              <a:t>data</a:t>
            </a:r>
            <a:r>
              <a:rPr lang="de-DE" sz="1400" dirty="0">
                <a:solidFill>
                  <a:schemeClr val="tx1"/>
                </a:solidFill>
              </a:rPr>
              <a:t> </a:t>
            </a:r>
            <a:r>
              <a:rPr lang="de-DE" sz="1400" dirty="0" err="1">
                <a:solidFill>
                  <a:schemeClr val="tx1"/>
                </a:solidFill>
              </a:rPr>
              <a:t>points</a:t>
            </a:r>
            <a:r>
              <a:rPr lang="de-DE" sz="1400" dirty="0">
                <a:solidFill>
                  <a:schemeClr val="tx1"/>
                </a:solidFill>
              </a:rPr>
              <a:t> </a:t>
            </a:r>
            <a:r>
              <a:rPr lang="de-DE" sz="1400" dirty="0" err="1">
                <a:solidFill>
                  <a:schemeClr val="tx1"/>
                </a:solidFill>
              </a:rPr>
              <a:t>with</a:t>
            </a:r>
            <a:r>
              <a:rPr lang="de-DE" sz="1400" dirty="0">
                <a:solidFill>
                  <a:schemeClr val="tx1"/>
                </a:solidFill>
              </a:rPr>
              <a:t> </a:t>
            </a:r>
            <a:r>
              <a:rPr lang="de-DE" sz="1400" dirty="0" err="1">
                <a:solidFill>
                  <a:schemeClr val="tx1"/>
                </a:solidFill>
              </a:rPr>
              <a:t>current</a:t>
            </a:r>
            <a:r>
              <a:rPr lang="de-DE" sz="1400" dirty="0">
                <a:solidFill>
                  <a:schemeClr val="tx1"/>
                </a:solidFill>
              </a:rPr>
              <a:t> </a:t>
            </a:r>
            <a:r>
              <a:rPr lang="de-DE" sz="1400" dirty="0" err="1">
                <a:solidFill>
                  <a:schemeClr val="tx1"/>
                </a:solidFill>
              </a:rPr>
              <a:t>clusters</a:t>
            </a:r>
            <a:r>
              <a:rPr lang="de-DE" sz="1400" dirty="0">
                <a:solidFill>
                  <a:schemeClr val="tx1"/>
                </a:solidFill>
              </a:rPr>
              <a:t> </a:t>
            </a:r>
            <a:r>
              <a:rPr lang="de-DE" sz="1400" dirty="0" err="1">
                <a:solidFill>
                  <a:schemeClr val="tx1"/>
                </a:solidFill>
              </a:rPr>
              <a:t>as</a:t>
            </a:r>
            <a:r>
              <a:rPr lang="de-DE" sz="1400" dirty="0">
                <a:solidFill>
                  <a:schemeClr val="tx1"/>
                </a:solidFill>
              </a:rPr>
              <a:t> per different </a:t>
            </a:r>
            <a:r>
              <a:rPr lang="de-DE" sz="1400" dirty="0" err="1">
                <a:solidFill>
                  <a:schemeClr val="tx1"/>
                </a:solidFill>
              </a:rPr>
              <a:t>charging</a:t>
            </a:r>
            <a:r>
              <a:rPr lang="de-DE" sz="1400" dirty="0">
                <a:solidFill>
                  <a:schemeClr val="tx1"/>
                </a:solidFill>
              </a:rPr>
              <a:t> </a:t>
            </a:r>
            <a:r>
              <a:rPr lang="de-DE" sz="1400" dirty="0" err="1">
                <a:solidFill>
                  <a:schemeClr val="tx1"/>
                </a:solidFill>
              </a:rPr>
              <a:t>behaviour</a:t>
            </a:r>
            <a:r>
              <a:rPr lang="de-DE" sz="1400" dirty="0">
                <a:solidFill>
                  <a:schemeClr val="tx1"/>
                </a:solidFill>
              </a:rPr>
              <a:t>.</a:t>
            </a:r>
          </a:p>
          <a:p>
            <a:pPr marL="285744" indent="-285744">
              <a:buFont typeface="Arial" panose="020B0604020202020204" pitchFamily="34" charset="0"/>
              <a:buChar char="•"/>
            </a:pPr>
            <a:r>
              <a:rPr lang="de-DE" sz="1400" dirty="0">
                <a:solidFill>
                  <a:schemeClr val="tx1"/>
                </a:solidFill>
              </a:rPr>
              <a:t>Try </a:t>
            </a:r>
            <a:r>
              <a:rPr lang="de-DE" sz="1400" dirty="0" err="1">
                <a:solidFill>
                  <a:schemeClr val="tx1"/>
                </a:solidFill>
              </a:rPr>
              <a:t>to</a:t>
            </a:r>
            <a:r>
              <a:rPr lang="de-DE" sz="1400" dirty="0">
                <a:solidFill>
                  <a:schemeClr val="tx1"/>
                </a:solidFill>
              </a:rPr>
              <a:t> find out </a:t>
            </a:r>
            <a:r>
              <a:rPr lang="de-DE" sz="1400" dirty="0" err="1">
                <a:solidFill>
                  <a:schemeClr val="tx1"/>
                </a:solidFill>
              </a:rPr>
              <a:t>interdependancies</a:t>
            </a:r>
            <a:r>
              <a:rPr lang="de-DE" sz="1400" dirty="0">
                <a:solidFill>
                  <a:schemeClr val="tx1"/>
                </a:solidFill>
              </a:rPr>
              <a:t> </a:t>
            </a:r>
            <a:r>
              <a:rPr lang="de-DE" sz="1400" dirty="0" err="1">
                <a:solidFill>
                  <a:schemeClr val="tx1"/>
                </a:solidFill>
              </a:rPr>
              <a:t>of</a:t>
            </a:r>
            <a:r>
              <a:rPr lang="de-DE" sz="1400" dirty="0">
                <a:solidFill>
                  <a:schemeClr val="tx1"/>
                </a:solidFill>
              </a:rPr>
              <a:t> </a:t>
            </a:r>
            <a:r>
              <a:rPr lang="de-DE" sz="1400" dirty="0" err="1">
                <a:solidFill>
                  <a:schemeClr val="tx1"/>
                </a:solidFill>
              </a:rPr>
              <a:t>features</a:t>
            </a:r>
            <a:r>
              <a:rPr lang="de-DE" sz="1400" dirty="0">
                <a:solidFill>
                  <a:schemeClr val="tx1"/>
                </a:solidFill>
              </a:rPr>
              <a:t> </a:t>
            </a:r>
            <a:r>
              <a:rPr lang="de-DE" sz="1400" dirty="0" err="1">
                <a:solidFill>
                  <a:schemeClr val="tx1"/>
                </a:solidFill>
              </a:rPr>
              <a:t>of</a:t>
            </a:r>
            <a:r>
              <a:rPr lang="de-DE" sz="1400" dirty="0">
                <a:solidFill>
                  <a:schemeClr val="tx1"/>
                </a:solidFill>
              </a:rPr>
              <a:t> </a:t>
            </a:r>
            <a:r>
              <a:rPr lang="de-DE" sz="1400" dirty="0" err="1">
                <a:solidFill>
                  <a:schemeClr val="tx1"/>
                </a:solidFill>
              </a:rPr>
              <a:t>the</a:t>
            </a:r>
            <a:r>
              <a:rPr lang="de-DE" sz="1400" dirty="0">
                <a:solidFill>
                  <a:schemeClr val="tx1"/>
                </a:solidFill>
              </a:rPr>
              <a:t> </a:t>
            </a:r>
            <a:r>
              <a:rPr lang="de-DE" sz="1400" dirty="0" err="1">
                <a:solidFill>
                  <a:schemeClr val="tx1"/>
                </a:solidFill>
              </a:rPr>
              <a:t>data</a:t>
            </a:r>
            <a:r>
              <a:rPr lang="de-DE" sz="1400" dirty="0">
                <a:solidFill>
                  <a:schemeClr val="tx1"/>
                </a:solidFill>
              </a:rPr>
              <a:t> frame.</a:t>
            </a:r>
          </a:p>
          <a:p>
            <a:pPr marL="285744" indent="-285744">
              <a:buFont typeface="Arial" panose="020B0604020202020204" pitchFamily="34" charset="0"/>
              <a:buChar char="•"/>
            </a:pPr>
            <a:endParaRPr lang="de-DE" sz="1400" dirty="0">
              <a:solidFill>
                <a:schemeClr val="tx1"/>
              </a:solidFill>
            </a:endParaRPr>
          </a:p>
          <a:p>
            <a:endParaRPr lang="de-DE" sz="1400" dirty="0">
              <a:solidFill>
                <a:schemeClr val="tx1"/>
              </a:solidFill>
            </a:endParaRPr>
          </a:p>
        </p:txBody>
      </p:sp>
      <p:sp>
        <p:nvSpPr>
          <p:cNvPr id="7" name="Rectangle 6">
            <a:extLst>
              <a:ext uri="{FF2B5EF4-FFF2-40B4-BE49-F238E27FC236}">
                <a16:creationId xmlns:a16="http://schemas.microsoft.com/office/drawing/2014/main" id="{5740C6BA-E7C6-9AD5-0E14-45642B2051B5}"/>
              </a:ext>
            </a:extLst>
          </p:cNvPr>
          <p:cNvSpPr/>
          <p:nvPr/>
        </p:nvSpPr>
        <p:spPr>
          <a:xfrm>
            <a:off x="373855" y="3093696"/>
            <a:ext cx="6396095" cy="1794396"/>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160" lvl="1">
              <a:lnSpc>
                <a:spcPct val="150000"/>
              </a:lnSpc>
            </a:pPr>
            <a:endParaRPr lang="de-DE" sz="1400" dirty="0">
              <a:solidFill>
                <a:schemeClr val="tx1"/>
              </a:solidFill>
            </a:endParaRPr>
          </a:p>
          <a:p>
            <a:pPr marL="285744" indent="-285744">
              <a:buFont typeface="Arial" panose="020B0604020202020204" pitchFamily="34" charset="0"/>
              <a:buChar char="•"/>
            </a:pPr>
            <a:r>
              <a:rPr lang="de-DE" sz="1400" dirty="0">
                <a:solidFill>
                  <a:schemeClr val="tx1"/>
                </a:solidFill>
              </a:rPr>
              <a:t>As </a:t>
            </a:r>
            <a:r>
              <a:rPr lang="de-DE" sz="1400" dirty="0" err="1">
                <a:solidFill>
                  <a:schemeClr val="tx1"/>
                </a:solidFill>
              </a:rPr>
              <a:t>clustering</a:t>
            </a:r>
            <a:r>
              <a:rPr lang="de-DE" sz="1400" dirty="0">
                <a:solidFill>
                  <a:schemeClr val="tx1"/>
                </a:solidFill>
              </a:rPr>
              <a:t> </a:t>
            </a:r>
            <a:r>
              <a:rPr lang="de-DE" sz="1400" dirty="0" err="1">
                <a:solidFill>
                  <a:schemeClr val="tx1"/>
                </a:solidFill>
              </a:rPr>
              <a:t>algorithm</a:t>
            </a:r>
            <a:r>
              <a:rPr lang="de-DE" sz="1400" dirty="0">
                <a:solidFill>
                  <a:schemeClr val="tx1"/>
                </a:solidFill>
              </a:rPr>
              <a:t> </a:t>
            </a:r>
            <a:r>
              <a:rPr lang="de-DE" sz="1400" dirty="0" err="1">
                <a:solidFill>
                  <a:schemeClr val="tx1"/>
                </a:solidFill>
              </a:rPr>
              <a:t>groups</a:t>
            </a:r>
            <a:r>
              <a:rPr lang="de-DE" sz="1400" dirty="0">
                <a:solidFill>
                  <a:schemeClr val="tx1"/>
                </a:solidFill>
              </a:rPr>
              <a:t> </a:t>
            </a:r>
            <a:r>
              <a:rPr lang="de-DE" sz="1400" dirty="0" err="1">
                <a:solidFill>
                  <a:schemeClr val="tx1"/>
                </a:solidFill>
              </a:rPr>
              <a:t>similar</a:t>
            </a:r>
            <a:r>
              <a:rPr lang="de-DE" sz="1400" dirty="0">
                <a:solidFill>
                  <a:schemeClr val="tx1"/>
                </a:solidFill>
              </a:rPr>
              <a:t> type </a:t>
            </a:r>
            <a:r>
              <a:rPr lang="de-DE" sz="1400" dirty="0" err="1">
                <a:solidFill>
                  <a:schemeClr val="tx1"/>
                </a:solidFill>
              </a:rPr>
              <a:t>of</a:t>
            </a:r>
            <a:r>
              <a:rPr lang="de-DE" sz="1400" dirty="0">
                <a:solidFill>
                  <a:schemeClr val="tx1"/>
                </a:solidFill>
              </a:rPr>
              <a:t> </a:t>
            </a:r>
            <a:r>
              <a:rPr lang="de-DE" sz="1400" dirty="0" err="1">
                <a:solidFill>
                  <a:schemeClr val="tx1"/>
                </a:solidFill>
              </a:rPr>
              <a:t>datapoints</a:t>
            </a:r>
            <a:r>
              <a:rPr lang="de-DE" sz="1400" dirty="0">
                <a:solidFill>
                  <a:schemeClr val="tx1"/>
                </a:solidFill>
              </a:rPr>
              <a:t>, </a:t>
            </a:r>
            <a:r>
              <a:rPr lang="de-DE" sz="1400" dirty="0" err="1">
                <a:solidFill>
                  <a:schemeClr val="tx1"/>
                </a:solidFill>
              </a:rPr>
              <a:t>clusters</a:t>
            </a:r>
            <a:r>
              <a:rPr lang="de-DE" sz="1400" dirty="0">
                <a:solidFill>
                  <a:schemeClr val="tx1"/>
                </a:solidFill>
              </a:rPr>
              <a:t> </a:t>
            </a:r>
            <a:r>
              <a:rPr lang="de-DE" sz="1400" dirty="0" err="1">
                <a:solidFill>
                  <a:schemeClr val="tx1"/>
                </a:solidFill>
              </a:rPr>
              <a:t>needs</a:t>
            </a:r>
            <a:r>
              <a:rPr lang="de-DE" sz="1400" dirty="0">
                <a:solidFill>
                  <a:schemeClr val="tx1"/>
                </a:solidFill>
              </a:rPr>
              <a:t> </a:t>
            </a:r>
            <a:r>
              <a:rPr lang="de-DE" sz="1400" dirty="0" err="1">
                <a:solidFill>
                  <a:schemeClr val="tx1"/>
                </a:solidFill>
              </a:rPr>
              <a:t>to</a:t>
            </a:r>
            <a:r>
              <a:rPr lang="de-DE" sz="1400" dirty="0">
                <a:solidFill>
                  <a:schemeClr val="tx1"/>
                </a:solidFill>
              </a:rPr>
              <a:t> </a:t>
            </a:r>
            <a:r>
              <a:rPr lang="de-DE" sz="1400" dirty="0" err="1">
                <a:solidFill>
                  <a:schemeClr val="tx1"/>
                </a:solidFill>
              </a:rPr>
              <a:t>me</a:t>
            </a:r>
            <a:r>
              <a:rPr lang="de-DE" sz="1400" dirty="0">
                <a:solidFill>
                  <a:schemeClr val="tx1"/>
                </a:solidFill>
              </a:rPr>
              <a:t> </a:t>
            </a:r>
            <a:r>
              <a:rPr lang="de-DE" sz="1400" dirty="0" err="1">
                <a:solidFill>
                  <a:schemeClr val="tx1"/>
                </a:solidFill>
              </a:rPr>
              <a:t>interpreted</a:t>
            </a:r>
            <a:r>
              <a:rPr lang="de-DE" sz="1400" dirty="0">
                <a:solidFill>
                  <a:schemeClr val="tx1"/>
                </a:solidFill>
              </a:rPr>
              <a:t> </a:t>
            </a:r>
            <a:r>
              <a:rPr lang="de-DE" sz="1400" dirty="0" err="1">
                <a:solidFill>
                  <a:schemeClr val="tx1"/>
                </a:solidFill>
              </a:rPr>
              <a:t>manually</a:t>
            </a:r>
            <a:r>
              <a:rPr lang="de-DE" sz="1400" dirty="0">
                <a:solidFill>
                  <a:schemeClr val="tx1"/>
                </a:solidFill>
              </a:rPr>
              <a:t> </a:t>
            </a:r>
            <a:r>
              <a:rPr lang="de-DE" sz="1400" dirty="0" err="1">
                <a:solidFill>
                  <a:schemeClr val="tx1"/>
                </a:solidFill>
              </a:rPr>
              <a:t>to</a:t>
            </a:r>
            <a:r>
              <a:rPr lang="de-DE" sz="1400" dirty="0">
                <a:solidFill>
                  <a:schemeClr val="tx1"/>
                </a:solidFill>
              </a:rPr>
              <a:t> </a:t>
            </a:r>
            <a:r>
              <a:rPr lang="de-DE" sz="1400" dirty="0" err="1">
                <a:solidFill>
                  <a:schemeClr val="tx1"/>
                </a:solidFill>
              </a:rPr>
              <a:t>derive</a:t>
            </a:r>
            <a:r>
              <a:rPr lang="de-DE" sz="1400" dirty="0">
                <a:solidFill>
                  <a:schemeClr val="tx1"/>
                </a:solidFill>
              </a:rPr>
              <a:t> a </a:t>
            </a:r>
            <a:r>
              <a:rPr lang="de-DE" sz="1400" dirty="0" err="1">
                <a:solidFill>
                  <a:schemeClr val="tx1"/>
                </a:solidFill>
              </a:rPr>
              <a:t>useful</a:t>
            </a:r>
            <a:r>
              <a:rPr lang="de-DE" sz="1400" dirty="0">
                <a:solidFill>
                  <a:schemeClr val="tx1"/>
                </a:solidFill>
              </a:rPr>
              <a:t> </a:t>
            </a:r>
            <a:r>
              <a:rPr lang="de-DE" sz="1400" dirty="0" err="1">
                <a:solidFill>
                  <a:schemeClr val="tx1"/>
                </a:solidFill>
              </a:rPr>
              <a:t>conclusion</a:t>
            </a:r>
            <a:r>
              <a:rPr lang="de-DE" sz="1400" dirty="0">
                <a:solidFill>
                  <a:schemeClr val="tx1"/>
                </a:solidFill>
              </a:rPr>
              <a:t>.</a:t>
            </a:r>
          </a:p>
          <a:p>
            <a:pPr marL="285744" indent="-285744">
              <a:buFont typeface="Arial" panose="020B0604020202020204" pitchFamily="34" charset="0"/>
              <a:buChar char="•"/>
            </a:pPr>
            <a:r>
              <a:rPr lang="de-DE" sz="1400" dirty="0" err="1">
                <a:solidFill>
                  <a:schemeClr val="tx1"/>
                </a:solidFill>
              </a:rPr>
              <a:t>It</a:t>
            </a:r>
            <a:r>
              <a:rPr lang="de-DE" sz="1400" dirty="0">
                <a:solidFill>
                  <a:schemeClr val="tx1"/>
                </a:solidFill>
              </a:rPr>
              <a:t> </a:t>
            </a:r>
            <a:r>
              <a:rPr lang="de-DE" sz="1400" dirty="0" err="1">
                <a:solidFill>
                  <a:schemeClr val="tx1"/>
                </a:solidFill>
              </a:rPr>
              <a:t>is</a:t>
            </a:r>
            <a:r>
              <a:rPr lang="de-DE" sz="1400" dirty="0">
                <a:solidFill>
                  <a:schemeClr val="tx1"/>
                </a:solidFill>
              </a:rPr>
              <a:t> </a:t>
            </a:r>
            <a:r>
              <a:rPr lang="de-DE" sz="1400" dirty="0" err="1">
                <a:solidFill>
                  <a:schemeClr val="tx1"/>
                </a:solidFill>
              </a:rPr>
              <a:t>difficult</a:t>
            </a:r>
            <a:r>
              <a:rPr lang="de-DE" sz="1400" dirty="0">
                <a:solidFill>
                  <a:schemeClr val="tx1"/>
                </a:solidFill>
              </a:rPr>
              <a:t> </a:t>
            </a:r>
            <a:r>
              <a:rPr lang="de-DE" sz="1400" dirty="0" err="1">
                <a:solidFill>
                  <a:schemeClr val="tx1"/>
                </a:solidFill>
              </a:rPr>
              <a:t>to</a:t>
            </a:r>
            <a:r>
              <a:rPr lang="de-DE" sz="1400" dirty="0">
                <a:solidFill>
                  <a:schemeClr val="tx1"/>
                </a:solidFill>
              </a:rPr>
              <a:t> </a:t>
            </a:r>
            <a:r>
              <a:rPr lang="de-DE" sz="1400" dirty="0" err="1">
                <a:solidFill>
                  <a:schemeClr val="tx1"/>
                </a:solidFill>
              </a:rPr>
              <a:t>make</a:t>
            </a:r>
            <a:r>
              <a:rPr lang="de-DE" sz="1400" dirty="0">
                <a:solidFill>
                  <a:schemeClr val="tx1"/>
                </a:solidFill>
              </a:rPr>
              <a:t> </a:t>
            </a:r>
            <a:r>
              <a:rPr lang="de-DE" sz="1400" dirty="0" err="1">
                <a:solidFill>
                  <a:schemeClr val="tx1"/>
                </a:solidFill>
              </a:rPr>
              <a:t>hypothesis</a:t>
            </a:r>
            <a:r>
              <a:rPr lang="de-DE" sz="1400" dirty="0">
                <a:solidFill>
                  <a:schemeClr val="tx1"/>
                </a:solidFill>
              </a:rPr>
              <a:t> </a:t>
            </a:r>
            <a:r>
              <a:rPr lang="de-DE" sz="1400" dirty="0" err="1">
                <a:solidFill>
                  <a:schemeClr val="tx1"/>
                </a:solidFill>
              </a:rPr>
              <a:t>regarding</a:t>
            </a:r>
            <a:r>
              <a:rPr lang="de-DE" sz="1400" dirty="0">
                <a:solidFill>
                  <a:schemeClr val="tx1"/>
                </a:solidFill>
              </a:rPr>
              <a:t> </a:t>
            </a:r>
            <a:r>
              <a:rPr lang="de-DE" sz="1400" dirty="0" err="1">
                <a:solidFill>
                  <a:schemeClr val="tx1"/>
                </a:solidFill>
              </a:rPr>
              <a:t>complex</a:t>
            </a:r>
            <a:r>
              <a:rPr lang="de-DE" sz="1400" dirty="0">
                <a:solidFill>
                  <a:schemeClr val="tx1"/>
                </a:solidFill>
              </a:rPr>
              <a:t> </a:t>
            </a:r>
            <a:r>
              <a:rPr lang="de-DE" sz="1400" dirty="0" err="1">
                <a:solidFill>
                  <a:schemeClr val="tx1"/>
                </a:solidFill>
              </a:rPr>
              <a:t>relation</a:t>
            </a:r>
            <a:r>
              <a:rPr lang="de-DE" sz="1400" dirty="0">
                <a:solidFill>
                  <a:schemeClr val="tx1"/>
                </a:solidFill>
              </a:rPr>
              <a:t> </a:t>
            </a:r>
            <a:r>
              <a:rPr lang="de-DE" sz="1400" dirty="0" err="1">
                <a:solidFill>
                  <a:schemeClr val="tx1"/>
                </a:solidFill>
              </a:rPr>
              <a:t>of</a:t>
            </a:r>
            <a:r>
              <a:rPr lang="de-DE" sz="1400" dirty="0">
                <a:solidFill>
                  <a:schemeClr val="tx1"/>
                </a:solidFill>
              </a:rPr>
              <a:t> </a:t>
            </a:r>
            <a:r>
              <a:rPr lang="de-DE" sz="1400" dirty="0" err="1">
                <a:solidFill>
                  <a:schemeClr val="tx1"/>
                </a:solidFill>
              </a:rPr>
              <a:t>required</a:t>
            </a:r>
            <a:r>
              <a:rPr lang="de-DE" sz="1400" dirty="0">
                <a:solidFill>
                  <a:schemeClr val="tx1"/>
                </a:solidFill>
              </a:rPr>
              <a:t> </a:t>
            </a:r>
            <a:r>
              <a:rPr lang="de-DE" sz="1400" dirty="0" err="1">
                <a:solidFill>
                  <a:schemeClr val="tx1"/>
                </a:solidFill>
              </a:rPr>
              <a:t>class</a:t>
            </a:r>
            <a:r>
              <a:rPr lang="de-DE" sz="1400" dirty="0">
                <a:solidFill>
                  <a:schemeClr val="tx1"/>
                </a:solidFill>
              </a:rPr>
              <a:t> (Error1,Error2,Error3) </a:t>
            </a:r>
            <a:r>
              <a:rPr lang="de-DE" sz="1400" dirty="0" err="1">
                <a:solidFill>
                  <a:schemeClr val="tx1"/>
                </a:solidFill>
              </a:rPr>
              <a:t>with</a:t>
            </a:r>
            <a:r>
              <a:rPr lang="de-DE" sz="1400" dirty="0">
                <a:solidFill>
                  <a:schemeClr val="tx1"/>
                </a:solidFill>
              </a:rPr>
              <a:t> </a:t>
            </a:r>
            <a:r>
              <a:rPr lang="de-DE" sz="1400" dirty="0" err="1">
                <a:solidFill>
                  <a:schemeClr val="tx1"/>
                </a:solidFill>
              </a:rPr>
              <a:t>features</a:t>
            </a:r>
            <a:r>
              <a:rPr lang="de-DE" sz="1400" dirty="0">
                <a:solidFill>
                  <a:schemeClr val="tx1"/>
                </a:solidFill>
              </a:rPr>
              <a:t> (power, </a:t>
            </a:r>
            <a:r>
              <a:rPr lang="de-DE" sz="1400" dirty="0" err="1">
                <a:solidFill>
                  <a:schemeClr val="tx1"/>
                </a:solidFill>
              </a:rPr>
              <a:t>duration</a:t>
            </a:r>
            <a:r>
              <a:rPr lang="de-DE" sz="1400" dirty="0">
                <a:solidFill>
                  <a:schemeClr val="tx1"/>
                </a:solidFill>
              </a:rPr>
              <a:t>, </a:t>
            </a:r>
            <a:r>
              <a:rPr lang="de-DE" sz="1400" dirty="0" err="1">
                <a:solidFill>
                  <a:schemeClr val="tx1"/>
                </a:solidFill>
              </a:rPr>
              <a:t>temperature</a:t>
            </a:r>
            <a:r>
              <a:rPr lang="de-DE" sz="1400" dirty="0">
                <a:solidFill>
                  <a:schemeClr val="tx1"/>
                </a:solidFill>
              </a:rPr>
              <a:t>) </a:t>
            </a:r>
            <a:r>
              <a:rPr lang="de-DE" sz="1400" dirty="0" err="1">
                <a:solidFill>
                  <a:schemeClr val="tx1"/>
                </a:solidFill>
              </a:rPr>
              <a:t>with</a:t>
            </a:r>
            <a:r>
              <a:rPr lang="de-DE" sz="1400" dirty="0">
                <a:solidFill>
                  <a:schemeClr val="tx1"/>
                </a:solidFill>
              </a:rPr>
              <a:t> </a:t>
            </a:r>
            <a:r>
              <a:rPr lang="de-DE" sz="1400" dirty="0" err="1">
                <a:solidFill>
                  <a:schemeClr val="tx1"/>
                </a:solidFill>
              </a:rPr>
              <a:t>clustering</a:t>
            </a:r>
            <a:r>
              <a:rPr lang="de-DE" sz="1400" dirty="0">
                <a:solidFill>
                  <a:schemeClr val="tx1"/>
                </a:solidFill>
              </a:rPr>
              <a:t> and PCA.</a:t>
            </a:r>
          </a:p>
          <a:p>
            <a:pPr marL="285744" indent="-285744">
              <a:buFont typeface="Arial" panose="020B0604020202020204" pitchFamily="34" charset="0"/>
              <a:buChar char="•"/>
            </a:pPr>
            <a:r>
              <a:rPr lang="de-DE" sz="1400" dirty="0" err="1">
                <a:solidFill>
                  <a:schemeClr val="tx1"/>
                </a:solidFill>
              </a:rPr>
              <a:t>Therefore</a:t>
            </a:r>
            <a:r>
              <a:rPr lang="de-DE" sz="1400" dirty="0">
                <a:solidFill>
                  <a:schemeClr val="tx1"/>
                </a:solidFill>
              </a:rPr>
              <a:t> a </a:t>
            </a:r>
            <a:r>
              <a:rPr lang="de-DE" sz="1400" dirty="0" err="1">
                <a:solidFill>
                  <a:schemeClr val="tx1"/>
                </a:solidFill>
              </a:rPr>
              <a:t>method</a:t>
            </a:r>
            <a:r>
              <a:rPr lang="de-DE" sz="1400" dirty="0">
                <a:solidFill>
                  <a:schemeClr val="tx1"/>
                </a:solidFill>
              </a:rPr>
              <a:t> </a:t>
            </a:r>
            <a:r>
              <a:rPr lang="de-DE" sz="1400" dirty="0" err="1">
                <a:solidFill>
                  <a:schemeClr val="tx1"/>
                </a:solidFill>
              </a:rPr>
              <a:t>which</a:t>
            </a:r>
            <a:r>
              <a:rPr lang="de-DE" sz="1400" dirty="0">
                <a:solidFill>
                  <a:schemeClr val="tx1"/>
                </a:solidFill>
              </a:rPr>
              <a:t> </a:t>
            </a:r>
            <a:r>
              <a:rPr lang="de-DE" sz="1400" dirty="0" err="1">
                <a:solidFill>
                  <a:schemeClr val="tx1"/>
                </a:solidFill>
              </a:rPr>
              <a:t>can</a:t>
            </a:r>
            <a:r>
              <a:rPr lang="de-DE" sz="1400" dirty="0">
                <a:solidFill>
                  <a:schemeClr val="tx1"/>
                </a:solidFill>
              </a:rPr>
              <a:t> </a:t>
            </a:r>
            <a:r>
              <a:rPr lang="de-DE" sz="1400" dirty="0" err="1">
                <a:solidFill>
                  <a:schemeClr val="tx1"/>
                </a:solidFill>
              </a:rPr>
              <a:t>directly</a:t>
            </a:r>
            <a:r>
              <a:rPr lang="de-DE" sz="1400" dirty="0">
                <a:solidFill>
                  <a:schemeClr val="tx1"/>
                </a:solidFill>
              </a:rPr>
              <a:t> </a:t>
            </a:r>
            <a:r>
              <a:rPr lang="de-DE" sz="1400" dirty="0" err="1">
                <a:solidFill>
                  <a:schemeClr val="tx1"/>
                </a:solidFill>
              </a:rPr>
              <a:t>provide</a:t>
            </a:r>
            <a:r>
              <a:rPr lang="de-DE" sz="1400" dirty="0">
                <a:solidFill>
                  <a:schemeClr val="tx1"/>
                </a:solidFill>
              </a:rPr>
              <a:t> an </a:t>
            </a:r>
            <a:r>
              <a:rPr lang="de-DE" sz="1400" dirty="0" err="1">
                <a:solidFill>
                  <a:schemeClr val="tx1"/>
                </a:solidFill>
              </a:rPr>
              <a:t>information</a:t>
            </a:r>
            <a:r>
              <a:rPr lang="de-DE" sz="1400" dirty="0">
                <a:solidFill>
                  <a:schemeClr val="tx1"/>
                </a:solidFill>
              </a:rPr>
              <a:t> </a:t>
            </a:r>
            <a:r>
              <a:rPr lang="de-DE" sz="1400" dirty="0" err="1">
                <a:solidFill>
                  <a:schemeClr val="tx1"/>
                </a:solidFill>
              </a:rPr>
              <a:t>about</a:t>
            </a:r>
            <a:r>
              <a:rPr lang="de-DE" sz="1400" dirty="0">
                <a:solidFill>
                  <a:schemeClr val="tx1"/>
                </a:solidFill>
              </a:rPr>
              <a:t> </a:t>
            </a:r>
            <a:r>
              <a:rPr lang="de-DE" sz="1400" dirty="0" err="1">
                <a:solidFill>
                  <a:schemeClr val="tx1"/>
                </a:solidFill>
              </a:rPr>
              <a:t>correlation</a:t>
            </a:r>
            <a:r>
              <a:rPr lang="de-DE" sz="1400" dirty="0">
                <a:solidFill>
                  <a:schemeClr val="tx1"/>
                </a:solidFill>
              </a:rPr>
              <a:t> </a:t>
            </a:r>
            <a:r>
              <a:rPr lang="de-DE" sz="1400" dirty="0" err="1">
                <a:solidFill>
                  <a:schemeClr val="tx1"/>
                </a:solidFill>
              </a:rPr>
              <a:t>of</a:t>
            </a:r>
            <a:r>
              <a:rPr lang="de-DE" sz="1400" dirty="0">
                <a:solidFill>
                  <a:schemeClr val="tx1"/>
                </a:solidFill>
              </a:rPr>
              <a:t> </a:t>
            </a:r>
            <a:r>
              <a:rPr lang="de-DE" sz="1400" dirty="0" err="1">
                <a:solidFill>
                  <a:schemeClr val="tx1"/>
                </a:solidFill>
              </a:rPr>
              <a:t>targeted</a:t>
            </a:r>
            <a:r>
              <a:rPr lang="de-DE" sz="1400" dirty="0">
                <a:solidFill>
                  <a:schemeClr val="tx1"/>
                </a:solidFill>
              </a:rPr>
              <a:t> </a:t>
            </a:r>
            <a:r>
              <a:rPr lang="de-DE" sz="1400" dirty="0" err="1">
                <a:solidFill>
                  <a:schemeClr val="tx1"/>
                </a:solidFill>
              </a:rPr>
              <a:t>class</a:t>
            </a:r>
            <a:r>
              <a:rPr lang="de-DE" sz="1400" dirty="0">
                <a:solidFill>
                  <a:schemeClr val="tx1"/>
                </a:solidFill>
              </a:rPr>
              <a:t> and feature </a:t>
            </a:r>
            <a:r>
              <a:rPr lang="de-DE" sz="1400" dirty="0" err="1">
                <a:solidFill>
                  <a:schemeClr val="tx1"/>
                </a:solidFill>
              </a:rPr>
              <a:t>should</a:t>
            </a:r>
            <a:r>
              <a:rPr lang="de-DE" sz="1400" dirty="0">
                <a:solidFill>
                  <a:schemeClr val="tx1"/>
                </a:solidFill>
              </a:rPr>
              <a:t> </a:t>
            </a:r>
            <a:r>
              <a:rPr lang="de-DE" sz="1400" dirty="0" err="1">
                <a:solidFill>
                  <a:schemeClr val="tx1"/>
                </a:solidFill>
              </a:rPr>
              <a:t>be</a:t>
            </a:r>
            <a:r>
              <a:rPr lang="de-DE" sz="1400" dirty="0">
                <a:solidFill>
                  <a:schemeClr val="tx1"/>
                </a:solidFill>
              </a:rPr>
              <a:t> </a:t>
            </a:r>
            <a:r>
              <a:rPr lang="de-DE" sz="1400" dirty="0" err="1">
                <a:solidFill>
                  <a:schemeClr val="tx1"/>
                </a:solidFill>
              </a:rPr>
              <a:t>implemented</a:t>
            </a:r>
            <a:endParaRPr lang="de-DE" sz="1400" dirty="0">
              <a:solidFill>
                <a:schemeClr val="tx1"/>
              </a:solidFill>
            </a:endParaRPr>
          </a:p>
          <a:p>
            <a:pPr marL="285744" indent="-285744">
              <a:buFont typeface="Arial" panose="020B0604020202020204" pitchFamily="34" charset="0"/>
              <a:buChar char="•"/>
            </a:pPr>
            <a:endParaRPr lang="de-DE" sz="1400" dirty="0">
              <a:solidFill>
                <a:schemeClr val="tx1"/>
              </a:solidFill>
            </a:endParaRPr>
          </a:p>
          <a:p>
            <a:endParaRPr lang="de-DE" sz="1400" dirty="0">
              <a:solidFill>
                <a:schemeClr val="tx1"/>
              </a:solidFill>
            </a:endParaRPr>
          </a:p>
        </p:txBody>
      </p:sp>
      <p:sp>
        <p:nvSpPr>
          <p:cNvPr id="8" name="Rectangle 7">
            <a:extLst>
              <a:ext uri="{FF2B5EF4-FFF2-40B4-BE49-F238E27FC236}">
                <a16:creationId xmlns:a16="http://schemas.microsoft.com/office/drawing/2014/main" id="{36F8D5D5-6C2C-A75A-BD3B-813FB1E651AC}"/>
              </a:ext>
            </a:extLst>
          </p:cNvPr>
          <p:cNvSpPr/>
          <p:nvPr/>
        </p:nvSpPr>
        <p:spPr>
          <a:xfrm>
            <a:off x="315971" y="1127742"/>
            <a:ext cx="3967878" cy="273719"/>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Previously Discussed points</a:t>
            </a:r>
            <a:endParaRPr lang="de-DE" sz="1400" dirty="0">
              <a:solidFill>
                <a:schemeClr val="tx1"/>
              </a:solidFill>
            </a:endParaRPr>
          </a:p>
        </p:txBody>
      </p:sp>
      <p:sp>
        <p:nvSpPr>
          <p:cNvPr id="9" name="Rectangle 8">
            <a:extLst>
              <a:ext uri="{FF2B5EF4-FFF2-40B4-BE49-F238E27FC236}">
                <a16:creationId xmlns:a16="http://schemas.microsoft.com/office/drawing/2014/main" id="{6582BFD7-D747-8994-DDF3-6C4593AA62D4}"/>
              </a:ext>
            </a:extLst>
          </p:cNvPr>
          <p:cNvSpPr/>
          <p:nvPr/>
        </p:nvSpPr>
        <p:spPr>
          <a:xfrm>
            <a:off x="373855" y="2819976"/>
            <a:ext cx="3967878" cy="273719"/>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Requirement for new Analysis Method</a:t>
            </a:r>
            <a:endParaRPr lang="de-DE" sz="1400" dirty="0">
              <a:solidFill>
                <a:schemeClr val="tx1"/>
              </a:solidFill>
            </a:endParaRPr>
          </a:p>
        </p:txBody>
      </p:sp>
      <p:pic>
        <p:nvPicPr>
          <p:cNvPr id="12" name="Graphic 11" descr="Circles with arrows with solid fill">
            <a:extLst>
              <a:ext uri="{FF2B5EF4-FFF2-40B4-BE49-F238E27FC236}">
                <a16:creationId xmlns:a16="http://schemas.microsoft.com/office/drawing/2014/main" id="{AC2929E1-D06D-95A2-CF79-DB58B6B22FE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61352" y="1897270"/>
            <a:ext cx="1845412" cy="1845412"/>
          </a:xfrm>
          <a:prstGeom prst="rect">
            <a:avLst/>
          </a:prstGeom>
        </p:spPr>
      </p:pic>
      <p:sp>
        <p:nvSpPr>
          <p:cNvPr id="13" name="Rectangle 12">
            <a:extLst>
              <a:ext uri="{FF2B5EF4-FFF2-40B4-BE49-F238E27FC236}">
                <a16:creationId xmlns:a16="http://schemas.microsoft.com/office/drawing/2014/main" id="{30B15B01-A786-E4CC-65E6-F2CD1CD9431B}"/>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685667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DDB4B4-7CCB-45FE-C9B9-AABBC1FABB93}"/>
              </a:ext>
            </a:extLst>
          </p:cNvPr>
          <p:cNvSpPr>
            <a:spLocks noGrp="1"/>
          </p:cNvSpPr>
          <p:nvPr>
            <p:ph type="body" sz="quarter" idx="77"/>
          </p:nvPr>
        </p:nvSpPr>
        <p:spPr/>
        <p:txBody>
          <a:bodyPr/>
          <a:lstStyle/>
          <a:p>
            <a:r>
              <a:rPr lang="de-DE" dirty="0" err="1"/>
              <a:t>Previously</a:t>
            </a:r>
            <a:r>
              <a:rPr lang="de-DE" dirty="0"/>
              <a:t> </a:t>
            </a:r>
            <a:r>
              <a:rPr lang="de-DE" dirty="0" err="1"/>
              <a:t>discussed</a:t>
            </a:r>
            <a:r>
              <a:rPr lang="de-DE" dirty="0"/>
              <a:t> </a:t>
            </a:r>
            <a:r>
              <a:rPr lang="de-DE" dirty="0" err="1"/>
              <a:t>points</a:t>
            </a:r>
            <a:r>
              <a:rPr lang="de-DE" dirty="0"/>
              <a:t> (review)</a:t>
            </a:r>
          </a:p>
        </p:txBody>
      </p:sp>
      <p:sp>
        <p:nvSpPr>
          <p:cNvPr id="3" name="Title 2">
            <a:extLst>
              <a:ext uri="{FF2B5EF4-FFF2-40B4-BE49-F238E27FC236}">
                <a16:creationId xmlns:a16="http://schemas.microsoft.com/office/drawing/2014/main" id="{D543B3AB-EB46-5960-0A90-141CE9B2D618}"/>
              </a:ext>
            </a:extLst>
          </p:cNvPr>
          <p:cNvSpPr>
            <a:spLocks noGrp="1"/>
          </p:cNvSpPr>
          <p:nvPr>
            <p:ph type="title"/>
          </p:nvPr>
        </p:nvSpPr>
        <p:spPr/>
        <p:txBody>
          <a:bodyPr/>
          <a:lstStyle/>
          <a:p>
            <a:r>
              <a:rPr lang="de-DE" dirty="0"/>
              <a:t>Random Forest </a:t>
            </a:r>
            <a:r>
              <a:rPr lang="de-DE" dirty="0" err="1"/>
              <a:t>Algorithm</a:t>
            </a:r>
            <a:endParaRPr lang="de-DE" dirty="0"/>
          </a:p>
        </p:txBody>
      </p:sp>
      <p:sp>
        <p:nvSpPr>
          <p:cNvPr id="4" name="Date Placeholder 3">
            <a:extLst>
              <a:ext uri="{FF2B5EF4-FFF2-40B4-BE49-F238E27FC236}">
                <a16:creationId xmlns:a16="http://schemas.microsoft.com/office/drawing/2014/main" id="{D0F8A9FB-B040-C21C-0A0D-C3FB97672284}"/>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91477FB3-3A89-EF57-2179-91DEA6A4947D}"/>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39422765-C340-A93E-329B-858178A7F14D}"/>
              </a:ext>
            </a:extLst>
          </p:cNvPr>
          <p:cNvSpPr>
            <a:spLocks noGrp="1"/>
          </p:cNvSpPr>
          <p:nvPr>
            <p:ph type="sldNum" sz="quarter" idx="80"/>
          </p:nvPr>
        </p:nvSpPr>
        <p:spPr/>
        <p:txBody>
          <a:bodyPr/>
          <a:lstStyle/>
          <a:p>
            <a:pPr algn="r"/>
            <a:fld id="{B6F15528-21DE-4FAA-801E-634DDDAF4B2B}" type="slidenum">
              <a:rPr lang="en-RO" smtClean="0"/>
              <a:pPr algn="r"/>
              <a:t>7</a:t>
            </a:fld>
            <a:endParaRPr lang="en-RO"/>
          </a:p>
        </p:txBody>
      </p:sp>
      <p:sp>
        <p:nvSpPr>
          <p:cNvPr id="7" name="Rectangle 6">
            <a:extLst>
              <a:ext uri="{FF2B5EF4-FFF2-40B4-BE49-F238E27FC236}">
                <a16:creationId xmlns:a16="http://schemas.microsoft.com/office/drawing/2014/main" id="{28346AD0-9E14-1A3D-82D3-BE50A4173FC0}"/>
              </a:ext>
            </a:extLst>
          </p:cNvPr>
          <p:cNvSpPr>
            <a:spLocks/>
          </p:cNvSpPr>
          <p:nvPr/>
        </p:nvSpPr>
        <p:spPr>
          <a:xfrm>
            <a:off x="5922168" y="1283647"/>
            <a:ext cx="3055053" cy="3478829"/>
          </a:xfrm>
          <a:prstGeom prst="rect">
            <a:avLst/>
          </a:prstGeom>
          <a:solidFill>
            <a:srgbClr val="D1D2F2">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oup 7">
            <a:extLst>
              <a:ext uri="{FF2B5EF4-FFF2-40B4-BE49-F238E27FC236}">
                <a16:creationId xmlns:a16="http://schemas.microsoft.com/office/drawing/2014/main" id="{238E9BD7-8ACF-E4CB-9B26-C1F9760D2B4E}"/>
              </a:ext>
            </a:extLst>
          </p:cNvPr>
          <p:cNvGrpSpPr/>
          <p:nvPr/>
        </p:nvGrpSpPr>
        <p:grpSpPr>
          <a:xfrm>
            <a:off x="323648" y="3613806"/>
            <a:ext cx="5441156" cy="1155886"/>
            <a:chOff x="323599" y="919948"/>
            <a:chExt cx="6769895" cy="1053079"/>
          </a:xfrm>
        </p:grpSpPr>
        <p:sp>
          <p:nvSpPr>
            <p:cNvPr id="9" name="Rectangle 8">
              <a:extLst>
                <a:ext uri="{FF2B5EF4-FFF2-40B4-BE49-F238E27FC236}">
                  <a16:creationId xmlns:a16="http://schemas.microsoft.com/office/drawing/2014/main" id="{45E6582B-129E-BC36-387C-CC9A0D3E57B6}"/>
                </a:ext>
              </a:extLst>
            </p:cNvPr>
            <p:cNvSpPr/>
            <p:nvPr/>
          </p:nvSpPr>
          <p:spPr>
            <a:xfrm>
              <a:off x="323599" y="1170237"/>
              <a:ext cx="6769895" cy="802790"/>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sz="1400" dirty="0">
                <a:solidFill>
                  <a:schemeClr val="tx1"/>
                </a:solidFill>
              </a:endParaRPr>
            </a:p>
            <a:p>
              <a:pPr marL="285750" indent="-285750">
                <a:buFont typeface="Arial" panose="020B0604020202020204" pitchFamily="34" charset="0"/>
                <a:buChar char="•"/>
              </a:pPr>
              <a:r>
                <a:rPr lang="de-DE" sz="1400" dirty="0" err="1">
                  <a:solidFill>
                    <a:schemeClr val="tx1"/>
                  </a:solidFill>
                </a:rPr>
                <a:t>To</a:t>
              </a:r>
              <a:r>
                <a:rPr lang="de-DE" sz="1400" dirty="0">
                  <a:solidFill>
                    <a:schemeClr val="tx1"/>
                  </a:solidFill>
                </a:rPr>
                <a:t> find out </a:t>
              </a:r>
              <a:r>
                <a:rPr lang="de-DE" sz="1400" dirty="0" err="1">
                  <a:solidFill>
                    <a:schemeClr val="tx1"/>
                  </a:solidFill>
                </a:rPr>
                <a:t>the</a:t>
              </a:r>
              <a:r>
                <a:rPr lang="de-DE" sz="1400" dirty="0">
                  <a:solidFill>
                    <a:schemeClr val="tx1"/>
                  </a:solidFill>
                </a:rPr>
                <a:t> </a:t>
              </a:r>
              <a:r>
                <a:rPr lang="de-DE" sz="1400" dirty="0" err="1">
                  <a:solidFill>
                    <a:schemeClr val="tx1"/>
                  </a:solidFill>
                </a:rPr>
                <a:t>most</a:t>
              </a:r>
              <a:r>
                <a:rPr lang="de-DE" sz="1400" dirty="0">
                  <a:solidFill>
                    <a:schemeClr val="tx1"/>
                  </a:solidFill>
                </a:rPr>
                <a:t> </a:t>
              </a:r>
              <a:r>
                <a:rPr lang="de-DE" sz="1400" dirty="0" err="1">
                  <a:solidFill>
                    <a:schemeClr val="tx1"/>
                  </a:solidFill>
                </a:rPr>
                <a:t>significant</a:t>
              </a:r>
              <a:r>
                <a:rPr lang="de-DE" sz="1400" dirty="0">
                  <a:solidFill>
                    <a:schemeClr val="tx1"/>
                  </a:solidFill>
                </a:rPr>
                <a:t> </a:t>
              </a:r>
              <a:r>
                <a:rPr lang="de-DE" sz="1400" dirty="0" err="1">
                  <a:solidFill>
                    <a:schemeClr val="tx1"/>
                  </a:solidFill>
                </a:rPr>
                <a:t>features</a:t>
              </a:r>
              <a:r>
                <a:rPr lang="de-DE" sz="1400" dirty="0">
                  <a:solidFill>
                    <a:schemeClr val="tx1"/>
                  </a:solidFill>
                </a:rPr>
                <a:t> </a:t>
              </a:r>
              <a:r>
                <a:rPr lang="de-DE" sz="1400" dirty="0" err="1">
                  <a:solidFill>
                    <a:schemeClr val="tx1"/>
                  </a:solidFill>
                </a:rPr>
                <a:t>which</a:t>
              </a:r>
              <a:r>
                <a:rPr lang="de-DE" sz="1400" dirty="0">
                  <a:solidFill>
                    <a:schemeClr val="tx1"/>
                  </a:solidFill>
                </a:rPr>
                <a:t> </a:t>
              </a:r>
              <a:r>
                <a:rPr lang="de-DE" sz="1400" dirty="0" err="1">
                  <a:solidFill>
                    <a:schemeClr val="tx1"/>
                  </a:solidFill>
                </a:rPr>
                <a:t>causes</a:t>
              </a:r>
              <a:r>
                <a:rPr lang="de-DE" sz="1400" dirty="0">
                  <a:solidFill>
                    <a:schemeClr val="tx1"/>
                  </a:solidFill>
                </a:rPr>
                <a:t> an </a:t>
              </a:r>
              <a:r>
                <a:rPr lang="de-DE" sz="1400" dirty="0" err="1">
                  <a:solidFill>
                    <a:schemeClr val="tx1"/>
                  </a:solidFill>
                </a:rPr>
                <a:t>error</a:t>
              </a:r>
              <a:r>
                <a:rPr lang="de-DE" sz="1400" dirty="0">
                  <a:solidFill>
                    <a:schemeClr val="tx1"/>
                  </a:solidFill>
                </a:rPr>
                <a:t>.</a:t>
              </a:r>
            </a:p>
            <a:p>
              <a:pPr marL="285750" indent="-285750">
                <a:buFont typeface="Arial" panose="020B0604020202020204" pitchFamily="34" charset="0"/>
                <a:buChar char="•"/>
              </a:pPr>
              <a:endParaRPr lang="de-DE" sz="1400" dirty="0">
                <a:solidFill>
                  <a:schemeClr val="tx1"/>
                </a:solidFill>
              </a:endParaRPr>
            </a:p>
          </p:txBody>
        </p:sp>
        <p:sp>
          <p:nvSpPr>
            <p:cNvPr id="10" name="Rectangle 9">
              <a:extLst>
                <a:ext uri="{FF2B5EF4-FFF2-40B4-BE49-F238E27FC236}">
                  <a16:creationId xmlns:a16="http://schemas.microsoft.com/office/drawing/2014/main" id="{CF5A16AE-0DB4-6FBE-A0DF-B8B24D1A5030}"/>
                </a:ext>
              </a:extLst>
            </p:cNvPr>
            <p:cNvSpPr/>
            <p:nvPr/>
          </p:nvSpPr>
          <p:spPr>
            <a:xfrm>
              <a:off x="323600" y="919948"/>
              <a:ext cx="5111318" cy="249374"/>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Use Case in this Thesis</a:t>
              </a:r>
              <a:endParaRPr lang="de-DE" sz="1400" dirty="0">
                <a:solidFill>
                  <a:schemeClr val="tx1"/>
                </a:solidFill>
              </a:endParaRPr>
            </a:p>
          </p:txBody>
        </p:sp>
      </p:grpSp>
      <p:grpSp>
        <p:nvGrpSpPr>
          <p:cNvPr id="12" name="Group 11">
            <a:extLst>
              <a:ext uri="{FF2B5EF4-FFF2-40B4-BE49-F238E27FC236}">
                <a16:creationId xmlns:a16="http://schemas.microsoft.com/office/drawing/2014/main" id="{0D35F546-2495-F4D4-37F4-81B35476FFC4}"/>
              </a:ext>
            </a:extLst>
          </p:cNvPr>
          <p:cNvGrpSpPr/>
          <p:nvPr/>
        </p:nvGrpSpPr>
        <p:grpSpPr>
          <a:xfrm>
            <a:off x="323850" y="988120"/>
            <a:ext cx="5441156" cy="1006685"/>
            <a:chOff x="323849" y="1021017"/>
            <a:chExt cx="6769895" cy="1136396"/>
          </a:xfrm>
        </p:grpSpPr>
        <p:sp>
          <p:nvSpPr>
            <p:cNvPr id="13" name="Rectangle 12">
              <a:extLst>
                <a:ext uri="{FF2B5EF4-FFF2-40B4-BE49-F238E27FC236}">
                  <a16:creationId xmlns:a16="http://schemas.microsoft.com/office/drawing/2014/main" id="{A6AB0C58-2F11-0DFF-229E-699BD1208EB1}"/>
                </a:ext>
              </a:extLst>
            </p:cNvPr>
            <p:cNvSpPr/>
            <p:nvPr/>
          </p:nvSpPr>
          <p:spPr>
            <a:xfrm>
              <a:off x="323849" y="1354623"/>
              <a:ext cx="6769895" cy="802790"/>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200" dirty="0">
                  <a:solidFill>
                    <a:schemeClr val="tx1"/>
                  </a:solidFill>
                </a:rPr>
                <a:t>The </a:t>
              </a:r>
              <a:r>
                <a:rPr lang="de-DE" sz="1200" dirty="0" err="1">
                  <a:solidFill>
                    <a:schemeClr val="tx1"/>
                  </a:solidFill>
                </a:rPr>
                <a:t>Algorithm</a:t>
              </a:r>
              <a:r>
                <a:rPr lang="de-DE" sz="1200" dirty="0">
                  <a:solidFill>
                    <a:schemeClr val="tx1"/>
                  </a:solidFill>
                </a:rPr>
                <a:t> </a:t>
              </a:r>
              <a:r>
                <a:rPr lang="de-DE" sz="1200" dirty="0" err="1">
                  <a:solidFill>
                    <a:schemeClr val="tx1"/>
                  </a:solidFill>
                </a:rPr>
                <a:t>is</a:t>
              </a:r>
              <a:r>
                <a:rPr lang="de-DE" sz="1200" dirty="0">
                  <a:solidFill>
                    <a:schemeClr val="tx1"/>
                  </a:solidFill>
                </a:rPr>
                <a:t> a </a:t>
              </a:r>
              <a:r>
                <a:rPr lang="de-DE" sz="1200" dirty="0" err="1">
                  <a:solidFill>
                    <a:schemeClr val="tx1"/>
                  </a:solidFill>
                </a:rPr>
                <a:t>supervised</a:t>
              </a:r>
              <a:r>
                <a:rPr lang="de-DE" sz="1200" dirty="0">
                  <a:solidFill>
                    <a:schemeClr val="tx1"/>
                  </a:solidFill>
                </a:rPr>
                <a:t> </a:t>
              </a:r>
              <a:r>
                <a:rPr lang="de-DE" sz="1200" dirty="0" err="1">
                  <a:solidFill>
                    <a:schemeClr val="tx1"/>
                  </a:solidFill>
                </a:rPr>
                <a:t>machine</a:t>
              </a:r>
              <a:r>
                <a:rPr lang="de-DE" sz="1200" dirty="0">
                  <a:solidFill>
                    <a:schemeClr val="tx1"/>
                  </a:solidFill>
                </a:rPr>
                <a:t> </a:t>
              </a:r>
              <a:r>
                <a:rPr lang="de-DE" sz="1200" dirty="0" err="1">
                  <a:solidFill>
                    <a:schemeClr val="tx1"/>
                  </a:solidFill>
                </a:rPr>
                <a:t>learning</a:t>
              </a:r>
              <a:r>
                <a:rPr lang="de-DE" sz="1200" dirty="0">
                  <a:solidFill>
                    <a:schemeClr val="tx1"/>
                  </a:solidFill>
                </a:rPr>
                <a:t> </a:t>
              </a:r>
              <a:r>
                <a:rPr lang="de-DE" sz="1200" dirty="0" err="1">
                  <a:solidFill>
                    <a:schemeClr val="tx1"/>
                  </a:solidFill>
                </a:rPr>
                <a:t>algorithm</a:t>
              </a:r>
              <a:r>
                <a:rPr lang="de-DE" sz="1200" dirty="0">
                  <a:solidFill>
                    <a:schemeClr val="tx1"/>
                  </a:solidFill>
                </a:rPr>
                <a:t>, </a:t>
              </a:r>
              <a:r>
                <a:rPr lang="de-DE" sz="1200" dirty="0" err="1">
                  <a:solidFill>
                    <a:schemeClr val="tx1"/>
                  </a:solidFill>
                </a:rPr>
                <a:t>made</a:t>
              </a:r>
              <a:r>
                <a:rPr lang="de-DE" sz="1200" dirty="0">
                  <a:solidFill>
                    <a:schemeClr val="tx1"/>
                  </a:solidFill>
                </a:rPr>
                <a:t> </a:t>
              </a:r>
              <a:r>
                <a:rPr lang="de-DE" sz="1200" dirty="0" err="1">
                  <a:solidFill>
                    <a:schemeClr val="tx1"/>
                  </a:solidFill>
                </a:rPr>
                <a:t>of</a:t>
              </a:r>
              <a:r>
                <a:rPr lang="de-DE" sz="1200" dirty="0">
                  <a:solidFill>
                    <a:schemeClr val="tx1"/>
                  </a:solidFill>
                </a:rPr>
                <a:t> </a:t>
              </a:r>
              <a:r>
                <a:rPr lang="de-DE" sz="1200" dirty="0" err="1">
                  <a:solidFill>
                    <a:schemeClr val="tx1"/>
                  </a:solidFill>
                </a:rPr>
                <a:t>several</a:t>
              </a:r>
              <a:r>
                <a:rPr lang="de-DE" sz="1200" dirty="0">
                  <a:solidFill>
                    <a:schemeClr val="tx1"/>
                  </a:solidFill>
                </a:rPr>
                <a:t> </a:t>
              </a:r>
              <a:r>
                <a:rPr lang="de-DE" sz="1200" dirty="0" err="1">
                  <a:solidFill>
                    <a:schemeClr val="tx1"/>
                  </a:solidFill>
                </a:rPr>
                <a:t>decision</a:t>
              </a:r>
              <a:r>
                <a:rPr lang="de-DE" sz="1200" dirty="0">
                  <a:solidFill>
                    <a:schemeClr val="tx1"/>
                  </a:solidFill>
                </a:rPr>
                <a:t> </a:t>
              </a:r>
              <a:r>
                <a:rPr lang="de-DE" sz="1200" dirty="0" err="1">
                  <a:solidFill>
                    <a:schemeClr val="tx1"/>
                  </a:solidFill>
                </a:rPr>
                <a:t>trees</a:t>
              </a:r>
              <a:r>
                <a:rPr lang="de-DE" sz="1200" dirty="0">
                  <a:solidFill>
                    <a:schemeClr val="tx1"/>
                  </a:solidFill>
                </a:rPr>
                <a:t> </a:t>
              </a:r>
              <a:r>
                <a:rPr lang="de-DE" sz="1200" dirty="0" err="1">
                  <a:solidFill>
                    <a:schemeClr val="tx1"/>
                  </a:solidFill>
                </a:rPr>
                <a:t>which</a:t>
              </a:r>
              <a:r>
                <a:rPr lang="de-DE" sz="1200" dirty="0">
                  <a:solidFill>
                    <a:schemeClr val="tx1"/>
                  </a:solidFill>
                </a:rPr>
                <a:t> </a:t>
              </a:r>
              <a:r>
                <a:rPr lang="de-DE" sz="1200" dirty="0" err="1">
                  <a:solidFill>
                    <a:schemeClr val="tx1"/>
                  </a:solidFill>
                </a:rPr>
                <a:t>take</a:t>
              </a:r>
              <a:r>
                <a:rPr lang="de-DE" sz="1200" dirty="0">
                  <a:solidFill>
                    <a:schemeClr val="tx1"/>
                  </a:solidFill>
                </a:rPr>
                <a:t> </a:t>
              </a:r>
              <a:r>
                <a:rPr lang="de-DE" sz="1200" dirty="0" err="1">
                  <a:solidFill>
                    <a:schemeClr val="tx1"/>
                  </a:solidFill>
                </a:rPr>
                <a:t>features</a:t>
              </a:r>
              <a:r>
                <a:rPr lang="de-DE" sz="1200" dirty="0">
                  <a:solidFill>
                    <a:schemeClr val="tx1"/>
                  </a:solidFill>
                </a:rPr>
                <a:t> </a:t>
              </a:r>
              <a:r>
                <a:rPr lang="de-DE" sz="1200" dirty="0" err="1">
                  <a:solidFill>
                    <a:schemeClr val="tx1"/>
                  </a:solidFill>
                </a:rPr>
                <a:t>as</a:t>
              </a:r>
              <a:r>
                <a:rPr lang="de-DE" sz="1200" dirty="0">
                  <a:solidFill>
                    <a:schemeClr val="tx1"/>
                  </a:solidFill>
                </a:rPr>
                <a:t> an </a:t>
              </a:r>
              <a:r>
                <a:rPr lang="de-DE" sz="1200" dirty="0" err="1">
                  <a:solidFill>
                    <a:schemeClr val="tx1"/>
                  </a:solidFill>
                </a:rPr>
                <a:t>input</a:t>
              </a:r>
              <a:r>
                <a:rPr lang="de-DE" sz="1200" dirty="0">
                  <a:solidFill>
                    <a:schemeClr val="tx1"/>
                  </a:solidFill>
                </a:rPr>
                <a:t> and </a:t>
              </a:r>
              <a:r>
                <a:rPr lang="de-DE" sz="1200" dirty="0" err="1">
                  <a:solidFill>
                    <a:schemeClr val="tx1"/>
                  </a:solidFill>
                </a:rPr>
                <a:t>classify</a:t>
              </a:r>
              <a:r>
                <a:rPr lang="de-DE" sz="1200" dirty="0">
                  <a:solidFill>
                    <a:schemeClr val="tx1"/>
                  </a:solidFill>
                </a:rPr>
                <a:t> </a:t>
              </a:r>
              <a:r>
                <a:rPr lang="de-DE" sz="1200" dirty="0" err="1">
                  <a:solidFill>
                    <a:schemeClr val="tx1"/>
                  </a:solidFill>
                </a:rPr>
                <a:t>the</a:t>
              </a:r>
              <a:r>
                <a:rPr lang="de-DE" sz="1200" dirty="0">
                  <a:solidFill>
                    <a:schemeClr val="tx1"/>
                  </a:solidFill>
                </a:rPr>
                <a:t> </a:t>
              </a:r>
              <a:r>
                <a:rPr lang="de-DE" sz="1200" dirty="0" err="1">
                  <a:solidFill>
                    <a:schemeClr val="tx1"/>
                  </a:solidFill>
                </a:rPr>
                <a:t>targeted</a:t>
              </a:r>
              <a:r>
                <a:rPr lang="de-DE" sz="1200" dirty="0">
                  <a:solidFill>
                    <a:schemeClr val="tx1"/>
                  </a:solidFill>
                </a:rPr>
                <a:t> </a:t>
              </a:r>
              <a:r>
                <a:rPr lang="de-DE" sz="1200" dirty="0" err="1">
                  <a:solidFill>
                    <a:schemeClr val="tx1"/>
                  </a:solidFill>
                </a:rPr>
                <a:t>output</a:t>
              </a:r>
              <a:r>
                <a:rPr lang="de-DE" sz="1200" dirty="0">
                  <a:solidFill>
                    <a:schemeClr val="tx1"/>
                  </a:solidFill>
                </a:rPr>
                <a:t>.</a:t>
              </a:r>
            </a:p>
            <a:p>
              <a:pPr marL="285750" indent="-285750">
                <a:buFont typeface="Arial" panose="020B0604020202020204" pitchFamily="34" charset="0"/>
                <a:buChar char="•"/>
              </a:pPr>
              <a:endParaRPr lang="de-DE" sz="1400" dirty="0">
                <a:solidFill>
                  <a:schemeClr val="tx1"/>
                </a:solidFill>
              </a:endParaRPr>
            </a:p>
          </p:txBody>
        </p:sp>
        <p:sp>
          <p:nvSpPr>
            <p:cNvPr id="14" name="Rectangle 13">
              <a:extLst>
                <a:ext uri="{FF2B5EF4-FFF2-40B4-BE49-F238E27FC236}">
                  <a16:creationId xmlns:a16="http://schemas.microsoft.com/office/drawing/2014/main" id="{B32DB338-9EF7-A6F6-7CB0-71A4D10E94D0}"/>
                </a:ext>
              </a:extLst>
            </p:cNvPr>
            <p:cNvSpPr/>
            <p:nvPr/>
          </p:nvSpPr>
          <p:spPr>
            <a:xfrm>
              <a:off x="323849" y="1021017"/>
              <a:ext cx="5111318" cy="322360"/>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tx1"/>
                  </a:solidFill>
                </a:rPr>
                <a:t>Description</a:t>
              </a:r>
            </a:p>
          </p:txBody>
        </p:sp>
      </p:grpSp>
      <p:grpSp>
        <p:nvGrpSpPr>
          <p:cNvPr id="22" name="Group 21">
            <a:extLst>
              <a:ext uri="{FF2B5EF4-FFF2-40B4-BE49-F238E27FC236}">
                <a16:creationId xmlns:a16="http://schemas.microsoft.com/office/drawing/2014/main" id="{D8F5938B-24D5-2397-036F-A796292A934C}"/>
              </a:ext>
            </a:extLst>
          </p:cNvPr>
          <p:cNvGrpSpPr/>
          <p:nvPr/>
        </p:nvGrpSpPr>
        <p:grpSpPr>
          <a:xfrm>
            <a:off x="323648" y="2071413"/>
            <a:ext cx="5441156" cy="1449251"/>
            <a:chOff x="323849" y="1021017"/>
            <a:chExt cx="6769893" cy="1065600"/>
          </a:xfrm>
        </p:grpSpPr>
        <p:sp>
          <p:nvSpPr>
            <p:cNvPr id="23" name="Rectangle 22">
              <a:extLst>
                <a:ext uri="{FF2B5EF4-FFF2-40B4-BE49-F238E27FC236}">
                  <a16:creationId xmlns:a16="http://schemas.microsoft.com/office/drawing/2014/main" id="{292307EA-E175-8648-4715-47F19E1948C2}"/>
                </a:ext>
              </a:extLst>
            </p:cNvPr>
            <p:cNvSpPr/>
            <p:nvPr/>
          </p:nvSpPr>
          <p:spPr>
            <a:xfrm>
              <a:off x="323849" y="1283827"/>
              <a:ext cx="6769893" cy="802790"/>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39" indent="-285750">
                <a:buFont typeface="Arial" panose="020B0604020202020204" pitchFamily="34" charset="0"/>
                <a:buChar char="•"/>
              </a:pPr>
              <a:r>
                <a:rPr lang="en-US" sz="1200" dirty="0">
                  <a:solidFill>
                    <a:schemeClr val="tx1"/>
                  </a:solidFill>
                </a:rPr>
                <a:t>Each node of Random forest algorithm is traceable.</a:t>
              </a:r>
            </a:p>
            <a:p>
              <a:pPr marL="285739" indent="-285750">
                <a:buFont typeface="Arial" panose="020B0604020202020204" pitchFamily="34" charset="0"/>
                <a:buChar char="•"/>
              </a:pPr>
              <a:r>
                <a:rPr lang="en-US" sz="1200" dirty="0">
                  <a:solidFill>
                    <a:schemeClr val="tx1"/>
                  </a:solidFill>
                </a:rPr>
                <a:t>Traceability feature allows to find out significance of features with respected output class.</a:t>
              </a:r>
            </a:p>
            <a:p>
              <a:pPr marL="285739" indent="-285750">
                <a:buFont typeface="Arial" panose="020B0604020202020204" pitchFamily="34" charset="0"/>
                <a:buChar char="•"/>
              </a:pPr>
              <a:r>
                <a:rPr lang="en-US" sz="1200" dirty="0">
                  <a:solidFill>
                    <a:schemeClr val="tx1"/>
                  </a:solidFill>
                </a:rPr>
                <a:t>Easier to track accuracy of an algorithm</a:t>
              </a:r>
            </a:p>
            <a:p>
              <a:pPr marL="285739" indent="-285750">
                <a:buFont typeface="Arial" panose="020B0604020202020204" pitchFamily="34" charset="0"/>
                <a:buChar char="•"/>
              </a:pPr>
              <a:endParaRPr lang="en-US" sz="1400" dirty="0">
                <a:solidFill>
                  <a:schemeClr val="tx1"/>
                </a:solidFill>
              </a:endParaRPr>
            </a:p>
          </p:txBody>
        </p:sp>
        <p:sp>
          <p:nvSpPr>
            <p:cNvPr id="24" name="Rectangle 23">
              <a:extLst>
                <a:ext uri="{FF2B5EF4-FFF2-40B4-BE49-F238E27FC236}">
                  <a16:creationId xmlns:a16="http://schemas.microsoft.com/office/drawing/2014/main" id="{28ED8263-826A-F156-5E9A-2AFFAE0320D9}"/>
                </a:ext>
              </a:extLst>
            </p:cNvPr>
            <p:cNvSpPr/>
            <p:nvPr/>
          </p:nvSpPr>
          <p:spPr>
            <a:xfrm>
              <a:off x="323849" y="1021017"/>
              <a:ext cx="5111318" cy="240171"/>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Benefits</a:t>
              </a:r>
            </a:p>
          </p:txBody>
        </p:sp>
      </p:grpSp>
      <p:pic>
        <p:nvPicPr>
          <p:cNvPr id="26" name="Picture 25">
            <a:extLst>
              <a:ext uri="{FF2B5EF4-FFF2-40B4-BE49-F238E27FC236}">
                <a16:creationId xmlns:a16="http://schemas.microsoft.com/office/drawing/2014/main" id="{7B90BBE9-B40B-A8EB-7F35-EE2FEA7E7BA2}"/>
              </a:ext>
            </a:extLst>
          </p:cNvPr>
          <p:cNvPicPr>
            <a:picLocks noChangeAspect="1"/>
          </p:cNvPicPr>
          <p:nvPr/>
        </p:nvPicPr>
        <p:blipFill rotWithShape="1">
          <a:blip r:embed="rId2"/>
          <a:srcRect t="7832" r="5705"/>
          <a:stretch/>
        </p:blipFill>
        <p:spPr>
          <a:xfrm>
            <a:off x="6635717" y="1779659"/>
            <a:ext cx="1496462" cy="936871"/>
          </a:xfrm>
          <a:prstGeom prst="rect">
            <a:avLst/>
          </a:prstGeom>
        </p:spPr>
      </p:pic>
      <p:pic>
        <p:nvPicPr>
          <p:cNvPr id="28" name="Picture 27">
            <a:extLst>
              <a:ext uri="{FF2B5EF4-FFF2-40B4-BE49-F238E27FC236}">
                <a16:creationId xmlns:a16="http://schemas.microsoft.com/office/drawing/2014/main" id="{181F8E81-BD8C-9036-CADA-AAE99FA57380}"/>
              </a:ext>
            </a:extLst>
          </p:cNvPr>
          <p:cNvPicPr>
            <a:picLocks noChangeAspect="1"/>
          </p:cNvPicPr>
          <p:nvPr/>
        </p:nvPicPr>
        <p:blipFill rotWithShape="1">
          <a:blip r:embed="rId3"/>
          <a:srcRect l="2349"/>
          <a:stretch/>
        </p:blipFill>
        <p:spPr>
          <a:xfrm>
            <a:off x="6635717" y="3442238"/>
            <a:ext cx="1496462" cy="936871"/>
          </a:xfrm>
          <a:prstGeom prst="rect">
            <a:avLst/>
          </a:prstGeom>
        </p:spPr>
      </p:pic>
      <p:sp>
        <p:nvSpPr>
          <p:cNvPr id="29" name="TextBox 28">
            <a:extLst>
              <a:ext uri="{FF2B5EF4-FFF2-40B4-BE49-F238E27FC236}">
                <a16:creationId xmlns:a16="http://schemas.microsoft.com/office/drawing/2014/main" id="{0526E3EA-8308-1D8D-BA39-66913950FB73}"/>
              </a:ext>
            </a:extLst>
          </p:cNvPr>
          <p:cNvSpPr txBox="1"/>
          <p:nvPr/>
        </p:nvSpPr>
        <p:spPr>
          <a:xfrm>
            <a:off x="6579882" y="1536358"/>
            <a:ext cx="1608132" cy="276999"/>
          </a:xfrm>
          <a:prstGeom prst="rect">
            <a:avLst/>
          </a:prstGeom>
          <a:noFill/>
        </p:spPr>
        <p:txBody>
          <a:bodyPr wrap="square" rtlCol="0">
            <a:spAutoFit/>
          </a:bodyPr>
          <a:lstStyle/>
          <a:p>
            <a:pPr algn="ctr"/>
            <a:r>
              <a:rPr lang="de-DE" sz="1200" dirty="0" err="1"/>
              <a:t>Decision</a:t>
            </a:r>
            <a:r>
              <a:rPr lang="de-DE" sz="1200" dirty="0"/>
              <a:t> </a:t>
            </a:r>
            <a:r>
              <a:rPr lang="de-DE" sz="1200" dirty="0" err="1"/>
              <a:t>tree</a:t>
            </a:r>
            <a:endParaRPr lang="de-DE" sz="1200" dirty="0"/>
          </a:p>
        </p:txBody>
      </p:sp>
      <p:sp>
        <p:nvSpPr>
          <p:cNvPr id="30" name="TextBox 29">
            <a:extLst>
              <a:ext uri="{FF2B5EF4-FFF2-40B4-BE49-F238E27FC236}">
                <a16:creationId xmlns:a16="http://schemas.microsoft.com/office/drawing/2014/main" id="{67A99AF4-AD4C-2A09-BCDF-184BE71BB46D}"/>
              </a:ext>
            </a:extLst>
          </p:cNvPr>
          <p:cNvSpPr txBox="1"/>
          <p:nvPr/>
        </p:nvSpPr>
        <p:spPr>
          <a:xfrm>
            <a:off x="6579882" y="3209800"/>
            <a:ext cx="1608132" cy="276999"/>
          </a:xfrm>
          <a:prstGeom prst="rect">
            <a:avLst/>
          </a:prstGeom>
          <a:noFill/>
        </p:spPr>
        <p:txBody>
          <a:bodyPr wrap="square" rtlCol="0">
            <a:spAutoFit/>
          </a:bodyPr>
          <a:lstStyle/>
          <a:p>
            <a:pPr algn="ctr"/>
            <a:r>
              <a:rPr lang="de-DE" sz="1200" dirty="0"/>
              <a:t>Random Forest</a:t>
            </a:r>
          </a:p>
        </p:txBody>
      </p:sp>
      <p:sp>
        <p:nvSpPr>
          <p:cNvPr id="11" name="Rectangle 10">
            <a:extLst>
              <a:ext uri="{FF2B5EF4-FFF2-40B4-BE49-F238E27FC236}">
                <a16:creationId xmlns:a16="http://schemas.microsoft.com/office/drawing/2014/main" id="{CC11DFA4-361F-48AB-F60B-818340030184}"/>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9246174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2CC10EE-A958-BA5D-B9CE-99F1A909FDEC}"/>
              </a:ext>
            </a:extLst>
          </p:cNvPr>
          <p:cNvSpPr/>
          <p:nvPr/>
        </p:nvSpPr>
        <p:spPr>
          <a:xfrm>
            <a:off x="323849" y="981706"/>
            <a:ext cx="8496302" cy="3792970"/>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dirty="0">
                <a:solidFill>
                  <a:schemeClr val="tx1"/>
                </a:solidFill>
              </a:rPr>
              <a:t> </a:t>
            </a:r>
          </a:p>
        </p:txBody>
      </p:sp>
      <p:sp>
        <p:nvSpPr>
          <p:cNvPr id="2" name="Text Placeholder 1">
            <a:extLst>
              <a:ext uri="{FF2B5EF4-FFF2-40B4-BE49-F238E27FC236}">
                <a16:creationId xmlns:a16="http://schemas.microsoft.com/office/drawing/2014/main" id="{FBB36A22-642F-A63D-FE42-AE9738AEAF97}"/>
              </a:ext>
            </a:extLst>
          </p:cNvPr>
          <p:cNvSpPr>
            <a:spLocks noGrp="1"/>
          </p:cNvSpPr>
          <p:nvPr>
            <p:ph type="body" sz="quarter" idx="77"/>
          </p:nvPr>
        </p:nvSpPr>
        <p:spPr/>
        <p:txBody>
          <a:bodyPr/>
          <a:lstStyle/>
          <a:p>
            <a:r>
              <a:rPr lang="de-DE" dirty="0" err="1"/>
              <a:t>Previously</a:t>
            </a:r>
            <a:r>
              <a:rPr lang="de-DE" dirty="0"/>
              <a:t> </a:t>
            </a:r>
            <a:r>
              <a:rPr lang="de-DE" dirty="0" err="1"/>
              <a:t>discussed</a:t>
            </a:r>
            <a:r>
              <a:rPr lang="de-DE" dirty="0"/>
              <a:t> </a:t>
            </a:r>
            <a:r>
              <a:rPr lang="de-DE" dirty="0" err="1"/>
              <a:t>points</a:t>
            </a:r>
            <a:r>
              <a:rPr lang="de-DE" dirty="0"/>
              <a:t> (review)</a:t>
            </a:r>
          </a:p>
        </p:txBody>
      </p:sp>
      <p:sp>
        <p:nvSpPr>
          <p:cNvPr id="3" name="Title 2">
            <a:extLst>
              <a:ext uri="{FF2B5EF4-FFF2-40B4-BE49-F238E27FC236}">
                <a16:creationId xmlns:a16="http://schemas.microsoft.com/office/drawing/2014/main" id="{F57EA96B-5CAC-B8BC-1264-4ECE6E51BEB7}"/>
              </a:ext>
            </a:extLst>
          </p:cNvPr>
          <p:cNvSpPr>
            <a:spLocks noGrp="1"/>
          </p:cNvSpPr>
          <p:nvPr>
            <p:ph type="title"/>
          </p:nvPr>
        </p:nvSpPr>
        <p:spPr/>
        <p:txBody>
          <a:bodyPr/>
          <a:lstStyle/>
          <a:p>
            <a:r>
              <a:rPr lang="de-DE" dirty="0" err="1"/>
              <a:t>Methodology</a:t>
            </a:r>
            <a:endParaRPr lang="de-DE" dirty="0"/>
          </a:p>
        </p:txBody>
      </p:sp>
      <p:sp>
        <p:nvSpPr>
          <p:cNvPr id="4" name="Date Placeholder 3">
            <a:extLst>
              <a:ext uri="{FF2B5EF4-FFF2-40B4-BE49-F238E27FC236}">
                <a16:creationId xmlns:a16="http://schemas.microsoft.com/office/drawing/2014/main" id="{C877ADB1-1892-F370-1C2B-AB41769794BB}"/>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C9CAACB8-3D1D-0030-939D-6990298AE60F}"/>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439D40A1-4C29-BBB5-7273-3AE8E57E6846}"/>
              </a:ext>
            </a:extLst>
          </p:cNvPr>
          <p:cNvSpPr>
            <a:spLocks noGrp="1"/>
          </p:cNvSpPr>
          <p:nvPr>
            <p:ph type="sldNum" sz="quarter" idx="80"/>
          </p:nvPr>
        </p:nvSpPr>
        <p:spPr/>
        <p:txBody>
          <a:bodyPr/>
          <a:lstStyle/>
          <a:p>
            <a:pPr algn="r"/>
            <a:fld id="{B6F15528-21DE-4FAA-801E-634DDDAF4B2B}" type="slidenum">
              <a:rPr lang="en-RO" smtClean="0"/>
              <a:pPr algn="r"/>
              <a:t>8</a:t>
            </a:fld>
            <a:endParaRPr lang="en-RO"/>
          </a:p>
        </p:txBody>
      </p:sp>
      <p:cxnSp>
        <p:nvCxnSpPr>
          <p:cNvPr id="7" name="Connector: Elbow 6">
            <a:extLst>
              <a:ext uri="{FF2B5EF4-FFF2-40B4-BE49-F238E27FC236}">
                <a16:creationId xmlns:a16="http://schemas.microsoft.com/office/drawing/2014/main" id="{6701F7FC-E36D-F7FF-A1A3-A815AA58190F}"/>
              </a:ext>
            </a:extLst>
          </p:cNvPr>
          <p:cNvCxnSpPr>
            <a:cxnSpLocks/>
            <a:stCxn id="12" idx="3"/>
            <a:endCxn id="13" idx="0"/>
          </p:cNvCxnSpPr>
          <p:nvPr/>
        </p:nvCxnSpPr>
        <p:spPr>
          <a:xfrm>
            <a:off x="1843088" y="1492001"/>
            <a:ext cx="967581" cy="18511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E68C6B60-ADA0-EDF9-9881-977574DACDB0}"/>
              </a:ext>
            </a:extLst>
          </p:cNvPr>
          <p:cNvCxnSpPr>
            <a:cxnSpLocks/>
            <a:stCxn id="13" idx="3"/>
            <a:endCxn id="14" idx="0"/>
          </p:cNvCxnSpPr>
          <p:nvPr/>
        </p:nvCxnSpPr>
        <p:spPr>
          <a:xfrm>
            <a:off x="3593306" y="2069575"/>
            <a:ext cx="1018014" cy="28111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943E4890-46DF-DF90-2FCB-4DD4F58531B0}"/>
              </a:ext>
            </a:extLst>
          </p:cNvPr>
          <p:cNvCxnSpPr>
            <a:cxnSpLocks/>
            <a:stCxn id="14" idx="3"/>
            <a:endCxn id="15" idx="0"/>
          </p:cNvCxnSpPr>
          <p:nvPr/>
        </p:nvCxnSpPr>
        <p:spPr>
          <a:xfrm>
            <a:off x="5393957" y="2743149"/>
            <a:ext cx="910037" cy="30167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09C7A5E-E235-FF49-CE07-D6137D0B514D}"/>
              </a:ext>
            </a:extLst>
          </p:cNvPr>
          <p:cNvSpPr/>
          <p:nvPr/>
        </p:nvSpPr>
        <p:spPr>
          <a:xfrm>
            <a:off x="571010" y="1109787"/>
            <a:ext cx="1272078" cy="764427"/>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err="1">
                <a:solidFill>
                  <a:schemeClr val="tx1"/>
                </a:solidFill>
              </a:rPr>
              <a:t>Prepare</a:t>
            </a:r>
            <a:r>
              <a:rPr lang="de-DE" sz="1400" dirty="0">
                <a:solidFill>
                  <a:schemeClr val="tx1"/>
                </a:solidFill>
              </a:rPr>
              <a:t> </a:t>
            </a:r>
            <a:r>
              <a:rPr lang="de-DE" sz="1400" dirty="0" err="1">
                <a:solidFill>
                  <a:schemeClr val="tx1"/>
                </a:solidFill>
              </a:rPr>
              <a:t>data</a:t>
            </a:r>
            <a:r>
              <a:rPr lang="de-DE" sz="1400" dirty="0">
                <a:solidFill>
                  <a:schemeClr val="tx1"/>
                </a:solidFill>
              </a:rPr>
              <a:t> (</a:t>
            </a:r>
            <a:r>
              <a:rPr lang="de-DE" sz="1400" dirty="0" err="1">
                <a:solidFill>
                  <a:schemeClr val="tx1"/>
                </a:solidFill>
              </a:rPr>
              <a:t>Determine</a:t>
            </a:r>
            <a:r>
              <a:rPr lang="de-DE" sz="1400" dirty="0">
                <a:solidFill>
                  <a:schemeClr val="tx1"/>
                </a:solidFill>
              </a:rPr>
              <a:t> Target </a:t>
            </a:r>
            <a:r>
              <a:rPr lang="de-DE" sz="1400" dirty="0" err="1">
                <a:solidFill>
                  <a:schemeClr val="tx1"/>
                </a:solidFill>
              </a:rPr>
              <a:t>class</a:t>
            </a:r>
            <a:r>
              <a:rPr lang="de-DE" sz="1400" dirty="0">
                <a:solidFill>
                  <a:schemeClr val="tx1"/>
                </a:solidFill>
              </a:rPr>
              <a:t>)</a:t>
            </a:r>
          </a:p>
        </p:txBody>
      </p:sp>
      <p:sp>
        <p:nvSpPr>
          <p:cNvPr id="13" name="Rectangle 12">
            <a:extLst>
              <a:ext uri="{FF2B5EF4-FFF2-40B4-BE49-F238E27FC236}">
                <a16:creationId xmlns:a16="http://schemas.microsoft.com/office/drawing/2014/main" id="{5B060DCA-DCEC-5563-2D77-0A6C3584E377}"/>
              </a:ext>
            </a:extLst>
          </p:cNvPr>
          <p:cNvSpPr/>
          <p:nvPr/>
        </p:nvSpPr>
        <p:spPr>
          <a:xfrm>
            <a:off x="2028031" y="1677120"/>
            <a:ext cx="1565275" cy="784909"/>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tx1"/>
                </a:solidFill>
              </a:rPr>
              <a:t>Split </a:t>
            </a:r>
            <a:r>
              <a:rPr lang="de-DE" sz="1400" dirty="0" err="1">
                <a:solidFill>
                  <a:schemeClr val="tx1"/>
                </a:solidFill>
              </a:rPr>
              <a:t>data</a:t>
            </a:r>
            <a:r>
              <a:rPr lang="de-DE" sz="1400" dirty="0">
                <a:solidFill>
                  <a:schemeClr val="tx1"/>
                </a:solidFill>
              </a:rPr>
              <a:t> </a:t>
            </a:r>
            <a:r>
              <a:rPr lang="de-DE" sz="1400" dirty="0" err="1">
                <a:solidFill>
                  <a:schemeClr val="tx1"/>
                </a:solidFill>
              </a:rPr>
              <a:t>into</a:t>
            </a:r>
            <a:r>
              <a:rPr lang="de-DE" sz="1400" dirty="0">
                <a:solidFill>
                  <a:schemeClr val="tx1"/>
                </a:solidFill>
              </a:rPr>
              <a:t> </a:t>
            </a:r>
            <a:r>
              <a:rPr lang="de-DE" sz="1400" dirty="0" err="1">
                <a:solidFill>
                  <a:schemeClr val="tx1"/>
                </a:solidFill>
              </a:rPr>
              <a:t>test</a:t>
            </a:r>
            <a:r>
              <a:rPr lang="de-DE" sz="1400" dirty="0">
                <a:solidFill>
                  <a:schemeClr val="tx1"/>
                </a:solidFill>
              </a:rPr>
              <a:t> </a:t>
            </a:r>
            <a:r>
              <a:rPr lang="de-DE" sz="1400" dirty="0" err="1">
                <a:solidFill>
                  <a:schemeClr val="tx1"/>
                </a:solidFill>
              </a:rPr>
              <a:t>train</a:t>
            </a:r>
            <a:r>
              <a:rPr lang="de-DE" sz="1400" dirty="0">
                <a:solidFill>
                  <a:schemeClr val="tx1"/>
                </a:solidFill>
              </a:rPr>
              <a:t> and internal </a:t>
            </a:r>
            <a:r>
              <a:rPr lang="de-DE" sz="1400" dirty="0" err="1">
                <a:solidFill>
                  <a:schemeClr val="tx1"/>
                </a:solidFill>
              </a:rPr>
              <a:t>validation</a:t>
            </a:r>
            <a:endParaRPr lang="de-DE" sz="1400" dirty="0">
              <a:solidFill>
                <a:schemeClr val="tx1"/>
              </a:solidFill>
            </a:endParaRPr>
          </a:p>
        </p:txBody>
      </p:sp>
      <p:sp>
        <p:nvSpPr>
          <p:cNvPr id="14" name="Rectangle 13">
            <a:extLst>
              <a:ext uri="{FF2B5EF4-FFF2-40B4-BE49-F238E27FC236}">
                <a16:creationId xmlns:a16="http://schemas.microsoft.com/office/drawing/2014/main" id="{0F3449D7-CB66-0794-9EFD-2FCF25D1DA3C}"/>
              </a:ext>
            </a:extLst>
          </p:cNvPr>
          <p:cNvSpPr/>
          <p:nvPr/>
        </p:nvSpPr>
        <p:spPr>
          <a:xfrm>
            <a:off x="3828682" y="2350694"/>
            <a:ext cx="1565275" cy="784909"/>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Tune Hyperparameters of Algorithm</a:t>
            </a:r>
          </a:p>
        </p:txBody>
      </p:sp>
      <p:sp>
        <p:nvSpPr>
          <p:cNvPr id="15" name="Rectangle 14">
            <a:extLst>
              <a:ext uri="{FF2B5EF4-FFF2-40B4-BE49-F238E27FC236}">
                <a16:creationId xmlns:a16="http://schemas.microsoft.com/office/drawing/2014/main" id="{ADE31141-AFCA-EB3F-8608-E868F8482E8D}"/>
              </a:ext>
            </a:extLst>
          </p:cNvPr>
          <p:cNvSpPr/>
          <p:nvPr/>
        </p:nvSpPr>
        <p:spPr>
          <a:xfrm>
            <a:off x="5629333" y="3044822"/>
            <a:ext cx="1349321" cy="784909"/>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Train Decision tree and check accuracy</a:t>
            </a:r>
          </a:p>
        </p:txBody>
      </p:sp>
      <p:sp>
        <p:nvSpPr>
          <p:cNvPr id="42" name="Rectangle 41">
            <a:extLst>
              <a:ext uri="{FF2B5EF4-FFF2-40B4-BE49-F238E27FC236}">
                <a16:creationId xmlns:a16="http://schemas.microsoft.com/office/drawing/2014/main" id="{7E777977-9884-8D3F-6917-5C2ABD3FD38B}"/>
              </a:ext>
            </a:extLst>
          </p:cNvPr>
          <p:cNvSpPr/>
          <p:nvPr/>
        </p:nvSpPr>
        <p:spPr>
          <a:xfrm>
            <a:off x="7168236" y="3695702"/>
            <a:ext cx="1349321" cy="784909"/>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Derive Most significant features</a:t>
            </a:r>
          </a:p>
        </p:txBody>
      </p:sp>
      <p:cxnSp>
        <p:nvCxnSpPr>
          <p:cNvPr id="43" name="Connector: Elbow 42">
            <a:extLst>
              <a:ext uri="{FF2B5EF4-FFF2-40B4-BE49-F238E27FC236}">
                <a16:creationId xmlns:a16="http://schemas.microsoft.com/office/drawing/2014/main" id="{23F1297D-9623-6043-1FF0-815178DFE2BE}"/>
              </a:ext>
            </a:extLst>
          </p:cNvPr>
          <p:cNvCxnSpPr>
            <a:cxnSpLocks/>
            <a:stCxn id="15" idx="3"/>
            <a:endCxn id="42" idx="0"/>
          </p:cNvCxnSpPr>
          <p:nvPr/>
        </p:nvCxnSpPr>
        <p:spPr>
          <a:xfrm>
            <a:off x="6978654" y="3437277"/>
            <a:ext cx="864243" cy="258425"/>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FCFBEF9-4306-D95E-6BB0-E8D98586D85C}"/>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559157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C727850-9ED1-E9C8-6184-767D618BB88F}"/>
              </a:ext>
            </a:extLst>
          </p:cNvPr>
          <p:cNvSpPr>
            <a:spLocks/>
          </p:cNvSpPr>
          <p:nvPr/>
        </p:nvSpPr>
        <p:spPr>
          <a:xfrm>
            <a:off x="5704949" y="1283646"/>
            <a:ext cx="3186548" cy="3566477"/>
          </a:xfrm>
          <a:prstGeom prst="rect">
            <a:avLst/>
          </a:prstGeom>
          <a:solidFill>
            <a:srgbClr val="D1D2F2">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de-DE" sz="1100" dirty="0">
                <a:solidFill>
                  <a:schemeClr val="tx1"/>
                </a:solidFill>
              </a:rPr>
              <a:t>After Training </a:t>
            </a:r>
            <a:r>
              <a:rPr lang="de-DE" sz="1100" dirty="0" err="1">
                <a:solidFill>
                  <a:schemeClr val="tx1"/>
                </a:solidFill>
              </a:rPr>
              <a:t>the</a:t>
            </a:r>
            <a:r>
              <a:rPr lang="de-DE" sz="1100" dirty="0">
                <a:solidFill>
                  <a:schemeClr val="tx1"/>
                </a:solidFill>
              </a:rPr>
              <a:t> </a:t>
            </a:r>
            <a:r>
              <a:rPr lang="de-DE" sz="1100" dirty="0" err="1">
                <a:solidFill>
                  <a:schemeClr val="tx1"/>
                </a:solidFill>
              </a:rPr>
              <a:t>algorithm</a:t>
            </a:r>
            <a:r>
              <a:rPr lang="de-DE" sz="1100" dirty="0">
                <a:solidFill>
                  <a:schemeClr val="tx1"/>
                </a:solidFill>
              </a:rPr>
              <a:t>, </a:t>
            </a:r>
            <a:r>
              <a:rPr lang="de-DE" sz="1100" dirty="0" err="1">
                <a:solidFill>
                  <a:schemeClr val="tx1"/>
                </a:solidFill>
              </a:rPr>
              <a:t>it</a:t>
            </a:r>
            <a:r>
              <a:rPr lang="de-DE" sz="1100" dirty="0">
                <a:solidFill>
                  <a:schemeClr val="tx1"/>
                </a:solidFill>
              </a:rPr>
              <a:t> </a:t>
            </a:r>
            <a:r>
              <a:rPr lang="de-DE" sz="1100" dirty="0" err="1">
                <a:solidFill>
                  <a:schemeClr val="tx1"/>
                </a:solidFill>
              </a:rPr>
              <a:t>is</a:t>
            </a:r>
            <a:r>
              <a:rPr lang="de-DE" sz="1100" dirty="0">
                <a:solidFill>
                  <a:schemeClr val="tx1"/>
                </a:solidFill>
              </a:rPr>
              <a:t> </a:t>
            </a:r>
            <a:r>
              <a:rPr lang="de-DE" sz="1100" dirty="0" err="1">
                <a:solidFill>
                  <a:schemeClr val="tx1"/>
                </a:solidFill>
              </a:rPr>
              <a:t>tested</a:t>
            </a:r>
            <a:r>
              <a:rPr lang="de-DE" sz="1100" dirty="0">
                <a:solidFill>
                  <a:schemeClr val="tx1"/>
                </a:solidFill>
              </a:rPr>
              <a:t> on </a:t>
            </a:r>
            <a:r>
              <a:rPr lang="de-DE" sz="1100" dirty="0" err="1">
                <a:solidFill>
                  <a:schemeClr val="tx1"/>
                </a:solidFill>
              </a:rPr>
              <a:t>the</a:t>
            </a:r>
            <a:r>
              <a:rPr lang="de-DE" sz="1100" dirty="0">
                <a:solidFill>
                  <a:schemeClr val="tx1"/>
                </a:solidFill>
              </a:rPr>
              <a:t> </a:t>
            </a:r>
            <a:r>
              <a:rPr lang="de-DE" sz="1100" dirty="0" err="1">
                <a:solidFill>
                  <a:schemeClr val="tx1"/>
                </a:solidFill>
              </a:rPr>
              <a:t>previously</a:t>
            </a:r>
            <a:r>
              <a:rPr lang="de-DE" sz="1100" dirty="0">
                <a:solidFill>
                  <a:schemeClr val="tx1"/>
                </a:solidFill>
              </a:rPr>
              <a:t> </a:t>
            </a:r>
            <a:r>
              <a:rPr lang="de-DE" sz="1100" dirty="0" err="1">
                <a:solidFill>
                  <a:schemeClr val="tx1"/>
                </a:solidFill>
              </a:rPr>
              <a:t>unseen</a:t>
            </a:r>
            <a:r>
              <a:rPr lang="de-DE" sz="1100" dirty="0">
                <a:solidFill>
                  <a:schemeClr val="tx1"/>
                </a:solidFill>
              </a:rPr>
              <a:t> </a:t>
            </a:r>
            <a:r>
              <a:rPr lang="de-DE" sz="1100" dirty="0" err="1">
                <a:solidFill>
                  <a:schemeClr val="tx1"/>
                </a:solidFill>
              </a:rPr>
              <a:t>dataset</a:t>
            </a:r>
            <a:r>
              <a:rPr lang="de-DE" sz="1100" dirty="0">
                <a:solidFill>
                  <a:schemeClr val="tx1"/>
                </a:solidFill>
              </a:rPr>
              <a:t>.</a:t>
            </a:r>
          </a:p>
        </p:txBody>
      </p:sp>
      <p:sp>
        <p:nvSpPr>
          <p:cNvPr id="2" name="Text Placeholder 1">
            <a:extLst>
              <a:ext uri="{FF2B5EF4-FFF2-40B4-BE49-F238E27FC236}">
                <a16:creationId xmlns:a16="http://schemas.microsoft.com/office/drawing/2014/main" id="{7EFEB05E-83F5-13EF-113A-EAB87CBB6AFC}"/>
              </a:ext>
            </a:extLst>
          </p:cNvPr>
          <p:cNvSpPr>
            <a:spLocks noGrp="1"/>
          </p:cNvSpPr>
          <p:nvPr>
            <p:ph type="body" sz="quarter" idx="77"/>
          </p:nvPr>
        </p:nvSpPr>
        <p:spPr/>
        <p:txBody>
          <a:bodyPr/>
          <a:lstStyle/>
          <a:p>
            <a:r>
              <a:rPr lang="de-DE" dirty="0" err="1"/>
              <a:t>Previously</a:t>
            </a:r>
            <a:r>
              <a:rPr lang="de-DE" dirty="0"/>
              <a:t> </a:t>
            </a:r>
            <a:r>
              <a:rPr lang="de-DE" dirty="0" err="1"/>
              <a:t>discussed</a:t>
            </a:r>
            <a:r>
              <a:rPr lang="de-DE" dirty="0"/>
              <a:t> </a:t>
            </a:r>
            <a:r>
              <a:rPr lang="de-DE" dirty="0" err="1"/>
              <a:t>points</a:t>
            </a:r>
            <a:r>
              <a:rPr lang="de-DE" dirty="0"/>
              <a:t> (review)</a:t>
            </a:r>
          </a:p>
        </p:txBody>
      </p:sp>
      <p:sp>
        <p:nvSpPr>
          <p:cNvPr id="3" name="Title 2">
            <a:extLst>
              <a:ext uri="{FF2B5EF4-FFF2-40B4-BE49-F238E27FC236}">
                <a16:creationId xmlns:a16="http://schemas.microsoft.com/office/drawing/2014/main" id="{D0DF1E83-CB4A-C1B6-8C59-9D2A4C9E082D}"/>
              </a:ext>
            </a:extLst>
          </p:cNvPr>
          <p:cNvSpPr>
            <a:spLocks noGrp="1"/>
          </p:cNvSpPr>
          <p:nvPr>
            <p:ph type="title"/>
          </p:nvPr>
        </p:nvSpPr>
        <p:spPr/>
        <p:txBody>
          <a:bodyPr/>
          <a:lstStyle/>
          <a:p>
            <a:r>
              <a:rPr lang="de-DE" dirty="0" err="1"/>
              <a:t>Example</a:t>
            </a:r>
            <a:r>
              <a:rPr lang="de-DE" dirty="0"/>
              <a:t> </a:t>
            </a:r>
            <a:r>
              <a:rPr lang="de-DE" dirty="0" err="1"/>
              <a:t>output</a:t>
            </a:r>
            <a:r>
              <a:rPr lang="de-DE" dirty="0"/>
              <a:t> </a:t>
            </a:r>
            <a:r>
              <a:rPr lang="de-DE" dirty="0" err="1"/>
              <a:t>for</a:t>
            </a:r>
            <a:r>
              <a:rPr lang="de-DE" dirty="0"/>
              <a:t> Error 2 (</a:t>
            </a:r>
            <a:r>
              <a:rPr lang="de-DE" dirty="0" err="1"/>
              <a:t>error_ladeabbruch</a:t>
            </a:r>
            <a:r>
              <a:rPr lang="de-DE" dirty="0"/>
              <a:t>)</a:t>
            </a:r>
          </a:p>
        </p:txBody>
      </p:sp>
      <p:sp>
        <p:nvSpPr>
          <p:cNvPr id="4" name="Date Placeholder 3">
            <a:extLst>
              <a:ext uri="{FF2B5EF4-FFF2-40B4-BE49-F238E27FC236}">
                <a16:creationId xmlns:a16="http://schemas.microsoft.com/office/drawing/2014/main" id="{B2B85F08-8D26-7106-397E-48798607A1F9}"/>
              </a:ext>
            </a:extLst>
          </p:cNvPr>
          <p:cNvSpPr>
            <a:spLocks noGrp="1"/>
          </p:cNvSpPr>
          <p:nvPr>
            <p:ph type="dt" sz="half" idx="78"/>
          </p:nvPr>
        </p:nvSpPr>
        <p:spPr/>
        <p:txBody>
          <a:bodyPr/>
          <a:lstStyle/>
          <a:p>
            <a:fld id="{315F5DE2-5A06-4219-A8BA-06FFAAB19D4D}" type="datetime1">
              <a:rPr lang="de-DE" smtClean="0"/>
              <a:t>24.01.2024</a:t>
            </a:fld>
            <a:endParaRPr lang="en-US"/>
          </a:p>
        </p:txBody>
      </p:sp>
      <p:sp>
        <p:nvSpPr>
          <p:cNvPr id="5" name="Footer Placeholder 4">
            <a:extLst>
              <a:ext uri="{FF2B5EF4-FFF2-40B4-BE49-F238E27FC236}">
                <a16:creationId xmlns:a16="http://schemas.microsoft.com/office/drawing/2014/main" id="{C8E10540-8969-95C4-ACA4-A8A25C9C6866}"/>
              </a:ext>
            </a:extLst>
          </p:cNvPr>
          <p:cNvSpPr>
            <a:spLocks noGrp="1"/>
          </p:cNvSpPr>
          <p:nvPr>
            <p:ph type="ftr" sz="quarter" idx="79"/>
          </p:nvPr>
        </p:nvSpPr>
        <p:spPr/>
        <p:txBody>
          <a:bodyPr/>
          <a:lstStyle/>
          <a:p>
            <a:pPr marL="4763">
              <a:spcBef>
                <a:spcPts val="51"/>
              </a:spcBef>
            </a:pPr>
            <a:r>
              <a:rPr lang="en-US" spc="7"/>
              <a:t>P3 | Master Thesis Update | Arav Barot</a:t>
            </a:r>
            <a:endParaRPr lang="en-US" spc="-7"/>
          </a:p>
        </p:txBody>
      </p:sp>
      <p:sp>
        <p:nvSpPr>
          <p:cNvPr id="6" name="Slide Number Placeholder 5">
            <a:extLst>
              <a:ext uri="{FF2B5EF4-FFF2-40B4-BE49-F238E27FC236}">
                <a16:creationId xmlns:a16="http://schemas.microsoft.com/office/drawing/2014/main" id="{1E94BE54-8D87-2EC5-43C5-E3F904B9806C}"/>
              </a:ext>
            </a:extLst>
          </p:cNvPr>
          <p:cNvSpPr>
            <a:spLocks noGrp="1"/>
          </p:cNvSpPr>
          <p:nvPr>
            <p:ph type="sldNum" sz="quarter" idx="80"/>
          </p:nvPr>
        </p:nvSpPr>
        <p:spPr/>
        <p:txBody>
          <a:bodyPr/>
          <a:lstStyle/>
          <a:p>
            <a:pPr algn="r"/>
            <a:fld id="{B6F15528-21DE-4FAA-801E-634DDDAF4B2B}" type="slidenum">
              <a:rPr lang="en-RO" smtClean="0"/>
              <a:pPr algn="r"/>
              <a:t>9</a:t>
            </a:fld>
            <a:endParaRPr lang="en-RO"/>
          </a:p>
        </p:txBody>
      </p:sp>
      <p:grpSp>
        <p:nvGrpSpPr>
          <p:cNvPr id="13" name="Group 12">
            <a:extLst>
              <a:ext uri="{FF2B5EF4-FFF2-40B4-BE49-F238E27FC236}">
                <a16:creationId xmlns:a16="http://schemas.microsoft.com/office/drawing/2014/main" id="{EEF4572A-0DDD-46F1-5C3A-295A0C82B413}"/>
              </a:ext>
            </a:extLst>
          </p:cNvPr>
          <p:cNvGrpSpPr/>
          <p:nvPr/>
        </p:nvGrpSpPr>
        <p:grpSpPr>
          <a:xfrm>
            <a:off x="323850" y="988120"/>
            <a:ext cx="5255419" cy="2090835"/>
            <a:chOff x="323849" y="1021017"/>
            <a:chExt cx="6538801" cy="2360238"/>
          </a:xfrm>
        </p:grpSpPr>
        <p:sp>
          <p:nvSpPr>
            <p:cNvPr id="14" name="Rectangle 13">
              <a:extLst>
                <a:ext uri="{FF2B5EF4-FFF2-40B4-BE49-F238E27FC236}">
                  <a16:creationId xmlns:a16="http://schemas.microsoft.com/office/drawing/2014/main" id="{71674AEA-4128-5B0D-C903-C96623A9B67D}"/>
                </a:ext>
              </a:extLst>
            </p:cNvPr>
            <p:cNvSpPr/>
            <p:nvPr/>
          </p:nvSpPr>
          <p:spPr>
            <a:xfrm>
              <a:off x="323849" y="1354621"/>
              <a:ext cx="6538801" cy="2026634"/>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a:pPr>
              <a:r>
                <a:rPr lang="de-DE" sz="1200" dirty="0">
                  <a:solidFill>
                    <a:schemeClr val="tx1"/>
                  </a:solidFill>
                </a:rPr>
                <a:t>In </a:t>
              </a:r>
              <a:r>
                <a:rPr lang="de-DE" sz="1200" dirty="0" err="1">
                  <a:solidFill>
                    <a:schemeClr val="tx1"/>
                  </a:solidFill>
                </a:rPr>
                <a:t>this</a:t>
              </a:r>
              <a:r>
                <a:rPr lang="de-DE" sz="1200" dirty="0">
                  <a:solidFill>
                    <a:schemeClr val="tx1"/>
                  </a:solidFill>
                </a:rPr>
                <a:t> </a:t>
              </a:r>
              <a:r>
                <a:rPr lang="de-DE" sz="1200" dirty="0" err="1">
                  <a:solidFill>
                    <a:schemeClr val="tx1"/>
                  </a:solidFill>
                </a:rPr>
                <a:t>algorithm</a:t>
              </a:r>
              <a:r>
                <a:rPr lang="de-DE" sz="1200" dirty="0">
                  <a:solidFill>
                    <a:schemeClr val="tx1"/>
                  </a:solidFill>
                </a:rPr>
                <a:t> </a:t>
              </a:r>
              <a:r>
                <a:rPr lang="de-DE" sz="1200" dirty="0" err="1">
                  <a:solidFill>
                    <a:schemeClr val="tx1"/>
                  </a:solidFill>
                </a:rPr>
                <a:t>output</a:t>
              </a:r>
              <a:r>
                <a:rPr lang="de-DE" sz="1200" dirty="0">
                  <a:solidFill>
                    <a:schemeClr val="tx1"/>
                  </a:solidFill>
                </a:rPr>
                <a:t> </a:t>
              </a:r>
              <a:r>
                <a:rPr lang="de-DE" sz="1200" dirty="0" err="1">
                  <a:solidFill>
                    <a:schemeClr val="tx1"/>
                  </a:solidFill>
                </a:rPr>
                <a:t>class</a:t>
              </a:r>
              <a:r>
                <a:rPr lang="de-DE" sz="1200" dirty="0">
                  <a:solidFill>
                    <a:schemeClr val="tx1"/>
                  </a:solidFill>
                </a:rPr>
                <a:t> </a:t>
              </a:r>
              <a:r>
                <a:rPr lang="de-DE" sz="1200" dirty="0" err="1">
                  <a:solidFill>
                    <a:schemeClr val="tx1"/>
                  </a:solidFill>
                </a:rPr>
                <a:t>is</a:t>
              </a:r>
              <a:r>
                <a:rPr lang="de-DE" sz="1200" dirty="0">
                  <a:solidFill>
                    <a:schemeClr val="tx1"/>
                  </a:solidFill>
                </a:rPr>
                <a:t> </a:t>
              </a:r>
              <a:r>
                <a:rPr lang="de-DE" sz="1200" dirty="0" err="1">
                  <a:solidFill>
                    <a:schemeClr val="tx1"/>
                  </a:solidFill>
                </a:rPr>
                <a:t>set</a:t>
              </a:r>
              <a:r>
                <a:rPr lang="de-DE" sz="1200" dirty="0">
                  <a:solidFill>
                    <a:schemeClr val="tx1"/>
                  </a:solidFill>
                </a:rPr>
                <a:t> </a:t>
              </a:r>
              <a:r>
                <a:rPr lang="de-DE" sz="1200" dirty="0" err="1">
                  <a:solidFill>
                    <a:schemeClr val="tx1"/>
                  </a:solidFill>
                </a:rPr>
                <a:t>to</a:t>
              </a:r>
              <a:r>
                <a:rPr lang="de-DE" sz="1200" dirty="0">
                  <a:solidFill>
                    <a:schemeClr val="tx1"/>
                  </a:solidFill>
                </a:rPr>
                <a:t> </a:t>
              </a:r>
              <a:r>
                <a:rPr lang="de-DE" sz="1200" dirty="0" err="1">
                  <a:solidFill>
                    <a:schemeClr val="tx1"/>
                  </a:solidFill>
                </a:rPr>
                <a:t>error</a:t>
              </a:r>
              <a:r>
                <a:rPr lang="de-DE" sz="1200" dirty="0">
                  <a:solidFill>
                    <a:schemeClr val="tx1"/>
                  </a:solidFill>
                </a:rPr>
                <a:t> 2 </a:t>
              </a:r>
              <a:r>
                <a:rPr lang="de-DE" sz="1200" dirty="0" err="1">
                  <a:solidFill>
                    <a:schemeClr val="tx1"/>
                  </a:solidFill>
                </a:rPr>
                <a:t>whether</a:t>
              </a:r>
              <a:r>
                <a:rPr lang="de-DE" sz="1200" dirty="0">
                  <a:solidFill>
                    <a:schemeClr val="tx1"/>
                  </a:solidFill>
                </a:rPr>
                <a:t> </a:t>
              </a:r>
              <a:r>
                <a:rPr lang="de-DE" sz="1200" dirty="0" err="1">
                  <a:solidFill>
                    <a:schemeClr val="tx1"/>
                  </a:solidFill>
                </a:rPr>
                <a:t>it</a:t>
              </a:r>
              <a:r>
                <a:rPr lang="de-DE" sz="1200" dirty="0">
                  <a:solidFill>
                    <a:schemeClr val="tx1"/>
                  </a:solidFill>
                </a:rPr>
                <a:t> </a:t>
              </a:r>
              <a:r>
                <a:rPr lang="de-DE" sz="1200" dirty="0" err="1">
                  <a:solidFill>
                    <a:schemeClr val="tx1"/>
                  </a:solidFill>
                </a:rPr>
                <a:t>is</a:t>
              </a:r>
              <a:r>
                <a:rPr lang="de-DE" sz="1200" dirty="0">
                  <a:solidFill>
                    <a:schemeClr val="tx1"/>
                  </a:solidFill>
                </a:rPr>
                <a:t> True </a:t>
              </a:r>
              <a:r>
                <a:rPr lang="de-DE" sz="1200" dirty="0" err="1">
                  <a:solidFill>
                    <a:schemeClr val="tx1"/>
                  </a:solidFill>
                </a:rPr>
                <a:t>or</a:t>
              </a:r>
              <a:r>
                <a:rPr lang="de-DE" sz="1200" dirty="0">
                  <a:solidFill>
                    <a:schemeClr val="tx1"/>
                  </a:solidFill>
                </a:rPr>
                <a:t> </a:t>
              </a:r>
              <a:r>
                <a:rPr lang="de-DE" sz="1200" dirty="0" err="1">
                  <a:solidFill>
                    <a:schemeClr val="tx1"/>
                  </a:solidFill>
                </a:rPr>
                <a:t>False</a:t>
              </a:r>
              <a:r>
                <a:rPr lang="de-DE" sz="1200" dirty="0">
                  <a:solidFill>
                    <a:schemeClr val="tx1"/>
                  </a:solidFill>
                </a:rPr>
                <a:t>.</a:t>
              </a:r>
            </a:p>
            <a:p>
              <a:pPr marL="342900" indent="-342900">
                <a:buFont typeface="+mj-lt"/>
                <a:buAutoNum type="arabicPeriod"/>
              </a:pPr>
              <a:r>
                <a:rPr lang="de-DE" sz="1200" dirty="0">
                  <a:solidFill>
                    <a:schemeClr val="tx1"/>
                  </a:solidFill>
                </a:rPr>
                <a:t>Train and </a:t>
              </a:r>
              <a:r>
                <a:rPr lang="de-DE" sz="1200" dirty="0" err="1">
                  <a:solidFill>
                    <a:schemeClr val="tx1"/>
                  </a:solidFill>
                </a:rPr>
                <a:t>test</a:t>
              </a:r>
              <a:r>
                <a:rPr lang="de-DE" sz="1200" dirty="0">
                  <a:solidFill>
                    <a:schemeClr val="tx1"/>
                  </a:solidFill>
                </a:rPr>
                <a:t> </a:t>
              </a:r>
              <a:r>
                <a:rPr lang="de-DE" sz="1200" dirty="0" err="1">
                  <a:solidFill>
                    <a:schemeClr val="tx1"/>
                  </a:solidFill>
                </a:rPr>
                <a:t>accuracy</a:t>
              </a:r>
              <a:r>
                <a:rPr lang="de-DE" sz="1200" dirty="0">
                  <a:solidFill>
                    <a:schemeClr val="tx1"/>
                  </a:solidFill>
                </a:rPr>
                <a:t> </a:t>
              </a:r>
              <a:r>
                <a:rPr lang="de-DE" sz="1200" dirty="0" err="1">
                  <a:solidFill>
                    <a:schemeClr val="tx1"/>
                  </a:solidFill>
                </a:rPr>
                <a:t>is</a:t>
              </a:r>
              <a:r>
                <a:rPr lang="de-DE" sz="1200" dirty="0">
                  <a:solidFill>
                    <a:schemeClr val="tx1"/>
                  </a:solidFill>
                </a:rPr>
                <a:t> </a:t>
              </a:r>
              <a:r>
                <a:rPr lang="de-DE" sz="1200" dirty="0" err="1">
                  <a:solidFill>
                    <a:schemeClr val="tx1"/>
                  </a:solidFill>
                </a:rPr>
                <a:t>measured</a:t>
              </a:r>
              <a:r>
                <a:rPr lang="de-DE" sz="1200" dirty="0">
                  <a:solidFill>
                    <a:schemeClr val="tx1"/>
                  </a:solidFill>
                </a:rPr>
                <a:t> </a:t>
              </a:r>
              <a:r>
                <a:rPr lang="de-DE" sz="1200" dirty="0" err="1">
                  <a:solidFill>
                    <a:schemeClr val="tx1"/>
                  </a:solidFill>
                </a:rPr>
                <a:t>with</a:t>
              </a:r>
              <a:r>
                <a:rPr lang="de-DE" sz="1200" dirty="0">
                  <a:solidFill>
                    <a:schemeClr val="tx1"/>
                  </a:solidFill>
                </a:rPr>
                <a:t> different </a:t>
              </a:r>
              <a:r>
                <a:rPr lang="de-DE" sz="1200" dirty="0" err="1">
                  <a:solidFill>
                    <a:schemeClr val="tx1"/>
                  </a:solidFill>
                </a:rPr>
                <a:t>numbers</a:t>
              </a:r>
              <a:r>
                <a:rPr lang="de-DE" sz="1200" dirty="0">
                  <a:solidFill>
                    <a:schemeClr val="tx1"/>
                  </a:solidFill>
                </a:rPr>
                <a:t> </a:t>
              </a:r>
              <a:r>
                <a:rPr lang="de-DE" sz="1200" dirty="0" err="1">
                  <a:solidFill>
                    <a:schemeClr val="tx1"/>
                  </a:solidFill>
                </a:rPr>
                <a:t>of</a:t>
              </a:r>
              <a:r>
                <a:rPr lang="de-DE" sz="1200" dirty="0">
                  <a:solidFill>
                    <a:schemeClr val="tx1"/>
                  </a:solidFill>
                </a:rPr>
                <a:t> </a:t>
              </a:r>
              <a:r>
                <a:rPr lang="de-DE" sz="1200" dirty="0" err="1">
                  <a:solidFill>
                    <a:schemeClr val="tx1"/>
                  </a:solidFill>
                </a:rPr>
                <a:t>decision</a:t>
              </a:r>
              <a:r>
                <a:rPr lang="de-DE" sz="1200" dirty="0">
                  <a:solidFill>
                    <a:schemeClr val="tx1"/>
                  </a:solidFill>
                </a:rPr>
                <a:t> </a:t>
              </a:r>
              <a:r>
                <a:rPr lang="de-DE" sz="1200" dirty="0" err="1">
                  <a:solidFill>
                    <a:schemeClr val="tx1"/>
                  </a:solidFill>
                </a:rPr>
                <a:t>trees</a:t>
              </a:r>
              <a:r>
                <a:rPr lang="de-DE" sz="1200" dirty="0">
                  <a:solidFill>
                    <a:schemeClr val="tx1"/>
                  </a:solidFill>
                </a:rPr>
                <a:t> </a:t>
              </a:r>
              <a:r>
                <a:rPr lang="de-DE" sz="1200" dirty="0" err="1">
                  <a:solidFill>
                    <a:schemeClr val="tx1"/>
                  </a:solidFill>
                </a:rPr>
                <a:t>to</a:t>
              </a:r>
              <a:r>
                <a:rPr lang="de-DE" sz="1200" dirty="0">
                  <a:solidFill>
                    <a:schemeClr val="tx1"/>
                  </a:solidFill>
                </a:rPr>
                <a:t> check </a:t>
              </a:r>
              <a:r>
                <a:rPr lang="de-DE" sz="1200" dirty="0" err="1">
                  <a:solidFill>
                    <a:schemeClr val="tx1"/>
                  </a:solidFill>
                </a:rPr>
                <a:t>which</a:t>
              </a:r>
              <a:r>
                <a:rPr lang="de-DE" sz="1200" dirty="0">
                  <a:solidFill>
                    <a:schemeClr val="tx1"/>
                  </a:solidFill>
                </a:rPr>
                <a:t> </a:t>
              </a:r>
              <a:r>
                <a:rPr lang="de-DE" sz="1200" dirty="0" err="1">
                  <a:solidFill>
                    <a:schemeClr val="tx1"/>
                  </a:solidFill>
                </a:rPr>
                <a:t>one</a:t>
              </a:r>
              <a:r>
                <a:rPr lang="de-DE" sz="1200" dirty="0">
                  <a:solidFill>
                    <a:schemeClr val="tx1"/>
                  </a:solidFill>
                </a:rPr>
                <a:t> </a:t>
              </a:r>
              <a:r>
                <a:rPr lang="de-DE" sz="1200" dirty="0" err="1">
                  <a:solidFill>
                    <a:schemeClr val="tx1"/>
                  </a:solidFill>
                </a:rPr>
                <a:t>has</a:t>
              </a:r>
              <a:r>
                <a:rPr lang="de-DE" sz="1200" dirty="0">
                  <a:solidFill>
                    <a:schemeClr val="tx1"/>
                  </a:solidFill>
                </a:rPr>
                <a:t> </a:t>
              </a:r>
              <a:r>
                <a:rPr lang="de-DE" sz="1200" dirty="0" err="1">
                  <a:solidFill>
                    <a:schemeClr val="tx1"/>
                  </a:solidFill>
                </a:rPr>
                <a:t>more</a:t>
              </a:r>
              <a:r>
                <a:rPr lang="de-DE" sz="1200" dirty="0">
                  <a:solidFill>
                    <a:schemeClr val="tx1"/>
                  </a:solidFill>
                </a:rPr>
                <a:t> </a:t>
              </a:r>
              <a:r>
                <a:rPr lang="de-DE" sz="1200" dirty="0" err="1">
                  <a:solidFill>
                    <a:schemeClr val="tx1"/>
                  </a:solidFill>
                </a:rPr>
                <a:t>accurate</a:t>
              </a:r>
              <a:r>
                <a:rPr lang="de-DE" sz="1200" dirty="0">
                  <a:solidFill>
                    <a:schemeClr val="tx1"/>
                  </a:solidFill>
                </a:rPr>
                <a:t> </a:t>
              </a:r>
              <a:r>
                <a:rPr lang="de-DE" sz="1200" dirty="0" err="1">
                  <a:solidFill>
                    <a:schemeClr val="tx1"/>
                  </a:solidFill>
                </a:rPr>
                <a:t>test</a:t>
              </a:r>
              <a:r>
                <a:rPr lang="de-DE" sz="1200" dirty="0">
                  <a:solidFill>
                    <a:schemeClr val="tx1"/>
                  </a:solidFill>
                </a:rPr>
                <a:t> </a:t>
              </a:r>
              <a:r>
                <a:rPr lang="de-DE" sz="1200" dirty="0" err="1">
                  <a:solidFill>
                    <a:schemeClr val="tx1"/>
                  </a:solidFill>
                </a:rPr>
                <a:t>results</a:t>
              </a:r>
              <a:r>
                <a:rPr lang="de-DE" sz="1200" dirty="0">
                  <a:solidFill>
                    <a:schemeClr val="tx1"/>
                  </a:solidFill>
                </a:rPr>
                <a:t>. And </a:t>
              </a:r>
              <a:r>
                <a:rPr lang="de-DE" sz="1200" dirty="0" err="1">
                  <a:solidFill>
                    <a:schemeClr val="tx1"/>
                  </a:solidFill>
                </a:rPr>
                <a:t>the</a:t>
              </a:r>
              <a:r>
                <a:rPr lang="de-DE" sz="1200" dirty="0">
                  <a:solidFill>
                    <a:schemeClr val="tx1"/>
                  </a:solidFill>
                </a:rPr>
                <a:t> </a:t>
              </a:r>
              <a:r>
                <a:rPr lang="de-DE" sz="1200" dirty="0" err="1">
                  <a:solidFill>
                    <a:schemeClr val="tx1"/>
                  </a:solidFill>
                </a:rPr>
                <a:t>random</a:t>
              </a:r>
              <a:r>
                <a:rPr lang="de-DE" sz="1200" dirty="0">
                  <a:solidFill>
                    <a:schemeClr val="tx1"/>
                  </a:solidFill>
                </a:rPr>
                <a:t> </a:t>
              </a:r>
              <a:r>
                <a:rPr lang="de-DE" sz="1200" dirty="0" err="1">
                  <a:solidFill>
                    <a:schemeClr val="tx1"/>
                  </a:solidFill>
                </a:rPr>
                <a:t>forest</a:t>
              </a:r>
              <a:r>
                <a:rPr lang="de-DE" sz="1200" dirty="0">
                  <a:solidFill>
                    <a:schemeClr val="tx1"/>
                  </a:solidFill>
                </a:rPr>
                <a:t> </a:t>
              </a:r>
              <a:r>
                <a:rPr lang="de-DE" sz="1200" dirty="0" err="1">
                  <a:solidFill>
                    <a:schemeClr val="tx1"/>
                  </a:solidFill>
                </a:rPr>
                <a:t>is</a:t>
              </a:r>
              <a:r>
                <a:rPr lang="de-DE" sz="1200" dirty="0">
                  <a:solidFill>
                    <a:schemeClr val="tx1"/>
                  </a:solidFill>
                </a:rPr>
                <a:t> </a:t>
              </a:r>
              <a:r>
                <a:rPr lang="de-DE" sz="1200" dirty="0" err="1">
                  <a:solidFill>
                    <a:schemeClr val="tx1"/>
                  </a:solidFill>
                </a:rPr>
                <a:t>trained</a:t>
              </a:r>
              <a:r>
                <a:rPr lang="de-DE" sz="1200" dirty="0">
                  <a:solidFill>
                    <a:schemeClr val="tx1"/>
                  </a:solidFill>
                </a:rPr>
                <a:t> </a:t>
              </a:r>
              <a:r>
                <a:rPr lang="de-DE" sz="1200" dirty="0" err="1">
                  <a:solidFill>
                    <a:schemeClr val="tx1"/>
                  </a:solidFill>
                </a:rPr>
                <a:t>with</a:t>
              </a:r>
              <a:r>
                <a:rPr lang="de-DE" sz="1200" dirty="0">
                  <a:solidFill>
                    <a:schemeClr val="tx1"/>
                  </a:solidFill>
                </a:rPr>
                <a:t> 32 </a:t>
              </a:r>
              <a:r>
                <a:rPr lang="de-DE" sz="1200" dirty="0" err="1">
                  <a:solidFill>
                    <a:schemeClr val="tx1"/>
                  </a:solidFill>
                </a:rPr>
                <a:t>estimator</a:t>
              </a:r>
              <a:r>
                <a:rPr lang="de-DE" sz="1200" dirty="0">
                  <a:solidFill>
                    <a:schemeClr val="tx1"/>
                  </a:solidFill>
                </a:rPr>
                <a:t> </a:t>
              </a:r>
              <a:r>
                <a:rPr lang="de-DE" sz="1200" dirty="0" err="1">
                  <a:solidFill>
                    <a:schemeClr val="tx1"/>
                  </a:solidFill>
                </a:rPr>
                <a:t>trees</a:t>
              </a:r>
              <a:r>
                <a:rPr lang="de-DE" sz="1200" dirty="0">
                  <a:solidFill>
                    <a:schemeClr val="tx1"/>
                  </a:solidFill>
                </a:rPr>
                <a:t>.</a:t>
              </a:r>
            </a:p>
            <a:p>
              <a:pPr marL="342900" indent="-342900">
                <a:buFont typeface="+mj-lt"/>
                <a:buAutoNum type="arabicPeriod"/>
              </a:pPr>
              <a:r>
                <a:rPr lang="de-DE" sz="1200" dirty="0">
                  <a:solidFill>
                    <a:schemeClr val="tx1"/>
                  </a:solidFill>
                </a:rPr>
                <a:t>In </a:t>
              </a:r>
              <a:r>
                <a:rPr lang="de-DE" sz="1200" dirty="0" err="1">
                  <a:solidFill>
                    <a:schemeClr val="tx1"/>
                  </a:solidFill>
                </a:rPr>
                <a:t>the</a:t>
              </a:r>
              <a:r>
                <a:rPr lang="de-DE" sz="1200" dirty="0">
                  <a:solidFill>
                    <a:schemeClr val="tx1"/>
                  </a:solidFill>
                </a:rPr>
                <a:t> </a:t>
              </a:r>
              <a:r>
                <a:rPr lang="de-DE" sz="1200" dirty="0" err="1">
                  <a:solidFill>
                    <a:schemeClr val="tx1"/>
                  </a:solidFill>
                </a:rPr>
                <a:t>next</a:t>
              </a:r>
              <a:r>
                <a:rPr lang="de-DE" sz="1200" dirty="0">
                  <a:solidFill>
                    <a:schemeClr val="tx1"/>
                  </a:solidFill>
                </a:rPr>
                <a:t> </a:t>
              </a:r>
              <a:r>
                <a:rPr lang="de-DE" sz="1200" dirty="0" err="1">
                  <a:solidFill>
                    <a:schemeClr val="tx1"/>
                  </a:solidFill>
                </a:rPr>
                <a:t>step</a:t>
              </a:r>
              <a:r>
                <a:rPr lang="de-DE" sz="1200" dirty="0">
                  <a:solidFill>
                    <a:schemeClr val="tx1"/>
                  </a:solidFill>
                </a:rPr>
                <a:t> Most </a:t>
              </a:r>
              <a:r>
                <a:rPr lang="de-DE" sz="1200" dirty="0" err="1">
                  <a:solidFill>
                    <a:schemeClr val="tx1"/>
                  </a:solidFill>
                </a:rPr>
                <a:t>significant</a:t>
              </a:r>
              <a:r>
                <a:rPr lang="de-DE" sz="1200" dirty="0">
                  <a:solidFill>
                    <a:schemeClr val="tx1"/>
                  </a:solidFill>
                </a:rPr>
                <a:t> </a:t>
              </a:r>
              <a:r>
                <a:rPr lang="de-DE" sz="1200" dirty="0" err="1">
                  <a:solidFill>
                    <a:schemeClr val="tx1"/>
                  </a:solidFill>
                </a:rPr>
                <a:t>features</a:t>
              </a:r>
              <a:r>
                <a:rPr lang="de-DE" sz="1200" dirty="0">
                  <a:solidFill>
                    <a:schemeClr val="tx1"/>
                  </a:solidFill>
                </a:rPr>
                <a:t> </a:t>
              </a:r>
              <a:r>
                <a:rPr lang="de-DE" sz="1200" dirty="0" err="1">
                  <a:solidFill>
                    <a:schemeClr val="tx1"/>
                  </a:solidFill>
                </a:rPr>
                <a:t>which</a:t>
              </a:r>
              <a:r>
                <a:rPr lang="de-DE" sz="1200" dirty="0">
                  <a:solidFill>
                    <a:schemeClr val="tx1"/>
                  </a:solidFill>
                </a:rPr>
                <a:t> </a:t>
              </a:r>
              <a:r>
                <a:rPr lang="de-DE" sz="1200" dirty="0" err="1">
                  <a:solidFill>
                    <a:schemeClr val="tx1"/>
                  </a:solidFill>
                </a:rPr>
                <a:t>has</a:t>
              </a:r>
              <a:r>
                <a:rPr lang="de-DE" sz="1200" dirty="0">
                  <a:solidFill>
                    <a:schemeClr val="tx1"/>
                  </a:solidFill>
                </a:rPr>
                <a:t> </a:t>
              </a:r>
              <a:r>
                <a:rPr lang="de-DE" sz="1200" dirty="0" err="1">
                  <a:solidFill>
                    <a:schemeClr val="tx1"/>
                  </a:solidFill>
                </a:rPr>
                <a:t>major</a:t>
              </a:r>
              <a:r>
                <a:rPr lang="de-DE" sz="1200" dirty="0">
                  <a:solidFill>
                    <a:schemeClr val="tx1"/>
                  </a:solidFill>
                </a:rPr>
                <a:t> </a:t>
              </a:r>
              <a:r>
                <a:rPr lang="de-DE" sz="1200" dirty="0" err="1">
                  <a:solidFill>
                    <a:schemeClr val="tx1"/>
                  </a:solidFill>
                </a:rPr>
                <a:t>influence</a:t>
              </a:r>
              <a:r>
                <a:rPr lang="de-DE" sz="1200" dirty="0">
                  <a:solidFill>
                    <a:schemeClr val="tx1"/>
                  </a:solidFill>
                </a:rPr>
                <a:t> on </a:t>
              </a:r>
              <a:r>
                <a:rPr lang="de-DE" sz="1200" dirty="0" err="1">
                  <a:solidFill>
                    <a:schemeClr val="tx1"/>
                  </a:solidFill>
                </a:rPr>
                <a:t>output</a:t>
              </a:r>
              <a:r>
                <a:rPr lang="de-DE" sz="1200" dirty="0">
                  <a:solidFill>
                    <a:schemeClr val="tx1"/>
                  </a:solidFill>
                </a:rPr>
                <a:t> </a:t>
              </a:r>
              <a:r>
                <a:rPr lang="de-DE" sz="1200" dirty="0" err="1">
                  <a:solidFill>
                    <a:schemeClr val="tx1"/>
                  </a:solidFill>
                </a:rPr>
                <a:t>decision</a:t>
              </a:r>
              <a:r>
                <a:rPr lang="de-DE" sz="1200" dirty="0">
                  <a:solidFill>
                    <a:schemeClr val="tx1"/>
                  </a:solidFill>
                </a:rPr>
                <a:t> </a:t>
              </a:r>
              <a:r>
                <a:rPr lang="de-DE" sz="1200" dirty="0" err="1">
                  <a:solidFill>
                    <a:schemeClr val="tx1"/>
                  </a:solidFill>
                </a:rPr>
                <a:t>are</a:t>
              </a:r>
              <a:r>
                <a:rPr lang="de-DE" sz="1200" dirty="0">
                  <a:solidFill>
                    <a:schemeClr val="tx1"/>
                  </a:solidFill>
                </a:rPr>
                <a:t> </a:t>
              </a:r>
              <a:r>
                <a:rPr lang="de-DE" sz="1200" dirty="0" err="1">
                  <a:solidFill>
                    <a:schemeClr val="tx1"/>
                  </a:solidFill>
                </a:rPr>
                <a:t>traced</a:t>
              </a:r>
              <a:r>
                <a:rPr lang="de-DE" sz="1200" dirty="0">
                  <a:solidFill>
                    <a:schemeClr val="tx1"/>
                  </a:solidFill>
                </a:rPr>
                <a:t>.</a:t>
              </a:r>
            </a:p>
          </p:txBody>
        </p:sp>
        <p:sp>
          <p:nvSpPr>
            <p:cNvPr id="15" name="Rectangle 14">
              <a:extLst>
                <a:ext uri="{FF2B5EF4-FFF2-40B4-BE49-F238E27FC236}">
                  <a16:creationId xmlns:a16="http://schemas.microsoft.com/office/drawing/2014/main" id="{83EB7DE4-B9A2-3F13-A3D2-D709E96F01F6}"/>
                </a:ext>
              </a:extLst>
            </p:cNvPr>
            <p:cNvSpPr/>
            <p:nvPr/>
          </p:nvSpPr>
          <p:spPr>
            <a:xfrm>
              <a:off x="323849" y="1021017"/>
              <a:ext cx="5111317" cy="322360"/>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tx1"/>
                  </a:solidFill>
                </a:rPr>
                <a:t>Description</a:t>
              </a:r>
            </a:p>
          </p:txBody>
        </p:sp>
      </p:grpSp>
      <p:pic>
        <p:nvPicPr>
          <p:cNvPr id="17" name="Picture 16" descr="A graph of a graph&#10;&#10;Description automatically generated">
            <a:extLst>
              <a:ext uri="{FF2B5EF4-FFF2-40B4-BE49-F238E27FC236}">
                <a16:creationId xmlns:a16="http://schemas.microsoft.com/office/drawing/2014/main" id="{6FDCFDCE-0797-36EE-A828-D50B1FF7BD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24205" y="2487048"/>
            <a:ext cx="2748036" cy="2061027"/>
          </a:xfrm>
          <a:prstGeom prst="rect">
            <a:avLst/>
          </a:prstGeom>
        </p:spPr>
      </p:pic>
      <p:grpSp>
        <p:nvGrpSpPr>
          <p:cNvPr id="21" name="Group 20">
            <a:extLst>
              <a:ext uri="{FF2B5EF4-FFF2-40B4-BE49-F238E27FC236}">
                <a16:creationId xmlns:a16="http://schemas.microsoft.com/office/drawing/2014/main" id="{0C60099F-CEB8-9C49-0894-9D5B2BCBD3BB}"/>
              </a:ext>
            </a:extLst>
          </p:cNvPr>
          <p:cNvGrpSpPr/>
          <p:nvPr/>
        </p:nvGrpSpPr>
        <p:grpSpPr>
          <a:xfrm>
            <a:off x="323849" y="3166809"/>
            <a:ext cx="5255419" cy="1683314"/>
            <a:chOff x="323599" y="919948"/>
            <a:chExt cx="6769895" cy="1533596"/>
          </a:xfrm>
        </p:grpSpPr>
        <p:sp>
          <p:nvSpPr>
            <p:cNvPr id="22" name="Rectangle 21">
              <a:extLst>
                <a:ext uri="{FF2B5EF4-FFF2-40B4-BE49-F238E27FC236}">
                  <a16:creationId xmlns:a16="http://schemas.microsoft.com/office/drawing/2014/main" id="{04D539E2-9410-0066-CF82-F9DBA8A12DA6}"/>
                </a:ext>
              </a:extLst>
            </p:cNvPr>
            <p:cNvSpPr/>
            <p:nvPr/>
          </p:nvSpPr>
          <p:spPr>
            <a:xfrm>
              <a:off x="323599" y="1170237"/>
              <a:ext cx="6769895" cy="1283307"/>
            </a:xfrm>
            <a:prstGeom prst="rect">
              <a:avLst/>
            </a:prstGeom>
            <a:solidFill>
              <a:srgbClr val="B8B9EA">
                <a:alpha val="4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a:solidFill>
                    <a:schemeClr val="tx1"/>
                  </a:solidFill>
                </a:rPr>
                <a:t>Most </a:t>
              </a:r>
              <a:r>
                <a:rPr lang="de-DE" sz="1100" dirty="0" err="1">
                  <a:solidFill>
                    <a:schemeClr val="tx1"/>
                  </a:solidFill>
                </a:rPr>
                <a:t>Significant</a:t>
              </a:r>
              <a:r>
                <a:rPr lang="de-DE" sz="1100" dirty="0">
                  <a:solidFill>
                    <a:schemeClr val="tx1"/>
                  </a:solidFill>
                </a:rPr>
                <a:t> </a:t>
              </a:r>
              <a:r>
                <a:rPr lang="de-DE" sz="1100" dirty="0" err="1">
                  <a:solidFill>
                    <a:schemeClr val="tx1"/>
                  </a:solidFill>
                </a:rPr>
                <a:t>parameters</a:t>
              </a:r>
              <a:r>
                <a:rPr lang="de-DE" sz="1100" dirty="0">
                  <a:solidFill>
                    <a:schemeClr val="tx1"/>
                  </a:solidFill>
                </a:rPr>
                <a:t> </a:t>
              </a:r>
              <a:r>
                <a:rPr lang="de-DE" sz="1100" dirty="0" err="1">
                  <a:solidFill>
                    <a:schemeClr val="tx1"/>
                  </a:solidFill>
                </a:rPr>
                <a:t>influencing</a:t>
              </a:r>
              <a:r>
                <a:rPr lang="de-DE" sz="1100" dirty="0">
                  <a:solidFill>
                    <a:schemeClr val="tx1"/>
                  </a:solidFill>
                </a:rPr>
                <a:t> </a:t>
              </a:r>
              <a:r>
                <a:rPr lang="de-DE" sz="1100" dirty="0" err="1">
                  <a:solidFill>
                    <a:schemeClr val="tx1"/>
                  </a:solidFill>
                </a:rPr>
                <a:t>output</a:t>
              </a:r>
              <a:r>
                <a:rPr lang="de-DE" sz="1100" dirty="0">
                  <a:solidFill>
                    <a:schemeClr val="tx1"/>
                  </a:solidFill>
                </a:rPr>
                <a:t> </a:t>
              </a:r>
              <a:r>
                <a:rPr lang="de-DE" sz="1100" dirty="0" err="1">
                  <a:solidFill>
                    <a:schemeClr val="tx1"/>
                  </a:solidFill>
                </a:rPr>
                <a:t>of</a:t>
              </a:r>
              <a:r>
                <a:rPr lang="de-DE" sz="1100" dirty="0">
                  <a:solidFill>
                    <a:schemeClr val="tx1"/>
                  </a:solidFill>
                </a:rPr>
                <a:t> Error 2</a:t>
              </a:r>
            </a:p>
            <a:p>
              <a:pPr marL="342900" indent="-342900">
                <a:buFont typeface="+mj-lt"/>
                <a:buAutoNum type="arabicPeriod"/>
              </a:pPr>
              <a:r>
                <a:rPr lang="de-DE" sz="1100" dirty="0" err="1">
                  <a:solidFill>
                    <a:schemeClr val="tx1"/>
                  </a:solidFill>
                </a:rPr>
                <a:t>Charging</a:t>
              </a:r>
              <a:r>
                <a:rPr lang="de-DE" sz="1100" dirty="0">
                  <a:solidFill>
                    <a:schemeClr val="tx1"/>
                  </a:solidFill>
                </a:rPr>
                <a:t> Session Duration</a:t>
              </a:r>
            </a:p>
            <a:p>
              <a:pPr marL="342900" indent="-342900">
                <a:buFont typeface="+mj-lt"/>
                <a:buAutoNum type="arabicPeriod"/>
              </a:pPr>
              <a:r>
                <a:rPr lang="de-DE" sz="1100" dirty="0" err="1">
                  <a:solidFill>
                    <a:schemeClr val="tx1"/>
                  </a:solidFill>
                </a:rPr>
                <a:t>Maxbmsdynladestrom</a:t>
              </a:r>
              <a:endParaRPr lang="de-DE" sz="1100" dirty="0">
                <a:solidFill>
                  <a:schemeClr val="tx1"/>
                </a:solidFill>
              </a:endParaRPr>
            </a:p>
            <a:p>
              <a:pPr marL="342900" indent="-342900">
                <a:buFont typeface="+mj-lt"/>
                <a:buAutoNum type="arabicPeriod"/>
              </a:pPr>
              <a:r>
                <a:rPr lang="de-DE" sz="1100" dirty="0" err="1">
                  <a:solidFill>
                    <a:schemeClr val="tx1"/>
                  </a:solidFill>
                </a:rPr>
                <a:t>Durationpluggingcharging</a:t>
              </a:r>
              <a:endParaRPr lang="de-DE" sz="1100" dirty="0">
                <a:solidFill>
                  <a:schemeClr val="tx1"/>
                </a:solidFill>
              </a:endParaRPr>
            </a:p>
            <a:p>
              <a:pPr marL="342900" indent="-342900">
                <a:buFont typeface="+mj-lt"/>
                <a:buAutoNum type="arabicPeriod"/>
              </a:pPr>
              <a:r>
                <a:rPr lang="de-DE" sz="1100" dirty="0">
                  <a:solidFill>
                    <a:schemeClr val="tx1"/>
                  </a:solidFill>
                </a:rPr>
                <a:t>SOCHUB</a:t>
              </a:r>
            </a:p>
            <a:p>
              <a:pPr marL="342900" indent="-342900">
                <a:buFont typeface="+mj-lt"/>
                <a:buAutoNum type="arabicPeriod"/>
              </a:pPr>
              <a:r>
                <a:rPr lang="de-DE" sz="1100" dirty="0" err="1">
                  <a:solidFill>
                    <a:schemeClr val="tx1"/>
                  </a:solidFill>
                </a:rPr>
                <a:t>Max_bms_ist_vorlauf_temperature</a:t>
              </a:r>
              <a:endParaRPr lang="de-DE" sz="1100" dirty="0">
                <a:solidFill>
                  <a:schemeClr val="tx1"/>
                </a:solidFill>
              </a:endParaRPr>
            </a:p>
            <a:p>
              <a:pPr marL="342900" indent="-342900">
                <a:buFont typeface="+mj-lt"/>
                <a:buAutoNum type="arabicPeriod"/>
              </a:pPr>
              <a:r>
                <a:rPr lang="de-DE" sz="1100" dirty="0">
                  <a:solidFill>
                    <a:schemeClr val="tx1"/>
                  </a:solidFill>
                </a:rPr>
                <a:t>CPO</a:t>
              </a:r>
            </a:p>
            <a:p>
              <a:pPr marL="342900" indent="-342900">
                <a:buFont typeface="+mj-lt"/>
                <a:buAutoNum type="arabicPeriod"/>
              </a:pPr>
              <a:endParaRPr lang="de-DE" sz="1100" dirty="0">
                <a:solidFill>
                  <a:schemeClr val="tx1"/>
                </a:solidFill>
              </a:endParaRPr>
            </a:p>
            <a:p>
              <a:pPr marL="342900" indent="-342900">
                <a:buFont typeface="+mj-lt"/>
                <a:buAutoNum type="arabicPeriod"/>
              </a:pPr>
              <a:endParaRPr lang="de-DE" sz="1400" dirty="0">
                <a:solidFill>
                  <a:schemeClr val="tx1"/>
                </a:solidFill>
              </a:endParaRPr>
            </a:p>
            <a:p>
              <a:pPr marL="285750" indent="-285750">
                <a:buFont typeface="Arial" panose="020B0604020202020204" pitchFamily="34" charset="0"/>
                <a:buChar char="•"/>
              </a:pPr>
              <a:endParaRPr lang="de-DE" sz="1400" dirty="0">
                <a:solidFill>
                  <a:schemeClr val="tx1"/>
                </a:solidFill>
              </a:endParaRPr>
            </a:p>
          </p:txBody>
        </p:sp>
        <p:sp>
          <p:nvSpPr>
            <p:cNvPr id="23" name="Rectangle 22">
              <a:extLst>
                <a:ext uri="{FF2B5EF4-FFF2-40B4-BE49-F238E27FC236}">
                  <a16:creationId xmlns:a16="http://schemas.microsoft.com/office/drawing/2014/main" id="{908F8E59-76B1-1069-1A3A-25C3F3F8007F}"/>
                </a:ext>
              </a:extLst>
            </p:cNvPr>
            <p:cNvSpPr/>
            <p:nvPr/>
          </p:nvSpPr>
          <p:spPr>
            <a:xfrm>
              <a:off x="323600" y="919948"/>
              <a:ext cx="5111318" cy="249374"/>
            </a:xfrm>
            <a:prstGeom prst="rect">
              <a:avLst/>
            </a:prstGeom>
            <a:solidFill>
              <a:schemeClr val="accent6">
                <a:lumMod val="50000"/>
                <a:alpha val="4039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Key findings</a:t>
              </a:r>
              <a:endParaRPr lang="de-DE" sz="1400" dirty="0">
                <a:solidFill>
                  <a:schemeClr val="tx1"/>
                </a:solidFill>
              </a:endParaRPr>
            </a:p>
          </p:txBody>
        </p:sp>
      </p:grpSp>
      <p:sp>
        <p:nvSpPr>
          <p:cNvPr id="8" name="TextBox 7">
            <a:extLst>
              <a:ext uri="{FF2B5EF4-FFF2-40B4-BE49-F238E27FC236}">
                <a16:creationId xmlns:a16="http://schemas.microsoft.com/office/drawing/2014/main" id="{BACDC853-1AA5-5B79-AEB4-3AB9903474BE}"/>
              </a:ext>
            </a:extLst>
          </p:cNvPr>
          <p:cNvSpPr txBox="1"/>
          <p:nvPr/>
        </p:nvSpPr>
        <p:spPr>
          <a:xfrm>
            <a:off x="6207347" y="4531985"/>
            <a:ext cx="2181751" cy="246221"/>
          </a:xfrm>
          <a:prstGeom prst="rect">
            <a:avLst/>
          </a:prstGeom>
          <a:noFill/>
        </p:spPr>
        <p:txBody>
          <a:bodyPr wrap="square">
            <a:spAutoFit/>
          </a:bodyPr>
          <a:lstStyle/>
          <a:p>
            <a:pPr marL="171450" indent="-171450">
              <a:buFont typeface="Arial" panose="020B0604020202020204" pitchFamily="34" charset="0"/>
              <a:buChar char="•"/>
            </a:pPr>
            <a:r>
              <a:rPr lang="de-DE" sz="500" dirty="0">
                <a:solidFill>
                  <a:schemeClr val="tx1"/>
                </a:solidFill>
              </a:rPr>
              <a:t>The Blue </a:t>
            </a:r>
            <a:r>
              <a:rPr lang="de-DE" sz="500" dirty="0" err="1">
                <a:solidFill>
                  <a:schemeClr val="tx1"/>
                </a:solidFill>
              </a:rPr>
              <a:t>line</a:t>
            </a:r>
            <a:r>
              <a:rPr lang="de-DE" sz="500" dirty="0">
                <a:solidFill>
                  <a:schemeClr val="tx1"/>
                </a:solidFill>
              </a:rPr>
              <a:t> </a:t>
            </a:r>
            <a:r>
              <a:rPr lang="de-DE" sz="500" dirty="0" err="1">
                <a:solidFill>
                  <a:schemeClr val="tx1"/>
                </a:solidFill>
              </a:rPr>
              <a:t>represents</a:t>
            </a:r>
            <a:r>
              <a:rPr lang="de-DE" sz="500" dirty="0">
                <a:solidFill>
                  <a:schemeClr val="tx1"/>
                </a:solidFill>
              </a:rPr>
              <a:t> </a:t>
            </a:r>
            <a:r>
              <a:rPr lang="de-DE" sz="500" dirty="0" err="1">
                <a:solidFill>
                  <a:schemeClr val="tx1"/>
                </a:solidFill>
              </a:rPr>
              <a:t>the</a:t>
            </a:r>
            <a:r>
              <a:rPr lang="de-DE" sz="500" dirty="0">
                <a:solidFill>
                  <a:schemeClr val="tx1"/>
                </a:solidFill>
              </a:rPr>
              <a:t> </a:t>
            </a:r>
            <a:r>
              <a:rPr lang="de-DE" sz="500" dirty="0" err="1">
                <a:solidFill>
                  <a:schemeClr val="tx1"/>
                </a:solidFill>
              </a:rPr>
              <a:t>accuracy</a:t>
            </a:r>
            <a:r>
              <a:rPr lang="de-DE" sz="500" dirty="0">
                <a:solidFill>
                  <a:schemeClr val="tx1"/>
                </a:solidFill>
              </a:rPr>
              <a:t> </a:t>
            </a:r>
            <a:r>
              <a:rPr lang="de-DE" sz="500" dirty="0" err="1">
                <a:solidFill>
                  <a:schemeClr val="tx1"/>
                </a:solidFill>
              </a:rPr>
              <a:t>of</a:t>
            </a:r>
            <a:r>
              <a:rPr lang="de-DE" sz="500" dirty="0">
                <a:solidFill>
                  <a:schemeClr val="tx1"/>
                </a:solidFill>
              </a:rPr>
              <a:t> </a:t>
            </a:r>
            <a:r>
              <a:rPr lang="de-DE" sz="500" dirty="0" err="1">
                <a:solidFill>
                  <a:schemeClr val="tx1"/>
                </a:solidFill>
              </a:rPr>
              <a:t>algorithm</a:t>
            </a:r>
            <a:r>
              <a:rPr lang="de-DE" sz="500" dirty="0">
                <a:solidFill>
                  <a:schemeClr val="tx1"/>
                </a:solidFill>
              </a:rPr>
              <a:t> </a:t>
            </a:r>
            <a:r>
              <a:rPr lang="de-DE" sz="500" dirty="0" err="1">
                <a:solidFill>
                  <a:schemeClr val="tx1"/>
                </a:solidFill>
              </a:rPr>
              <a:t>during</a:t>
            </a:r>
            <a:r>
              <a:rPr lang="de-DE" sz="500" dirty="0">
                <a:solidFill>
                  <a:schemeClr val="tx1"/>
                </a:solidFill>
              </a:rPr>
              <a:t> </a:t>
            </a:r>
            <a:r>
              <a:rPr lang="de-DE" sz="500" dirty="0" err="1">
                <a:solidFill>
                  <a:schemeClr val="tx1"/>
                </a:solidFill>
              </a:rPr>
              <a:t>training</a:t>
            </a:r>
            <a:r>
              <a:rPr lang="de-DE" sz="500" dirty="0">
                <a:solidFill>
                  <a:schemeClr val="tx1"/>
                </a:solidFill>
              </a:rPr>
              <a:t> and The </a:t>
            </a:r>
            <a:r>
              <a:rPr lang="de-DE" sz="500" dirty="0" err="1">
                <a:solidFill>
                  <a:schemeClr val="tx1"/>
                </a:solidFill>
              </a:rPr>
              <a:t>Red</a:t>
            </a:r>
            <a:r>
              <a:rPr lang="de-DE" sz="500" dirty="0">
                <a:solidFill>
                  <a:schemeClr val="tx1"/>
                </a:solidFill>
              </a:rPr>
              <a:t> </a:t>
            </a:r>
            <a:r>
              <a:rPr lang="de-DE" sz="500" dirty="0" err="1">
                <a:solidFill>
                  <a:schemeClr val="tx1"/>
                </a:solidFill>
              </a:rPr>
              <a:t>line</a:t>
            </a:r>
            <a:r>
              <a:rPr lang="de-DE" sz="500" dirty="0">
                <a:solidFill>
                  <a:schemeClr val="tx1"/>
                </a:solidFill>
              </a:rPr>
              <a:t> </a:t>
            </a:r>
            <a:r>
              <a:rPr lang="de-DE" sz="500" dirty="0" err="1">
                <a:solidFill>
                  <a:schemeClr val="tx1"/>
                </a:solidFill>
              </a:rPr>
              <a:t>shows</a:t>
            </a:r>
            <a:r>
              <a:rPr lang="de-DE" sz="500" dirty="0">
                <a:solidFill>
                  <a:schemeClr val="tx1"/>
                </a:solidFill>
              </a:rPr>
              <a:t> an </a:t>
            </a:r>
            <a:r>
              <a:rPr lang="de-DE" sz="500" dirty="0" err="1">
                <a:solidFill>
                  <a:schemeClr val="tx1"/>
                </a:solidFill>
              </a:rPr>
              <a:t>accuracy</a:t>
            </a:r>
            <a:r>
              <a:rPr lang="de-DE" sz="500" dirty="0">
                <a:solidFill>
                  <a:schemeClr val="tx1"/>
                </a:solidFill>
              </a:rPr>
              <a:t> </a:t>
            </a:r>
            <a:r>
              <a:rPr lang="de-DE" sz="500" dirty="0" err="1">
                <a:solidFill>
                  <a:schemeClr val="tx1"/>
                </a:solidFill>
              </a:rPr>
              <a:t>during</a:t>
            </a:r>
            <a:r>
              <a:rPr lang="de-DE" sz="500" dirty="0">
                <a:solidFill>
                  <a:schemeClr val="tx1"/>
                </a:solidFill>
              </a:rPr>
              <a:t> </a:t>
            </a:r>
            <a:r>
              <a:rPr lang="de-DE" sz="500" dirty="0" err="1">
                <a:solidFill>
                  <a:schemeClr val="tx1"/>
                </a:solidFill>
              </a:rPr>
              <a:t>the</a:t>
            </a:r>
            <a:r>
              <a:rPr lang="de-DE" sz="500" dirty="0">
                <a:solidFill>
                  <a:schemeClr val="tx1"/>
                </a:solidFill>
              </a:rPr>
              <a:t> </a:t>
            </a:r>
            <a:r>
              <a:rPr lang="de-DE" sz="500" dirty="0" err="1">
                <a:solidFill>
                  <a:schemeClr val="tx1"/>
                </a:solidFill>
              </a:rPr>
              <a:t>test</a:t>
            </a:r>
            <a:r>
              <a:rPr lang="de-DE" sz="500" dirty="0">
                <a:solidFill>
                  <a:schemeClr val="tx1"/>
                </a:solidFill>
              </a:rPr>
              <a:t>.</a:t>
            </a:r>
          </a:p>
        </p:txBody>
      </p:sp>
      <p:sp>
        <p:nvSpPr>
          <p:cNvPr id="9" name="Rectangle 8">
            <a:extLst>
              <a:ext uri="{FF2B5EF4-FFF2-40B4-BE49-F238E27FC236}">
                <a16:creationId xmlns:a16="http://schemas.microsoft.com/office/drawing/2014/main" id="{1536D8D5-8D60-2841-2520-D8D01CFA5ACF}"/>
              </a:ext>
            </a:extLst>
          </p:cNvPr>
          <p:cNvSpPr>
            <a:spLocks noGrp="1" noRot="1" noMove="1" noResize="1" noEditPoints="1" noAdjustHandles="1" noChangeArrowheads="1" noChangeShapeType="1"/>
          </p:cNvSpPr>
          <p:nvPr/>
        </p:nvSpPr>
        <p:spPr>
          <a:xfrm>
            <a:off x="0" y="814388"/>
            <a:ext cx="9144000" cy="66011"/>
          </a:xfrm>
          <a:prstGeom prst="rect">
            <a:avLst/>
          </a:prstGeom>
          <a:solidFill>
            <a:srgbClr val="ADADFF">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595344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EE4P_STYLE_ID" val="891f2dda-7500-405f-8e85-2488b759f904"/>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3">
  <a:themeElements>
    <a:clrScheme name="P3">
      <a:dk1>
        <a:srgbClr val="000066"/>
      </a:dk1>
      <a:lt1>
        <a:srgbClr val="FFFFFF"/>
      </a:lt1>
      <a:dk2>
        <a:srgbClr val="FF0000"/>
      </a:dk2>
      <a:lt2>
        <a:srgbClr val="F2F2F2"/>
      </a:lt2>
      <a:accent1>
        <a:srgbClr val="0000CC"/>
      </a:accent1>
      <a:accent2>
        <a:srgbClr val="00CC00"/>
      </a:accent2>
      <a:accent3>
        <a:srgbClr val="666666"/>
      </a:accent3>
      <a:accent4>
        <a:srgbClr val="3399FF"/>
      </a:accent4>
      <a:accent5>
        <a:srgbClr val="FBB03B"/>
      </a:accent5>
      <a:accent6>
        <a:srgbClr val="FCEE21"/>
      </a:accent6>
      <a:hlink>
        <a:srgbClr val="000099"/>
      </a:hlink>
      <a:folHlink>
        <a:srgbClr val="FF6666"/>
      </a:folHlink>
    </a:clrScheme>
    <a:fontScheme name="Roboto">
      <a:majorFont>
        <a:latin typeface="Roboto Light"/>
        <a:ea typeface=""/>
        <a:cs typeface=""/>
      </a:majorFont>
      <a:minorFont>
        <a:latin typeface="Robot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3" id="{90706BF4-59C1-4863-B218-E4CD92D23EBA}" vid="{2BC4B0A0-7595-47D8-A45E-CA519E0681A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B92C349068714497CB038B52240631" ma:contentTypeVersion="13" ma:contentTypeDescription="Create a new document." ma:contentTypeScope="" ma:versionID="44aa32b42945ea51173e0aa9a2ccb944">
  <xsd:schema xmlns:xsd="http://www.w3.org/2001/XMLSchema" xmlns:xs="http://www.w3.org/2001/XMLSchema" xmlns:p="http://schemas.microsoft.com/office/2006/metadata/properties" xmlns:ns2="5771a3dd-909f-417e-b024-3f965b068f70" xmlns:ns3="5dc71b8b-2de6-4a19-b915-bd67ce7ddec0" targetNamespace="http://schemas.microsoft.com/office/2006/metadata/properties" ma:root="true" ma:fieldsID="288f71c25769e77ebff0304b9da7f543" ns2:_="" ns3:_="">
    <xsd:import namespace="5771a3dd-909f-417e-b024-3f965b068f70"/>
    <xsd:import namespace="5dc71b8b-2de6-4a19-b915-bd67ce7ddec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1a3dd-909f-417e-b024-3f965b068f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bd335b93-59d0-49bf-91cb-7b95fdb5650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dc71b8b-2de6-4a19-b915-bd67ce7ddec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eae3016a-fc1e-4406-9703-48ffc04b30e8}" ma:internalName="TaxCatchAll" ma:showField="CatchAllData" ma:web="5dc71b8b-2de6-4a19-b915-bd67ce7dde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dc71b8b-2de6-4a19-b915-bd67ce7ddec0" xsi:nil="true"/>
    <lcf76f155ced4ddcb4097134ff3c332f xmlns="5771a3dd-909f-417e-b024-3f965b068f70">
      <Terms xmlns="http://schemas.microsoft.com/office/infopath/2007/PartnerControls"/>
    </lcf76f155ced4ddcb4097134ff3c332f>
    <SharedWithUsers xmlns="5dc71b8b-2de6-4a19-b915-bd67ce7ddec0">
      <UserInfo>
        <DisplayName>Christian Daake</DisplayName>
        <AccountId>537</AccountId>
        <AccountType/>
      </UserInfo>
      <UserInfo>
        <DisplayName>Michael Goettlicher</DisplayName>
        <AccountId>26</AccountId>
        <AccountType/>
      </UserInfo>
    </SharedWithUsers>
  </documentManagement>
</p:properties>
</file>

<file path=customXml/itemProps1.xml><?xml version="1.0" encoding="utf-8"?>
<ds:datastoreItem xmlns:ds="http://schemas.openxmlformats.org/officeDocument/2006/customXml" ds:itemID="{FD66929B-A4B0-4DEF-B211-A3CB85AC9876}">
  <ds:schemaRefs>
    <ds:schemaRef ds:uri="http://schemas.microsoft.com/sharepoint/v3/contenttype/forms"/>
  </ds:schemaRefs>
</ds:datastoreItem>
</file>

<file path=customXml/itemProps2.xml><?xml version="1.0" encoding="utf-8"?>
<ds:datastoreItem xmlns:ds="http://schemas.openxmlformats.org/officeDocument/2006/customXml" ds:itemID="{A1336E20-F72F-4749-BD77-1BC0EB8CE983}">
  <ds:schemaRefs>
    <ds:schemaRef ds:uri="5771a3dd-909f-417e-b024-3f965b068f70"/>
    <ds:schemaRef ds:uri="5dc71b8b-2de6-4a19-b915-bd67ce7ddec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3AB90FB-1CFD-4AA0-93EC-E657767BD03A}">
  <ds:schemaRefs>
    <ds:schemaRef ds:uri="5771a3dd-909f-417e-b024-3f965b068f70"/>
    <ds:schemaRef ds:uri="5dc71b8b-2de6-4a19-b915-bd67ce7ddec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3</Template>
  <TotalTime>0</TotalTime>
  <Words>1027</Words>
  <Application>Microsoft Office PowerPoint</Application>
  <PresentationFormat>On-screen Show (16:9)</PresentationFormat>
  <Paragraphs>187</Paragraphs>
  <Slides>1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Wingdings</vt:lpstr>
      <vt:lpstr>Calibri Light</vt:lpstr>
      <vt:lpstr>Arial</vt:lpstr>
      <vt:lpstr>Roboto Light</vt:lpstr>
      <vt:lpstr>P3</vt:lpstr>
      <vt:lpstr>think-cell Folie</vt:lpstr>
      <vt:lpstr>PowerPoint Presentation</vt:lpstr>
      <vt:lpstr>Overview of the Thesis</vt:lpstr>
      <vt:lpstr>Agenda of the Meeting</vt:lpstr>
      <vt:lpstr>Agenda of the Meeting</vt:lpstr>
      <vt:lpstr>Timeline of the Thesis</vt:lpstr>
      <vt:lpstr>Why new Methodology</vt:lpstr>
      <vt:lpstr>Random Forest Algorithm</vt:lpstr>
      <vt:lpstr>Methodology</vt:lpstr>
      <vt:lpstr>Example output for Error 2 (error_ladeabbruch)</vt:lpstr>
      <vt:lpstr>Most significant parameters for Error 2</vt:lpstr>
      <vt:lpstr>Agenda of the Meeting</vt:lpstr>
      <vt:lpstr>Initial Results from Standard Hyperparameters</vt:lpstr>
      <vt:lpstr>Agenda of the Meeting</vt:lpstr>
      <vt:lpstr>Error 2 - </vt:lpstr>
    </vt:vector>
  </TitlesOfParts>
  <Manager/>
  <Company>P3</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Horia</dc:creator>
  <cp:keywords/>
  <dc:description/>
  <cp:lastModifiedBy>Arav Barot</cp:lastModifiedBy>
  <cp:revision>1</cp:revision>
  <dcterms:created xsi:type="dcterms:W3CDTF">2021-04-21T07:42:41Z</dcterms:created>
  <dcterms:modified xsi:type="dcterms:W3CDTF">2024-01-24T08:44:2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B92C349068714497CB038B52240631</vt:lpwstr>
  </property>
  <property fmtid="{D5CDD505-2E9C-101B-9397-08002B2CF9AE}" pid="3" name="MediaServiceImageTags">
    <vt:lpwstr/>
  </property>
  <property fmtid="{D5CDD505-2E9C-101B-9397-08002B2CF9AE}" pid="4" name="MSIP_Label_9871b80c-ba46-4bfb-8ae2-045b5c64b754_Name">
    <vt:lpwstr>General</vt:lpwstr>
  </property>
  <property fmtid="{D5CDD505-2E9C-101B-9397-08002B2CF9AE}" pid="5" name="MSIP_Label_9871b80c-ba46-4bfb-8ae2-045b5c64b754_SiteId">
    <vt:lpwstr>38ea53fb-9117-4764-adc6-31f828910b30</vt:lpwstr>
  </property>
  <property fmtid="{D5CDD505-2E9C-101B-9397-08002B2CF9AE}" pid="6" name="MSIP_Label_9871b80c-ba46-4bfb-8ae2-045b5c64b754_SetDate">
    <vt:lpwstr>2022-09-02T08:23:49Z</vt:lpwstr>
  </property>
  <property fmtid="{D5CDD505-2E9C-101B-9397-08002B2CF9AE}" pid="7" name="MSIP_Label_9871b80c-ba46-4bfb-8ae2-045b5c64b754_Method">
    <vt:lpwstr>Standard</vt:lpwstr>
  </property>
  <property fmtid="{D5CDD505-2E9C-101B-9397-08002B2CF9AE}" pid="8" name="MSIP_Label_9871b80c-ba46-4bfb-8ae2-045b5c64b754_ActionId">
    <vt:lpwstr>a0b4847e-617c-4a31-9df0-187b7e0ef410</vt:lpwstr>
  </property>
  <property fmtid="{D5CDD505-2E9C-101B-9397-08002B2CF9AE}" pid="9" name="MSIP_Label_9871b80c-ba46-4bfb-8ae2-045b5c64b754_ContentBits">
    <vt:lpwstr>0</vt:lpwstr>
  </property>
  <property fmtid="{D5CDD505-2E9C-101B-9397-08002B2CF9AE}" pid="10" name="MSIP_Label_9871b80c-ba46-4bfb-8ae2-045b5c64b754_Enabled">
    <vt:lpwstr>true</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ies>
</file>